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  <p:sldMasterId id="2147483674" r:id="rId3"/>
    <p:sldMasterId id="2147483687" r:id="rId4"/>
    <p:sldMasterId id="2147483699" r:id="rId5"/>
    <p:sldMasterId id="2147483713" r:id="rId6"/>
    <p:sldMasterId id="2147484289" r:id="rId7"/>
  </p:sldMasterIdLst>
  <p:notesMasterIdLst>
    <p:notesMasterId r:id="rId50"/>
  </p:notesMasterIdLst>
  <p:handoutMasterIdLst>
    <p:handoutMasterId r:id="rId51"/>
  </p:handoutMasterIdLst>
  <p:sldIdLst>
    <p:sldId id="414" r:id="rId8"/>
    <p:sldId id="359" r:id="rId9"/>
    <p:sldId id="349" r:id="rId10"/>
    <p:sldId id="360" r:id="rId11"/>
    <p:sldId id="322" r:id="rId12"/>
    <p:sldId id="346" r:id="rId13"/>
    <p:sldId id="320" r:id="rId14"/>
    <p:sldId id="416" r:id="rId15"/>
    <p:sldId id="427" r:id="rId16"/>
    <p:sldId id="428" r:id="rId17"/>
    <p:sldId id="337" r:id="rId18"/>
    <p:sldId id="348" r:id="rId19"/>
    <p:sldId id="339" r:id="rId20"/>
    <p:sldId id="310" r:id="rId21"/>
    <p:sldId id="311" r:id="rId22"/>
    <p:sldId id="379" r:id="rId23"/>
    <p:sldId id="364" r:id="rId24"/>
    <p:sldId id="326" r:id="rId25"/>
    <p:sldId id="415" r:id="rId26"/>
    <p:sldId id="327" r:id="rId27"/>
    <p:sldId id="396" r:id="rId28"/>
    <p:sldId id="417" r:id="rId29"/>
    <p:sldId id="380" r:id="rId30"/>
    <p:sldId id="340" r:id="rId31"/>
    <p:sldId id="338" r:id="rId32"/>
    <p:sldId id="329" r:id="rId33"/>
    <p:sldId id="392" r:id="rId34"/>
    <p:sldId id="420" r:id="rId35"/>
    <p:sldId id="421" r:id="rId36"/>
    <p:sldId id="423" r:id="rId37"/>
    <p:sldId id="424" r:id="rId38"/>
    <p:sldId id="425" r:id="rId39"/>
    <p:sldId id="426" r:id="rId40"/>
    <p:sldId id="408" r:id="rId41"/>
    <p:sldId id="411" r:id="rId42"/>
    <p:sldId id="419" r:id="rId43"/>
    <p:sldId id="413" r:id="rId44"/>
    <p:sldId id="389" r:id="rId45"/>
    <p:sldId id="399" r:id="rId46"/>
    <p:sldId id="384" r:id="rId47"/>
    <p:sldId id="409" r:id="rId48"/>
    <p:sldId id="418" r:id="rId49"/>
  </p:sldIdLst>
  <p:sldSz cx="9144000" cy="6858000" type="screen4x3"/>
  <p:notesSz cx="6797675" cy="99266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5683"/>
    <a:srgbClr val="8CADD4"/>
    <a:srgbClr val="A9C1DF"/>
    <a:srgbClr val="C5D5E9"/>
    <a:srgbClr val="A4BDDC"/>
    <a:srgbClr val="F3FAFF"/>
    <a:srgbClr val="CCECFF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88" autoAdjust="0"/>
    <p:restoredTop sz="93838" autoAdjust="0"/>
  </p:normalViewPr>
  <p:slideViewPr>
    <p:cSldViewPr>
      <p:cViewPr>
        <p:scale>
          <a:sx n="100" d="100"/>
          <a:sy n="100" d="100"/>
        </p:scale>
        <p:origin x="-432" y="-294"/>
      </p:cViewPr>
      <p:guideLst>
        <p:guide orient="horz" pos="2160"/>
        <p:guide orient="horz" pos="572"/>
        <p:guide pos="11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slide" Target="slides/slide34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8" Type="http://schemas.openxmlformats.org/officeDocument/2006/relationships/slide" Target="slides/slide1.xml"/><Relationship Id="rId51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image" Target="../media/image32.jpeg"/><Relationship Id="rId4" Type="http://schemas.openxmlformats.org/officeDocument/2006/relationships/image" Target="../media/image35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image" Target="../media/image32.jpeg"/><Relationship Id="rId4" Type="http://schemas.openxmlformats.org/officeDocument/2006/relationships/image" Target="../media/image35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24A6F8F-EA59-41F0-AC3A-49EF56A77E68}" type="doc">
      <dgm:prSet loTypeId="urn:microsoft.com/office/officeart/2005/8/layout/pList2#1" loCatId="list" qsTypeId="urn:microsoft.com/office/officeart/2005/8/quickstyle/simple1#2" qsCatId="simple" csTypeId="urn:microsoft.com/office/officeart/2005/8/colors/accent1_2#1" csCatId="accent1" phldr="1"/>
      <dgm:spPr/>
    </dgm:pt>
    <dgm:pt modelId="{24C1E46D-7797-48B5-A195-81271438D329}">
      <dgm:prSet phldrT="[Текст]" custT="1"/>
      <dgm:spPr/>
      <dgm:t>
        <a:bodyPr/>
        <a:lstStyle/>
        <a:p>
          <a:pPr algn="ctr"/>
          <a:r>
            <a:rPr lang="ru-RU" sz="1300" b="0" u="sng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Общероссийская общественная организация малого и среднего предпринимательства </a:t>
          </a:r>
        </a:p>
        <a:p>
          <a:pPr algn="ctr"/>
          <a:r>
            <a:rPr lang="ru-RU" sz="1450" b="0" u="sng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«ОПОРА РОССИИ» и НП «ОПОРА»</a:t>
          </a:r>
        </a:p>
        <a:p>
          <a:pPr algn="ctr"/>
          <a:endParaRPr lang="ru-RU" sz="1450" b="0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algn="l"/>
          <a:r>
            <a:rPr lang="ru-RU" sz="1450" dirty="0" smtClean="0"/>
            <a:t>- создана 18 сентября 2002г.</a:t>
          </a:r>
        </a:p>
        <a:p>
          <a:pPr algn="l"/>
          <a:r>
            <a:rPr lang="ru-RU" sz="1450" dirty="0" smtClean="0"/>
            <a:t>- 81 региональное  отделение</a:t>
          </a:r>
        </a:p>
        <a:p>
          <a:pPr algn="l"/>
          <a:r>
            <a:rPr lang="ru-RU" sz="1450" dirty="0" smtClean="0"/>
            <a:t>- в состав НП  «ОПОРА» входит </a:t>
          </a:r>
          <a:r>
            <a:rPr lang="en-US" sz="1450" dirty="0" smtClean="0"/>
            <a:t>1</a:t>
          </a:r>
          <a:r>
            <a:rPr lang="ru-RU" sz="1450" dirty="0" smtClean="0"/>
            <a:t>03</a:t>
          </a:r>
          <a:r>
            <a:rPr lang="en-US" sz="1450" dirty="0" smtClean="0"/>
            <a:t> </a:t>
          </a:r>
          <a:r>
            <a:rPr lang="ru-RU" sz="1450" dirty="0" smtClean="0"/>
            <a:t>отраслевых союза, ассоциации </a:t>
          </a:r>
          <a:r>
            <a:rPr lang="ru-RU" sz="1450" smtClean="0"/>
            <a:t>и гильдии; </a:t>
          </a:r>
          <a:endParaRPr lang="ru-RU" sz="1450" dirty="0" smtClean="0"/>
        </a:p>
        <a:p>
          <a:pPr algn="l"/>
          <a:r>
            <a:rPr lang="ru-RU" sz="1450" dirty="0" smtClean="0"/>
            <a:t>- более 400 000 представителей МСП</a:t>
          </a:r>
        </a:p>
        <a:p>
          <a:pPr algn="ctr"/>
          <a:endParaRPr lang="ru-RU" sz="1450" dirty="0"/>
        </a:p>
      </dgm:t>
    </dgm:pt>
    <dgm:pt modelId="{31A6351C-2C5C-4E17-88FF-C5E2241784D9}" type="parTrans" cxnId="{947E5A24-423E-4EE3-A757-E590F0AFC0CC}">
      <dgm:prSet/>
      <dgm:spPr/>
      <dgm:t>
        <a:bodyPr/>
        <a:lstStyle/>
        <a:p>
          <a:endParaRPr lang="ru-RU" sz="1450"/>
        </a:p>
      </dgm:t>
    </dgm:pt>
    <dgm:pt modelId="{722F7FF8-DCF7-4468-A487-B31418D4BA8B}" type="sibTrans" cxnId="{947E5A24-423E-4EE3-A757-E590F0AFC0CC}">
      <dgm:prSet/>
      <dgm:spPr/>
      <dgm:t>
        <a:bodyPr/>
        <a:lstStyle/>
        <a:p>
          <a:endParaRPr lang="ru-RU" sz="1450"/>
        </a:p>
      </dgm:t>
    </dgm:pt>
    <dgm:pt modelId="{664E1474-7C25-4827-9405-F3364955C648}">
      <dgm:prSet phldrT="[Текст]" custT="1"/>
      <dgm:spPr/>
      <dgm:t>
        <a:bodyPr/>
        <a:lstStyle/>
        <a:p>
          <a:pPr algn="ctr" defTabSz="6445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50" u="sng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Торгово-промышленная палата Российской Федерации</a:t>
          </a:r>
        </a:p>
        <a:p>
          <a:pPr algn="ctr" defTabSz="6445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50" u="sng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50" dirty="0" smtClean="0"/>
            <a:t>-в июле 1993 г. принят закон «О торгово-промышленных палатах  в РФ»</a:t>
          </a:r>
        </a:p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50" dirty="0" smtClean="0"/>
            <a:t>- 174  территориальных  ТПП </a:t>
          </a:r>
        </a:p>
        <a:p>
          <a:pPr algn="l" defTabSz="6445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50" dirty="0" smtClean="0"/>
            <a:t>- более 200 союзов, ассоциаций </a:t>
          </a:r>
        </a:p>
        <a:p>
          <a:pPr algn="l" defTabSz="6445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50" dirty="0" smtClean="0"/>
            <a:t>- около 50 тысяч предприятий и организаций </a:t>
          </a:r>
        </a:p>
      </dgm:t>
    </dgm:pt>
    <dgm:pt modelId="{2AD8C361-E315-4448-B047-D06E24DCAF6A}" type="parTrans" cxnId="{AB85F695-1637-4888-8EE7-FD9B661D5687}">
      <dgm:prSet/>
      <dgm:spPr/>
      <dgm:t>
        <a:bodyPr/>
        <a:lstStyle/>
        <a:p>
          <a:endParaRPr lang="ru-RU" sz="1450"/>
        </a:p>
      </dgm:t>
    </dgm:pt>
    <dgm:pt modelId="{44A11124-B021-4A10-B0D1-D75D5AF7636A}" type="sibTrans" cxnId="{AB85F695-1637-4888-8EE7-FD9B661D5687}">
      <dgm:prSet/>
      <dgm:spPr/>
      <dgm:t>
        <a:bodyPr/>
        <a:lstStyle/>
        <a:p>
          <a:endParaRPr lang="ru-RU" sz="1450"/>
        </a:p>
      </dgm:t>
    </dgm:pt>
    <dgm:pt modelId="{3E180520-76F9-4783-9E34-6C54C0D713E5}">
      <dgm:prSet phldrT="[Текст]" custT="1"/>
      <dgm:spPr/>
      <dgm:t>
        <a:bodyPr/>
        <a:lstStyle/>
        <a:p>
          <a:pPr algn="ctr"/>
          <a:r>
            <a:rPr lang="ru-RU" sz="1300" u="sng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Российский союз             промышленников и предпринимателей</a:t>
          </a:r>
        </a:p>
        <a:p>
          <a:pPr algn="ctr"/>
          <a:endParaRPr lang="ru-RU" sz="1450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algn="ctr"/>
          <a:endParaRPr lang="ru-RU" sz="1450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algn="ctr"/>
          <a:endParaRPr lang="ru-RU" sz="1450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algn="l"/>
          <a:r>
            <a:rPr lang="ru-RU" sz="1450" dirty="0" smtClean="0">
              <a:effectLst/>
            </a:rPr>
            <a:t>- основан в 1990 г.</a:t>
          </a:r>
        </a:p>
        <a:p>
          <a:pPr algn="l"/>
          <a:r>
            <a:rPr lang="ru-RU" sz="1450" dirty="0" smtClean="0">
              <a:effectLst/>
            </a:rPr>
            <a:t> - более 100 отраслевых и региональных объединений</a:t>
          </a:r>
        </a:p>
        <a:p>
          <a:pPr algn="l"/>
          <a:r>
            <a:rPr lang="ru-RU" sz="1450" dirty="0" smtClean="0">
              <a:effectLst/>
            </a:rPr>
            <a:t>- свыше 320 тыс. представителей промышленных, научных, финансовых и коммерческих организаций</a:t>
          </a:r>
          <a:endParaRPr lang="ru-RU" sz="1450" dirty="0">
            <a:effectLst/>
          </a:endParaRPr>
        </a:p>
      </dgm:t>
    </dgm:pt>
    <dgm:pt modelId="{4D90A7DD-8217-4D9D-8CB7-D7111A052001}" type="parTrans" cxnId="{E912F63A-7AC2-4B06-BB2E-B721ECA2CEF7}">
      <dgm:prSet/>
      <dgm:spPr/>
      <dgm:t>
        <a:bodyPr/>
        <a:lstStyle/>
        <a:p>
          <a:endParaRPr lang="ru-RU" sz="1450"/>
        </a:p>
      </dgm:t>
    </dgm:pt>
    <dgm:pt modelId="{6F023B08-8ED7-449C-8520-8381C684F03D}" type="sibTrans" cxnId="{E912F63A-7AC2-4B06-BB2E-B721ECA2CEF7}">
      <dgm:prSet/>
      <dgm:spPr/>
      <dgm:t>
        <a:bodyPr/>
        <a:lstStyle/>
        <a:p>
          <a:endParaRPr lang="ru-RU" sz="1450"/>
        </a:p>
      </dgm:t>
    </dgm:pt>
    <dgm:pt modelId="{300EF003-29AC-4850-88C6-F63248FBC40F}">
      <dgm:prSet phldrT="[Текст]" custT="1"/>
      <dgm:spPr/>
      <dgm:t>
        <a:bodyPr/>
        <a:lstStyle/>
        <a:p>
          <a:pPr algn="ctr"/>
          <a:r>
            <a:rPr lang="ru-RU" sz="1450" u="sng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Общероссийская общественная организация «</a:t>
          </a:r>
          <a:r>
            <a:rPr lang="ru-RU" sz="1450" u="sng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Деловая Россия»</a:t>
          </a:r>
        </a:p>
        <a:p>
          <a:pPr algn="ctr"/>
          <a:endParaRPr lang="ru-RU" sz="145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algn="ctr"/>
          <a:endParaRPr lang="ru-RU" sz="145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algn="l"/>
          <a:r>
            <a:rPr lang="ru-RU" sz="1450" smtClean="0">
              <a:effectLst/>
            </a:rPr>
            <a:t>- </a:t>
          </a:r>
          <a:r>
            <a:rPr lang="ru-RU" sz="1450" dirty="0" smtClean="0">
              <a:effectLst/>
            </a:rPr>
            <a:t>создана в 2001 году</a:t>
          </a:r>
        </a:p>
        <a:p>
          <a:r>
            <a:rPr lang="ru-RU" sz="1450" dirty="0" smtClean="0">
              <a:effectLst/>
            </a:rPr>
            <a:t>-72 региональных отделения;</a:t>
          </a:r>
        </a:p>
        <a:p>
          <a:r>
            <a:rPr lang="ru-RU" sz="1450" dirty="0" smtClean="0">
              <a:effectLst/>
            </a:rPr>
            <a:t>- 38 отраслевых отделений </a:t>
          </a:r>
        </a:p>
      </dgm:t>
    </dgm:pt>
    <dgm:pt modelId="{67D622AD-3E44-4C6C-B677-DFC89C7ADDB1}" type="sibTrans" cxnId="{1739C064-D6F2-4666-A101-6840D03ABA97}">
      <dgm:prSet/>
      <dgm:spPr/>
      <dgm:t>
        <a:bodyPr/>
        <a:lstStyle/>
        <a:p>
          <a:endParaRPr lang="ru-RU" sz="1450"/>
        </a:p>
      </dgm:t>
    </dgm:pt>
    <dgm:pt modelId="{F387CB22-4C6D-4741-A651-CBC1CD852B89}" type="parTrans" cxnId="{1739C064-D6F2-4666-A101-6840D03ABA97}">
      <dgm:prSet/>
      <dgm:spPr/>
      <dgm:t>
        <a:bodyPr/>
        <a:lstStyle/>
        <a:p>
          <a:endParaRPr lang="ru-RU" sz="1450"/>
        </a:p>
      </dgm:t>
    </dgm:pt>
    <dgm:pt modelId="{FF456DF3-61C1-408F-847E-F72A7EA78DD6}" type="pres">
      <dgm:prSet presAssocID="{324A6F8F-EA59-41F0-AC3A-49EF56A77E68}" presName="Name0" presStyleCnt="0">
        <dgm:presLayoutVars>
          <dgm:dir/>
          <dgm:resizeHandles val="exact"/>
        </dgm:presLayoutVars>
      </dgm:prSet>
      <dgm:spPr/>
    </dgm:pt>
    <dgm:pt modelId="{35883D05-C72A-46DA-A42F-951898A2AC57}" type="pres">
      <dgm:prSet presAssocID="{324A6F8F-EA59-41F0-AC3A-49EF56A77E68}" presName="bkgdShp" presStyleLbl="alignAccFollowNode1" presStyleIdx="0" presStyleCnt="1" custScaleY="36975" custLinFactNeighborY="-31869"/>
      <dgm:spPr>
        <a:noFill/>
        <a:ln>
          <a:noFill/>
        </a:ln>
      </dgm:spPr>
    </dgm:pt>
    <dgm:pt modelId="{7F353BE2-6BDD-4BBA-8B84-19E02171A872}" type="pres">
      <dgm:prSet presAssocID="{324A6F8F-EA59-41F0-AC3A-49EF56A77E68}" presName="linComp" presStyleCnt="0"/>
      <dgm:spPr/>
    </dgm:pt>
    <dgm:pt modelId="{8C9F0C7F-D63C-4A3A-A87E-031F1BC2AF1C}" type="pres">
      <dgm:prSet presAssocID="{24C1E46D-7797-48B5-A195-81271438D329}" presName="compNode" presStyleCnt="0"/>
      <dgm:spPr/>
    </dgm:pt>
    <dgm:pt modelId="{4527C932-F1E8-4B87-812B-0DE04A489017}" type="pres">
      <dgm:prSet presAssocID="{24C1E46D-7797-48B5-A195-81271438D329}" presName="node" presStyleLbl="node1" presStyleIdx="0" presStyleCnt="4" custScaleX="271251" custScaleY="154781" custLinFactNeighborX="3598" custLinFactNeighborY="-12075">
        <dgm:presLayoutVars>
          <dgm:bulletEnabled val="1"/>
        </dgm:presLayoutVars>
      </dgm:prSet>
      <dgm:spPr>
        <a:prstGeom prst="flowChartAlternateProcess">
          <a:avLst/>
        </a:prstGeom>
      </dgm:spPr>
      <dgm:t>
        <a:bodyPr/>
        <a:lstStyle/>
        <a:p>
          <a:endParaRPr lang="ru-RU"/>
        </a:p>
      </dgm:t>
    </dgm:pt>
    <dgm:pt modelId="{4517CE33-5EE1-4D6A-BE56-A2B1DF068792}" type="pres">
      <dgm:prSet presAssocID="{24C1E46D-7797-48B5-A195-81271438D329}" presName="invisiNode" presStyleLbl="node1" presStyleIdx="0" presStyleCnt="4"/>
      <dgm:spPr/>
    </dgm:pt>
    <dgm:pt modelId="{942B8DB0-84AF-43AC-8F29-E70D3A945845}" type="pres">
      <dgm:prSet presAssocID="{24C1E46D-7797-48B5-A195-81271438D329}" presName="imagNode" presStyleLbl="fgImgPlace1" presStyleIdx="0" presStyleCnt="4" custScaleX="159416" custScaleY="41469" custLinFactNeighborX="-1484" custLinFactNeighborY="-2233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CB6D148D-A119-4232-9EB4-6785580A8B16}" type="pres">
      <dgm:prSet presAssocID="{722F7FF8-DCF7-4468-A487-B31418D4BA8B}" presName="sibTrans" presStyleLbl="sibTrans2D1" presStyleIdx="0" presStyleCnt="0"/>
      <dgm:spPr/>
      <dgm:t>
        <a:bodyPr/>
        <a:lstStyle/>
        <a:p>
          <a:endParaRPr lang="ru-RU"/>
        </a:p>
      </dgm:t>
    </dgm:pt>
    <dgm:pt modelId="{BC7854FE-3C27-4AEE-9D6B-A84E0B048E27}" type="pres">
      <dgm:prSet presAssocID="{664E1474-7C25-4827-9405-F3364955C648}" presName="compNode" presStyleCnt="0"/>
      <dgm:spPr/>
    </dgm:pt>
    <dgm:pt modelId="{841C7B15-D417-4BD9-9312-E605E19BF285}" type="pres">
      <dgm:prSet presAssocID="{664E1474-7C25-4827-9405-F3364955C648}" presName="node" presStyleLbl="node1" presStyleIdx="1" presStyleCnt="4" custScaleX="240074" custScaleY="154781" custLinFactNeighborX="7590" custLinFactNeighborY="-11488">
        <dgm:presLayoutVars>
          <dgm:bulletEnabled val="1"/>
        </dgm:presLayoutVars>
      </dgm:prSet>
      <dgm:spPr>
        <a:prstGeom prst="flowChartAlternateProcess">
          <a:avLst/>
        </a:prstGeom>
      </dgm:spPr>
      <dgm:t>
        <a:bodyPr/>
        <a:lstStyle/>
        <a:p>
          <a:endParaRPr lang="ru-RU"/>
        </a:p>
      </dgm:t>
    </dgm:pt>
    <dgm:pt modelId="{C33C9943-C312-4295-A499-97BCD46BAB79}" type="pres">
      <dgm:prSet presAssocID="{664E1474-7C25-4827-9405-F3364955C648}" presName="invisiNode" presStyleLbl="node1" presStyleIdx="1" presStyleCnt="4"/>
      <dgm:spPr/>
    </dgm:pt>
    <dgm:pt modelId="{281F5A40-C78E-42DF-8DCC-5828EE492937}" type="pres">
      <dgm:prSet presAssocID="{664E1474-7C25-4827-9405-F3364955C648}" presName="imagNode" presStyleLbl="fgImgPlace1" presStyleIdx="1" presStyleCnt="4" custScaleX="182022" custScaleY="43456" custLinFactNeighborX="7704" custLinFactNeighborY="-19606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BBFF8E6D-7969-4D14-825B-D36516CB288C}" type="pres">
      <dgm:prSet presAssocID="{44A11124-B021-4A10-B0D1-D75D5AF7636A}" presName="sibTrans" presStyleLbl="sibTrans2D1" presStyleIdx="0" presStyleCnt="0"/>
      <dgm:spPr/>
      <dgm:t>
        <a:bodyPr/>
        <a:lstStyle/>
        <a:p>
          <a:endParaRPr lang="ru-RU"/>
        </a:p>
      </dgm:t>
    </dgm:pt>
    <dgm:pt modelId="{4D1B9FA1-8F79-40C4-A879-2A2FA94F059D}" type="pres">
      <dgm:prSet presAssocID="{3E180520-76F9-4783-9E34-6C54C0D713E5}" presName="compNode" presStyleCnt="0"/>
      <dgm:spPr/>
    </dgm:pt>
    <dgm:pt modelId="{F4616D29-9616-4862-8E79-C12BFE7A2440}" type="pres">
      <dgm:prSet presAssocID="{3E180520-76F9-4783-9E34-6C54C0D713E5}" presName="node" presStyleLbl="node1" presStyleIdx="2" presStyleCnt="4" custScaleX="240074" custScaleY="154781" custLinFactNeighborX="8178" custLinFactNeighborY="-11675">
        <dgm:presLayoutVars>
          <dgm:bulletEnabled val="1"/>
        </dgm:presLayoutVars>
      </dgm:prSet>
      <dgm:spPr>
        <a:prstGeom prst="flowChartAlternateProcess">
          <a:avLst/>
        </a:prstGeom>
      </dgm:spPr>
      <dgm:t>
        <a:bodyPr/>
        <a:lstStyle/>
        <a:p>
          <a:endParaRPr lang="ru-RU"/>
        </a:p>
      </dgm:t>
    </dgm:pt>
    <dgm:pt modelId="{E39635DE-6DDD-43AD-9F77-6A7C142CD458}" type="pres">
      <dgm:prSet presAssocID="{3E180520-76F9-4783-9E34-6C54C0D713E5}" presName="invisiNode" presStyleLbl="node1" presStyleIdx="2" presStyleCnt="4"/>
      <dgm:spPr/>
    </dgm:pt>
    <dgm:pt modelId="{889616B8-0875-4D56-85FA-F1786E4D8479}" type="pres">
      <dgm:prSet presAssocID="{3E180520-76F9-4783-9E34-6C54C0D713E5}" presName="imagNode" presStyleLbl="fgImgPlace1" presStyleIdx="2" presStyleCnt="4" custScaleX="187556" custScaleY="44366" custLinFactNeighborX="10844" custLinFactNeighborY="-2118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BC1E7551-2BE5-4679-B26F-A453350CC4E0}" type="pres">
      <dgm:prSet presAssocID="{6F023B08-8ED7-449C-8520-8381C684F03D}" presName="sibTrans" presStyleLbl="sibTrans2D1" presStyleIdx="0" presStyleCnt="0"/>
      <dgm:spPr/>
      <dgm:t>
        <a:bodyPr/>
        <a:lstStyle/>
        <a:p>
          <a:endParaRPr lang="ru-RU"/>
        </a:p>
      </dgm:t>
    </dgm:pt>
    <dgm:pt modelId="{3B1491EA-74CD-4D8F-8BBB-B930BE3D0BD1}" type="pres">
      <dgm:prSet presAssocID="{300EF003-29AC-4850-88C6-F63248FBC40F}" presName="compNode" presStyleCnt="0"/>
      <dgm:spPr/>
    </dgm:pt>
    <dgm:pt modelId="{030EB531-E3D7-40CA-834A-4C59B3BB8407}" type="pres">
      <dgm:prSet presAssocID="{300EF003-29AC-4850-88C6-F63248FBC40F}" presName="node" presStyleLbl="node1" presStyleIdx="3" presStyleCnt="4" custScaleX="240074" custScaleY="154781" custLinFactNeighborX="9125" custLinFactNeighborY="-12325">
        <dgm:presLayoutVars>
          <dgm:bulletEnabled val="1"/>
        </dgm:presLayoutVars>
      </dgm:prSet>
      <dgm:spPr>
        <a:prstGeom prst="flowChartAlternateProcess">
          <a:avLst/>
        </a:prstGeom>
      </dgm:spPr>
      <dgm:t>
        <a:bodyPr/>
        <a:lstStyle/>
        <a:p>
          <a:endParaRPr lang="ru-RU"/>
        </a:p>
      </dgm:t>
    </dgm:pt>
    <dgm:pt modelId="{5C3596F9-C511-4710-89BE-253550FDBCB2}" type="pres">
      <dgm:prSet presAssocID="{300EF003-29AC-4850-88C6-F63248FBC40F}" presName="invisiNode" presStyleLbl="node1" presStyleIdx="3" presStyleCnt="4"/>
      <dgm:spPr/>
    </dgm:pt>
    <dgm:pt modelId="{0673D50D-D662-4A65-B882-900012B03886}" type="pres">
      <dgm:prSet presAssocID="{300EF003-29AC-4850-88C6-F63248FBC40F}" presName="imagNode" presStyleLbl="fgImgPlace1" presStyleIdx="3" presStyleCnt="4" custScaleX="157370" custScaleY="44366" custLinFactNeighborX="12962" custLinFactNeighborY="-21345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</dgm:ptLst>
  <dgm:cxnLst>
    <dgm:cxn modelId="{784F04DE-6E73-494F-B15C-62FCDF181B59}" type="presOf" srcId="{3E180520-76F9-4783-9E34-6C54C0D713E5}" destId="{F4616D29-9616-4862-8E79-C12BFE7A2440}" srcOrd="0" destOrd="0" presId="urn:microsoft.com/office/officeart/2005/8/layout/pList2#1"/>
    <dgm:cxn modelId="{E912F63A-7AC2-4B06-BB2E-B721ECA2CEF7}" srcId="{324A6F8F-EA59-41F0-AC3A-49EF56A77E68}" destId="{3E180520-76F9-4783-9E34-6C54C0D713E5}" srcOrd="2" destOrd="0" parTransId="{4D90A7DD-8217-4D9D-8CB7-D7111A052001}" sibTransId="{6F023B08-8ED7-449C-8520-8381C684F03D}"/>
    <dgm:cxn modelId="{1A07304D-19EE-44CE-8141-5D42756E0013}" type="presOf" srcId="{24C1E46D-7797-48B5-A195-81271438D329}" destId="{4527C932-F1E8-4B87-812B-0DE04A489017}" srcOrd="0" destOrd="0" presId="urn:microsoft.com/office/officeart/2005/8/layout/pList2#1"/>
    <dgm:cxn modelId="{1739C064-D6F2-4666-A101-6840D03ABA97}" srcId="{324A6F8F-EA59-41F0-AC3A-49EF56A77E68}" destId="{300EF003-29AC-4850-88C6-F63248FBC40F}" srcOrd="3" destOrd="0" parTransId="{F387CB22-4C6D-4741-A651-CBC1CD852B89}" sibTransId="{67D622AD-3E44-4C6C-B677-DFC89C7ADDB1}"/>
    <dgm:cxn modelId="{7680365A-C29D-4668-8B89-425DA70074F0}" type="presOf" srcId="{300EF003-29AC-4850-88C6-F63248FBC40F}" destId="{030EB531-E3D7-40CA-834A-4C59B3BB8407}" srcOrd="0" destOrd="0" presId="urn:microsoft.com/office/officeart/2005/8/layout/pList2#1"/>
    <dgm:cxn modelId="{AB85F695-1637-4888-8EE7-FD9B661D5687}" srcId="{324A6F8F-EA59-41F0-AC3A-49EF56A77E68}" destId="{664E1474-7C25-4827-9405-F3364955C648}" srcOrd="1" destOrd="0" parTransId="{2AD8C361-E315-4448-B047-D06E24DCAF6A}" sibTransId="{44A11124-B021-4A10-B0D1-D75D5AF7636A}"/>
    <dgm:cxn modelId="{5D27D38B-AF95-40BA-BAC4-EC7130150BFE}" type="presOf" srcId="{6F023B08-8ED7-449C-8520-8381C684F03D}" destId="{BC1E7551-2BE5-4679-B26F-A453350CC4E0}" srcOrd="0" destOrd="0" presId="urn:microsoft.com/office/officeart/2005/8/layout/pList2#1"/>
    <dgm:cxn modelId="{7D472405-8DA9-4E4C-85E0-CF3D48BAEA50}" type="presOf" srcId="{664E1474-7C25-4827-9405-F3364955C648}" destId="{841C7B15-D417-4BD9-9312-E605E19BF285}" srcOrd="0" destOrd="0" presId="urn:microsoft.com/office/officeart/2005/8/layout/pList2#1"/>
    <dgm:cxn modelId="{1764B385-8EA5-483D-B702-6D71BA00EB72}" type="presOf" srcId="{44A11124-B021-4A10-B0D1-D75D5AF7636A}" destId="{BBFF8E6D-7969-4D14-825B-D36516CB288C}" srcOrd="0" destOrd="0" presId="urn:microsoft.com/office/officeart/2005/8/layout/pList2#1"/>
    <dgm:cxn modelId="{947E5A24-423E-4EE3-A757-E590F0AFC0CC}" srcId="{324A6F8F-EA59-41F0-AC3A-49EF56A77E68}" destId="{24C1E46D-7797-48B5-A195-81271438D329}" srcOrd="0" destOrd="0" parTransId="{31A6351C-2C5C-4E17-88FF-C5E2241784D9}" sibTransId="{722F7FF8-DCF7-4468-A487-B31418D4BA8B}"/>
    <dgm:cxn modelId="{B04F83BC-90F9-4448-8797-007A90EB1AFA}" type="presOf" srcId="{324A6F8F-EA59-41F0-AC3A-49EF56A77E68}" destId="{FF456DF3-61C1-408F-847E-F72A7EA78DD6}" srcOrd="0" destOrd="0" presId="urn:microsoft.com/office/officeart/2005/8/layout/pList2#1"/>
    <dgm:cxn modelId="{578ACBCD-8C33-4336-B695-98B7D8F4916B}" type="presOf" srcId="{722F7FF8-DCF7-4468-A487-B31418D4BA8B}" destId="{CB6D148D-A119-4232-9EB4-6785580A8B16}" srcOrd="0" destOrd="0" presId="urn:microsoft.com/office/officeart/2005/8/layout/pList2#1"/>
    <dgm:cxn modelId="{0EDA13E3-5621-43D2-A043-E893428F0009}" type="presParOf" srcId="{FF456DF3-61C1-408F-847E-F72A7EA78DD6}" destId="{35883D05-C72A-46DA-A42F-951898A2AC57}" srcOrd="0" destOrd="0" presId="urn:microsoft.com/office/officeart/2005/8/layout/pList2#1"/>
    <dgm:cxn modelId="{85C70EBA-19BF-4D17-A953-DB0F669139AE}" type="presParOf" srcId="{FF456DF3-61C1-408F-847E-F72A7EA78DD6}" destId="{7F353BE2-6BDD-4BBA-8B84-19E02171A872}" srcOrd="1" destOrd="0" presId="urn:microsoft.com/office/officeart/2005/8/layout/pList2#1"/>
    <dgm:cxn modelId="{C4A6480B-F12F-4DC8-ADA5-0ADB6EC5E54A}" type="presParOf" srcId="{7F353BE2-6BDD-4BBA-8B84-19E02171A872}" destId="{8C9F0C7F-D63C-4A3A-A87E-031F1BC2AF1C}" srcOrd="0" destOrd="0" presId="urn:microsoft.com/office/officeart/2005/8/layout/pList2#1"/>
    <dgm:cxn modelId="{8A90A4AE-D8C0-4B59-ACEC-7041531A7554}" type="presParOf" srcId="{8C9F0C7F-D63C-4A3A-A87E-031F1BC2AF1C}" destId="{4527C932-F1E8-4B87-812B-0DE04A489017}" srcOrd="0" destOrd="0" presId="urn:microsoft.com/office/officeart/2005/8/layout/pList2#1"/>
    <dgm:cxn modelId="{40F9851A-4DED-436A-BD9F-B913713BEFA8}" type="presParOf" srcId="{8C9F0C7F-D63C-4A3A-A87E-031F1BC2AF1C}" destId="{4517CE33-5EE1-4D6A-BE56-A2B1DF068792}" srcOrd="1" destOrd="0" presId="urn:microsoft.com/office/officeart/2005/8/layout/pList2#1"/>
    <dgm:cxn modelId="{F557A825-07F3-4D00-B391-E3F091598B03}" type="presParOf" srcId="{8C9F0C7F-D63C-4A3A-A87E-031F1BC2AF1C}" destId="{942B8DB0-84AF-43AC-8F29-E70D3A945845}" srcOrd="2" destOrd="0" presId="urn:microsoft.com/office/officeart/2005/8/layout/pList2#1"/>
    <dgm:cxn modelId="{D3D47B65-F90A-4B64-8F92-CCC87B74E360}" type="presParOf" srcId="{7F353BE2-6BDD-4BBA-8B84-19E02171A872}" destId="{CB6D148D-A119-4232-9EB4-6785580A8B16}" srcOrd="1" destOrd="0" presId="urn:microsoft.com/office/officeart/2005/8/layout/pList2#1"/>
    <dgm:cxn modelId="{4A2B368D-92C8-4647-A38D-F47C53A788C4}" type="presParOf" srcId="{7F353BE2-6BDD-4BBA-8B84-19E02171A872}" destId="{BC7854FE-3C27-4AEE-9D6B-A84E0B048E27}" srcOrd="2" destOrd="0" presId="urn:microsoft.com/office/officeart/2005/8/layout/pList2#1"/>
    <dgm:cxn modelId="{4F6D91B7-C803-4259-94D9-A94FCFDE9A1E}" type="presParOf" srcId="{BC7854FE-3C27-4AEE-9D6B-A84E0B048E27}" destId="{841C7B15-D417-4BD9-9312-E605E19BF285}" srcOrd="0" destOrd="0" presId="urn:microsoft.com/office/officeart/2005/8/layout/pList2#1"/>
    <dgm:cxn modelId="{75674A1F-FDD7-47D6-A545-4349D80CB744}" type="presParOf" srcId="{BC7854FE-3C27-4AEE-9D6B-A84E0B048E27}" destId="{C33C9943-C312-4295-A499-97BCD46BAB79}" srcOrd="1" destOrd="0" presId="urn:microsoft.com/office/officeart/2005/8/layout/pList2#1"/>
    <dgm:cxn modelId="{F47EE8FE-A96D-4D81-9A5C-36EF8DD5D6E4}" type="presParOf" srcId="{BC7854FE-3C27-4AEE-9D6B-A84E0B048E27}" destId="{281F5A40-C78E-42DF-8DCC-5828EE492937}" srcOrd="2" destOrd="0" presId="urn:microsoft.com/office/officeart/2005/8/layout/pList2#1"/>
    <dgm:cxn modelId="{C7912293-C7DF-46E7-804C-95DADA7F056D}" type="presParOf" srcId="{7F353BE2-6BDD-4BBA-8B84-19E02171A872}" destId="{BBFF8E6D-7969-4D14-825B-D36516CB288C}" srcOrd="3" destOrd="0" presId="urn:microsoft.com/office/officeart/2005/8/layout/pList2#1"/>
    <dgm:cxn modelId="{737CA62C-65B4-451B-ABCF-E15671810FC1}" type="presParOf" srcId="{7F353BE2-6BDD-4BBA-8B84-19E02171A872}" destId="{4D1B9FA1-8F79-40C4-A879-2A2FA94F059D}" srcOrd="4" destOrd="0" presId="urn:microsoft.com/office/officeart/2005/8/layout/pList2#1"/>
    <dgm:cxn modelId="{6A3A533D-E07A-4E81-953F-0E44C54605D1}" type="presParOf" srcId="{4D1B9FA1-8F79-40C4-A879-2A2FA94F059D}" destId="{F4616D29-9616-4862-8E79-C12BFE7A2440}" srcOrd="0" destOrd="0" presId="urn:microsoft.com/office/officeart/2005/8/layout/pList2#1"/>
    <dgm:cxn modelId="{1DE5D1A5-416F-4D3B-A2BC-E158032D6B32}" type="presParOf" srcId="{4D1B9FA1-8F79-40C4-A879-2A2FA94F059D}" destId="{E39635DE-6DDD-43AD-9F77-6A7C142CD458}" srcOrd="1" destOrd="0" presId="urn:microsoft.com/office/officeart/2005/8/layout/pList2#1"/>
    <dgm:cxn modelId="{D071FA46-F4FD-426E-8F2D-6085A07CAA57}" type="presParOf" srcId="{4D1B9FA1-8F79-40C4-A879-2A2FA94F059D}" destId="{889616B8-0875-4D56-85FA-F1786E4D8479}" srcOrd="2" destOrd="0" presId="urn:microsoft.com/office/officeart/2005/8/layout/pList2#1"/>
    <dgm:cxn modelId="{598176AD-18FA-4CA8-9B59-0EA058F4D8C5}" type="presParOf" srcId="{7F353BE2-6BDD-4BBA-8B84-19E02171A872}" destId="{BC1E7551-2BE5-4679-B26F-A453350CC4E0}" srcOrd="5" destOrd="0" presId="urn:microsoft.com/office/officeart/2005/8/layout/pList2#1"/>
    <dgm:cxn modelId="{154FB623-E76D-443F-81A0-5BADB1C62AB6}" type="presParOf" srcId="{7F353BE2-6BDD-4BBA-8B84-19E02171A872}" destId="{3B1491EA-74CD-4D8F-8BBB-B930BE3D0BD1}" srcOrd="6" destOrd="0" presId="urn:microsoft.com/office/officeart/2005/8/layout/pList2#1"/>
    <dgm:cxn modelId="{9674B6AE-BB85-4307-8C27-465A542B5B69}" type="presParOf" srcId="{3B1491EA-74CD-4D8F-8BBB-B930BE3D0BD1}" destId="{030EB531-E3D7-40CA-834A-4C59B3BB8407}" srcOrd="0" destOrd="0" presId="urn:microsoft.com/office/officeart/2005/8/layout/pList2#1"/>
    <dgm:cxn modelId="{8460E6B7-C461-4794-AD77-6A563E236268}" type="presParOf" srcId="{3B1491EA-74CD-4D8F-8BBB-B930BE3D0BD1}" destId="{5C3596F9-C511-4710-89BE-253550FDBCB2}" srcOrd="1" destOrd="0" presId="urn:microsoft.com/office/officeart/2005/8/layout/pList2#1"/>
    <dgm:cxn modelId="{742571CA-82B5-4D37-B98B-0641730EAE15}" type="presParOf" srcId="{3B1491EA-74CD-4D8F-8BBB-B930BE3D0BD1}" destId="{0673D50D-D662-4A65-B882-900012B03886}" srcOrd="2" destOrd="0" presId="urn:microsoft.com/office/officeart/2005/8/layout/pList2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83D05-C72A-46DA-A42F-951898A2AC57}">
      <dsp:nvSpPr>
        <dsp:cNvPr id="0" name=""/>
        <dsp:cNvSpPr/>
      </dsp:nvSpPr>
      <dsp:spPr>
        <a:xfrm>
          <a:off x="0" y="0"/>
          <a:ext cx="8215188" cy="985081"/>
        </a:xfrm>
        <a:prstGeom prst="roundRect">
          <a:avLst>
            <a:gd name="adj" fmla="val 1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2B8DB0-84AF-43AC-8F29-E70D3A945845}">
      <dsp:nvSpPr>
        <dsp:cNvPr id="0" name=""/>
        <dsp:cNvSpPr/>
      </dsp:nvSpPr>
      <dsp:spPr>
        <a:xfrm>
          <a:off x="665545" y="44719"/>
          <a:ext cx="1202528" cy="810194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27C932-F1E8-4B87-812B-0DE04A489017}">
      <dsp:nvSpPr>
        <dsp:cNvPr id="0" name=""/>
        <dsp:cNvSpPr/>
      </dsp:nvSpPr>
      <dsp:spPr>
        <a:xfrm rot="10800000">
          <a:off x="282076" y="933150"/>
          <a:ext cx="2046138" cy="5040015"/>
        </a:xfrm>
        <a:prstGeom prst="flowChartAlternateProcess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0" u="sng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Общероссийская общественная организация малого и среднего предпринимательства 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50" b="0" u="sng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«ОПОРА РОССИИ» и НП «ОПОРА»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50" b="0" kern="1200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50" kern="1200" dirty="0" smtClean="0"/>
            <a:t>- создана 18 сентября 2002г.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50" kern="1200" dirty="0" smtClean="0"/>
            <a:t>- 81 региональное  отделение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50" kern="1200" dirty="0" smtClean="0"/>
            <a:t>- в состав НП  «ОПОРА» входит </a:t>
          </a:r>
          <a:r>
            <a:rPr lang="en-US" sz="1450" kern="1200" dirty="0" smtClean="0"/>
            <a:t>1</a:t>
          </a:r>
          <a:r>
            <a:rPr lang="ru-RU" sz="1450" kern="1200" dirty="0" smtClean="0"/>
            <a:t>03</a:t>
          </a:r>
          <a:r>
            <a:rPr lang="en-US" sz="1450" kern="1200" dirty="0" smtClean="0"/>
            <a:t> </a:t>
          </a:r>
          <a:r>
            <a:rPr lang="ru-RU" sz="1450" kern="1200" dirty="0" smtClean="0"/>
            <a:t>отраслевых союза, ассоциации </a:t>
          </a:r>
          <a:r>
            <a:rPr lang="ru-RU" sz="1450" kern="1200" smtClean="0"/>
            <a:t>и гильдии; </a:t>
          </a:r>
          <a:endParaRPr lang="ru-RU" sz="1450" kern="1200" dirty="0" smtClean="0"/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50" kern="1200" dirty="0" smtClean="0"/>
            <a:t>- более 400 000 представителей МСП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50" kern="1200" dirty="0"/>
        </a:p>
      </dsp:txBody>
      <dsp:txXfrm rot="10800000">
        <a:off x="381958" y="1033032"/>
        <a:ext cx="1846374" cy="4840251"/>
      </dsp:txXfrm>
    </dsp:sp>
    <dsp:sp modelId="{281F5A40-C78E-42DF-8DCC-5828EE492937}">
      <dsp:nvSpPr>
        <dsp:cNvPr id="0" name=""/>
        <dsp:cNvSpPr/>
      </dsp:nvSpPr>
      <dsp:spPr>
        <a:xfrm>
          <a:off x="2653573" y="78587"/>
          <a:ext cx="1373053" cy="849014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41C7B15-D417-4BD9-9312-E605E19BF285}">
      <dsp:nvSpPr>
        <dsp:cNvPr id="0" name=""/>
        <dsp:cNvSpPr/>
      </dsp:nvSpPr>
      <dsp:spPr>
        <a:xfrm rot="10800000">
          <a:off x="2433761" y="952264"/>
          <a:ext cx="1810959" cy="5040015"/>
        </a:xfrm>
        <a:prstGeom prst="flowChartAlternateProcess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lvl="0" algn="ctr" defTabSz="6445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50" u="sng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Торгово-промышленная палата Российской Федерации</a:t>
          </a:r>
        </a:p>
        <a:p>
          <a:pPr lvl="0" algn="ctr" defTabSz="6445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50" u="sng" kern="1200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50" kern="1200" dirty="0" smtClean="0"/>
            <a:t>-в июле 1993 г. принят закон «О торгово-промышленных палатах  в РФ»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50" kern="1200" dirty="0" smtClean="0"/>
            <a:t>- 174  территориальных  ТПП </a:t>
          </a:r>
        </a:p>
        <a:p>
          <a:pPr lvl="0" algn="l" defTabSz="6445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50" kern="1200" dirty="0" smtClean="0"/>
            <a:t>- более 200 союзов, ассоциаций </a:t>
          </a:r>
        </a:p>
        <a:p>
          <a:pPr lvl="0" algn="l" defTabSz="6445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50" kern="1200" dirty="0" smtClean="0"/>
            <a:t>- около 50 тысяч предприятий и организаций </a:t>
          </a:r>
        </a:p>
      </dsp:txBody>
      <dsp:txXfrm rot="10800000">
        <a:off x="2522163" y="1040666"/>
        <a:ext cx="1634155" cy="4863211"/>
      </dsp:txXfrm>
    </dsp:sp>
    <dsp:sp modelId="{889616B8-0875-4D56-85FA-F1786E4D8479}">
      <dsp:nvSpPr>
        <dsp:cNvPr id="0" name=""/>
        <dsp:cNvSpPr/>
      </dsp:nvSpPr>
      <dsp:spPr>
        <a:xfrm>
          <a:off x="4542780" y="38887"/>
          <a:ext cx="1414798" cy="86679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616D29-9616-4862-8E79-C12BFE7A2440}">
      <dsp:nvSpPr>
        <dsp:cNvPr id="0" name=""/>
        <dsp:cNvSpPr/>
      </dsp:nvSpPr>
      <dsp:spPr>
        <a:xfrm rot="10800000">
          <a:off x="4324589" y="946175"/>
          <a:ext cx="1810959" cy="5040015"/>
        </a:xfrm>
        <a:prstGeom prst="flowChartAlternateProcess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u="sng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Российский союз             промышленников и предпринимателей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50" kern="1200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50" kern="1200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50" kern="1200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50" kern="1200" dirty="0" smtClean="0">
              <a:effectLst/>
            </a:rPr>
            <a:t>- основан в 1990 г.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50" kern="1200" dirty="0" smtClean="0">
              <a:effectLst/>
            </a:rPr>
            <a:t> - более 100 отраслевых и региональных объединений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50" kern="1200" dirty="0" smtClean="0">
              <a:effectLst/>
            </a:rPr>
            <a:t>- свыше 320 тыс. представителей промышленных, научных, финансовых и коммерческих организаций</a:t>
          </a:r>
          <a:endParaRPr lang="ru-RU" sz="1450" kern="1200" dirty="0">
            <a:effectLst/>
          </a:endParaRPr>
        </a:p>
      </dsp:txBody>
      <dsp:txXfrm rot="10800000">
        <a:off x="4412991" y="1034577"/>
        <a:ext cx="1634155" cy="4863211"/>
      </dsp:txXfrm>
    </dsp:sp>
    <dsp:sp modelId="{0673D50D-D662-4A65-B882-900012B03886}">
      <dsp:nvSpPr>
        <dsp:cNvPr id="0" name=""/>
        <dsp:cNvSpPr/>
      </dsp:nvSpPr>
      <dsp:spPr>
        <a:xfrm>
          <a:off x="6559001" y="35722"/>
          <a:ext cx="1187095" cy="86679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0EB531-E3D7-40CA-834A-4C59B3BB8407}">
      <dsp:nvSpPr>
        <dsp:cNvPr id="0" name=""/>
        <dsp:cNvSpPr/>
      </dsp:nvSpPr>
      <dsp:spPr>
        <a:xfrm rot="10800000">
          <a:off x="6218125" y="925009"/>
          <a:ext cx="1810959" cy="5040015"/>
        </a:xfrm>
        <a:prstGeom prst="flowChartAlternateProcess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lvl="0" algn="ctr" defTabSz="6445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50" u="sng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Общероссийская общественная организация «</a:t>
          </a:r>
          <a:r>
            <a:rPr lang="ru-RU" sz="1450" u="sng" kern="120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Деловая Россия»</a:t>
          </a:r>
        </a:p>
        <a:p>
          <a:pPr lvl="0" algn="ctr" defTabSz="6445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50" kern="120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lvl="0" algn="ctr" defTabSz="6445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50" kern="120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lvl="0" algn="l" defTabSz="6445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50" kern="1200" smtClean="0">
              <a:effectLst/>
            </a:rPr>
            <a:t>- </a:t>
          </a:r>
          <a:r>
            <a:rPr lang="ru-RU" sz="1450" kern="1200" dirty="0" smtClean="0">
              <a:effectLst/>
            </a:rPr>
            <a:t>создана в 2001 году</a:t>
          </a:r>
        </a:p>
        <a:p>
          <a:pPr lvl="0" defTabSz="6445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50" kern="1200" dirty="0" smtClean="0">
              <a:effectLst/>
            </a:rPr>
            <a:t>-72 региональных отделения;</a:t>
          </a:r>
        </a:p>
        <a:p>
          <a:pPr lvl="0" defTabSz="6445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50" kern="1200" dirty="0" smtClean="0">
              <a:effectLst/>
            </a:rPr>
            <a:t>- 38 отраслевых отделений </a:t>
          </a:r>
        </a:p>
      </dsp:txBody>
      <dsp:txXfrm rot="10800000">
        <a:off x="6306527" y="1013411"/>
        <a:ext cx="1634155" cy="486321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2#1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emf"/><Relationship Id="rId1" Type="http://schemas.openxmlformats.org/officeDocument/2006/relationships/image" Target="../media/image15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67" tIns="45733" rIns="91467" bIns="45733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67" tIns="45733" rIns="91467" bIns="45733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2747CC23-AA3F-43FB-894E-CA61AB2CB009}" type="datetimeFigureOut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1085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67" tIns="45733" rIns="91467" bIns="45733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85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67" tIns="45733" rIns="91467" bIns="45733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2787F939-CD5A-4626-9672-3EA5FD8B829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09180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67" tIns="45733" rIns="91467" bIns="45733" numCol="1" anchor="t" anchorCtr="0" compatLnSpc="1">
            <a:prstTxWarp prst="textNoShape">
              <a:avLst/>
            </a:prstTxWarp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67" tIns="45733" rIns="91467" bIns="45733" numCol="1" anchor="t" anchorCtr="0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B08087B-8C82-425C-86F4-A96ECE604F98}" type="datetimeFigureOut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5" rIns="91430" bIns="45715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67" tIns="45733" rIns="91467" bIns="4573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67" tIns="45733" rIns="91467" bIns="45733" numCol="1" anchor="b" anchorCtr="0" compatLnSpc="1">
            <a:prstTxWarp prst="textNoShape">
              <a:avLst/>
            </a:prstTxWarp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67" tIns="45733" rIns="91467" bIns="45733" numCol="1" anchor="b" anchorCtr="0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8069B8A-4B1E-4546-B62A-B7490CD2507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923937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611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06114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5363" name="Номер слайда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467" tIns="45733" rIns="91467" bIns="45733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7E7C4A0-C514-4C89-8D60-904F69905643}" type="slidenum">
              <a:rPr lang="ru-RU" sz="1200">
                <a:solidFill>
                  <a:prstClr val="black"/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</a:t>
            </a:fld>
            <a:endParaRPr lang="ru-RU" sz="1200" dirty="0">
              <a:solidFill>
                <a:prstClr val="black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068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30690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7107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089932D-4FE1-4860-9605-1C4B9122144C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580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35810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73731" name="Номер слайда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467" tIns="45733" rIns="91467" bIns="45733" anchor="b"/>
          <a:lstStyle/>
          <a:p>
            <a:pPr algn="r">
              <a:defRPr/>
            </a:pPr>
            <a:fld id="{463A0F13-BEC6-428D-88BD-077FF074E263}" type="slidenum">
              <a:rPr lang="ru-RU" sz="1200">
                <a:latin typeface="+mn-lt"/>
                <a:cs typeface="+mn-cs"/>
              </a:rPr>
              <a:pPr algn="r">
                <a:defRPr/>
              </a:pPr>
              <a:t>24</a:t>
            </a:fld>
            <a:endParaRPr lang="ru-RU" sz="1200" dirty="0">
              <a:latin typeface="+mn-lt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9121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49122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77827" name="Номер слайда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467" tIns="45733" rIns="91467" bIns="45733" anchor="b"/>
          <a:lstStyle/>
          <a:p>
            <a:pPr algn="r">
              <a:defRPr/>
            </a:pPr>
            <a:fld id="{3472CD72-F3AC-4DCF-BC5C-976ED2200174}" type="slidenum">
              <a:rPr lang="ru-RU" sz="1200">
                <a:latin typeface="+mn-lt"/>
                <a:cs typeface="+mn-cs"/>
              </a:rPr>
              <a:pPr algn="r">
                <a:defRPr/>
              </a:pPr>
              <a:t>34</a:t>
            </a:fld>
            <a:endParaRPr lang="ru-RU" sz="1200" dirty="0">
              <a:latin typeface="+mn-lt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628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56290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77827" name="Номер слайда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467" tIns="45733" rIns="91467" bIns="45733" anchor="b"/>
          <a:lstStyle/>
          <a:p>
            <a:pPr algn="r">
              <a:defRPr/>
            </a:pPr>
            <a:fld id="{2EC12832-34A9-48BA-B935-8608F22335FC}" type="slidenum">
              <a:rPr lang="ru-RU" sz="1200">
                <a:latin typeface="+mn-lt"/>
                <a:cs typeface="+mn-cs"/>
              </a:rPr>
              <a:pPr algn="r">
                <a:defRPr/>
              </a:pPr>
              <a:t>41</a:t>
            </a:fld>
            <a:endParaRPr lang="ru-RU" sz="1200" dirty="0">
              <a:latin typeface="+mn-lt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7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2.xml"/><Relationship Id="rId11" Type="http://schemas.openxmlformats.org/officeDocument/2006/relationships/image" Target="../media/image2.png"/><Relationship Id="rId5" Type="http://schemas.openxmlformats.org/officeDocument/2006/relationships/tags" Target="../tags/tag4.xml"/><Relationship Id="rId10" Type="http://schemas.openxmlformats.org/officeDocument/2006/relationships/image" Target="../media/image8.png"/><Relationship Id="rId4" Type="http://schemas.openxmlformats.org/officeDocument/2006/relationships/tags" Target="../tags/tag3.xml"/><Relationship Id="rId9" Type="http://schemas.openxmlformats.org/officeDocument/2006/relationships/image" Target="../media/image6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7.jpe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5.xml"/><Relationship Id="rId11" Type="http://schemas.openxmlformats.org/officeDocument/2006/relationships/image" Target="../media/image2.png"/><Relationship Id="rId5" Type="http://schemas.openxmlformats.org/officeDocument/2006/relationships/tags" Target="../tags/tag8.xml"/><Relationship Id="rId10" Type="http://schemas.openxmlformats.org/officeDocument/2006/relationships/image" Target="../media/image8.png"/><Relationship Id="rId4" Type="http://schemas.openxmlformats.org/officeDocument/2006/relationships/tags" Target="../tags/tag7.xml"/><Relationship Id="rId9" Type="http://schemas.openxmlformats.org/officeDocument/2006/relationships/image" Target="../media/image6.emf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CAB4AF-5CBE-4A50-86EC-45B142B2D057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15DCEF-EB77-4DDE-B364-7ADAAB42D8E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BCB766-A1C6-496A-AF15-1C300100AF7F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07CCCB-4C45-43AD-9A85-849C2BBEBCF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7ACB30-FC7A-4F34-B9AF-FD594542C25B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27ECEF-D75A-4D5B-9873-B0691D9CDE8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Разделитель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Backgroung_0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5" descr="Background_0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247775"/>
            <a:ext cx="9144000" cy="561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nav4" hidden="1"/>
          <p:cNvSpPr>
            <a:spLocks noChangeArrowheads="1"/>
          </p:cNvSpPr>
          <p:nvPr/>
        </p:nvSpPr>
        <p:spPr bwMode="auto">
          <a:xfrm>
            <a:off x="7196138" y="6164263"/>
            <a:ext cx="360362" cy="3603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19050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ru-RU" sz="2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4</a:t>
            </a:r>
          </a:p>
        </p:txBody>
      </p:sp>
      <p:sp>
        <p:nvSpPr>
          <p:cNvPr id="6" name="nav5" hidden="1"/>
          <p:cNvSpPr>
            <a:spLocks noChangeArrowheads="1"/>
          </p:cNvSpPr>
          <p:nvPr/>
        </p:nvSpPr>
        <p:spPr bwMode="auto">
          <a:xfrm>
            <a:off x="7616825" y="6164263"/>
            <a:ext cx="360363" cy="3603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19050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ru-RU" sz="2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</a:t>
            </a:r>
          </a:p>
        </p:txBody>
      </p:sp>
      <p:sp>
        <p:nvSpPr>
          <p:cNvPr id="7" name="nav6" hidden="1"/>
          <p:cNvSpPr>
            <a:spLocks noChangeArrowheads="1"/>
          </p:cNvSpPr>
          <p:nvPr/>
        </p:nvSpPr>
        <p:spPr bwMode="auto">
          <a:xfrm>
            <a:off x="8039100" y="6164263"/>
            <a:ext cx="360363" cy="3603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19050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en-US" sz="2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6</a:t>
            </a:r>
            <a:endParaRPr lang="ru-RU" sz="2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nav7" hidden="1"/>
          <p:cNvSpPr>
            <a:spLocks noChangeArrowheads="1"/>
          </p:cNvSpPr>
          <p:nvPr/>
        </p:nvSpPr>
        <p:spPr bwMode="auto">
          <a:xfrm>
            <a:off x="8459788" y="6164263"/>
            <a:ext cx="360362" cy="3603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19050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en-US" sz="2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7</a:t>
            </a:r>
            <a:endParaRPr lang="ru-RU" sz="2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59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8313" y="4633921"/>
            <a:ext cx="4824412" cy="276999"/>
          </a:xfrm>
          <a:prstGeom prst="rect">
            <a:avLst/>
          </a:prstGeom>
          <a:effectLst/>
          <a:extLst/>
        </p:spPr>
        <p:txBody>
          <a:bodyPr anchor="t"/>
          <a:lstStyle>
            <a:lvl1pPr>
              <a:defRPr>
                <a:solidFill>
                  <a:schemeClr val="accent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 dirty="0" smtClean="0"/>
          </a:p>
        </p:txBody>
      </p:sp>
    </p:spTree>
  </p:cSld>
  <p:clrMapOvr>
    <a:masterClrMapping/>
  </p:clrMapOvr>
  <p:transition>
    <p:split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8048625" y="1196975"/>
            <a:ext cx="942975" cy="6715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3C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3C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3C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3C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r>
              <a:rPr lang="ru-RU" sz="2800" dirty="0" smtClean="0">
                <a:cs typeface="Arial" pitchFamily="34" charset="0"/>
              </a:rPr>
              <a:t>Стр.</a:t>
            </a:r>
            <a:endParaRPr lang="ru-RU" sz="2800" dirty="0">
              <a:cs typeface="Arial" pitchFamily="34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333375" y="1196975"/>
            <a:ext cx="7478713" cy="6715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3C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3C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3C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3C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ru-RU" sz="2800" dirty="0" smtClean="0">
                <a:cs typeface="Arial" pitchFamily="34" charset="0"/>
              </a:rPr>
              <a:t>Содержание</a:t>
            </a:r>
            <a:endParaRPr lang="ru-RU" sz="2800" dirty="0">
              <a:cs typeface="Arial" pitchFamily="34" charset="0"/>
            </a:endParaRP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10"/>
          </p:nvPr>
        </p:nvSpPr>
        <p:spPr>
          <a:xfrm>
            <a:off x="333651" y="1869376"/>
            <a:ext cx="7636529" cy="1384995"/>
          </a:xfrm>
          <a:prstGeom prst="rect">
            <a:avLst/>
          </a:prstGeom>
        </p:spPr>
        <p:txBody>
          <a:bodyPr lIns="0" tIns="0" rIns="0" bIns="0"/>
          <a:lstStyle>
            <a:lvl1pPr marL="342900" indent="-342900">
              <a:spcBef>
                <a:spcPts val="0"/>
              </a:spcBef>
              <a:buFont typeface="+mj-lt"/>
              <a:buAutoNum type="alphaUcPeriod"/>
              <a:defRPr sz="1800">
                <a:latin typeface="Arial" pitchFamily="34" charset="0"/>
                <a:cs typeface="Arial" pitchFamily="34" charset="0"/>
              </a:defRPr>
            </a:lvl1pPr>
            <a:lvl2pPr marL="709613" indent="-342900">
              <a:spcBef>
                <a:spcPts val="0"/>
              </a:spcBef>
              <a:buFont typeface="+mj-lt"/>
              <a:buAutoNum type="alphaUcPeriod"/>
              <a:defRPr sz="1800">
                <a:latin typeface="Arial" pitchFamily="34" charset="0"/>
                <a:cs typeface="Arial" pitchFamily="34" charset="0"/>
              </a:defRPr>
            </a:lvl2pPr>
            <a:lvl3pPr marL="1077913" indent="-342900" defTabSz="893763">
              <a:spcBef>
                <a:spcPts val="0"/>
              </a:spcBef>
              <a:buFont typeface="+mj-lt"/>
              <a:buAutoNum type="alphaUcPeriod"/>
              <a:defRPr sz="1800">
                <a:latin typeface="Arial" pitchFamily="34" charset="0"/>
                <a:cs typeface="Arial" pitchFamily="34" charset="0"/>
              </a:defRPr>
            </a:lvl3pPr>
            <a:lvl4pPr marL="1436688" indent="-342900">
              <a:spcBef>
                <a:spcPts val="0"/>
              </a:spcBef>
              <a:buFont typeface="+mj-lt"/>
              <a:buAutoNum type="alphaUcPeriod"/>
              <a:defRPr sz="1800">
                <a:latin typeface="Arial" pitchFamily="34" charset="0"/>
                <a:cs typeface="Arial" pitchFamily="34" charset="0"/>
              </a:defRPr>
            </a:lvl4pPr>
            <a:lvl5pPr marL="1792288" indent="-342900">
              <a:spcBef>
                <a:spcPts val="0"/>
              </a:spcBef>
              <a:buFont typeface="+mj-lt"/>
              <a:buAutoNum type="alphaUcPeriod"/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2"/>
          <p:cNvSpPr>
            <a:spLocks noGrp="1"/>
          </p:cNvSpPr>
          <p:nvPr>
            <p:ph type="body" sz="quarter" idx="12"/>
          </p:nvPr>
        </p:nvSpPr>
        <p:spPr>
          <a:xfrm>
            <a:off x="8048029" y="1869374"/>
            <a:ext cx="943798" cy="27699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spcBef>
                <a:spcPts val="0"/>
              </a:spcBef>
              <a:buFont typeface="+mj-lt"/>
              <a:buNone/>
              <a:defRPr sz="1800">
                <a:latin typeface="Arial" pitchFamily="34" charset="0"/>
                <a:cs typeface="Arial" pitchFamily="34" charset="0"/>
              </a:defRPr>
            </a:lvl1pPr>
            <a:lvl2pPr marL="709613" indent="-342900">
              <a:buFont typeface="+mj-lt"/>
              <a:buAutoNum type="alphaUcPeriod"/>
              <a:defRPr sz="1800"/>
            </a:lvl2pPr>
            <a:lvl3pPr marL="1077913" indent="-342900" defTabSz="893763">
              <a:buFont typeface="+mj-lt"/>
              <a:buAutoNum type="alphaUcPeriod"/>
              <a:defRPr sz="1800"/>
            </a:lvl3pPr>
            <a:lvl4pPr marL="1436688" indent="-342900">
              <a:buFont typeface="+mj-lt"/>
              <a:buAutoNum type="alphaUcPeriod"/>
              <a:defRPr sz="1800"/>
            </a:lvl4pPr>
            <a:lvl5pPr marL="1792288" indent="-342900">
              <a:buFont typeface="+mj-lt"/>
              <a:buAutoNum type="alphaUcPeriod"/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95404F-1566-4963-BA61-9A3064F1694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308" y="731006"/>
            <a:ext cx="6646154" cy="27699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9AEA90-B644-4BD0-87AA-CC06FBFF32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v1"/>
          <p:cNvSpPr>
            <a:spLocks noChangeArrowheads="1"/>
          </p:cNvSpPr>
          <p:nvPr/>
        </p:nvSpPr>
        <p:spPr bwMode="auto">
          <a:xfrm>
            <a:off x="1017588" y="6621463"/>
            <a:ext cx="207962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F8D37"/>
              </a:gs>
              <a:gs pos="50000">
                <a:schemeClr val="accent1"/>
              </a:gs>
              <a:gs pos="100000">
                <a:srgbClr val="FF8D37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6C00"/>
                </a:solidFill>
                <a:latin typeface="Arial"/>
                <a:cs typeface="Arial" pitchFamily="34" charset="0"/>
              </a:rPr>
              <a:t>1</a:t>
            </a:r>
          </a:p>
        </p:txBody>
      </p:sp>
      <p:sp>
        <p:nvSpPr>
          <p:cNvPr id="4" name="nav2"/>
          <p:cNvSpPr>
            <a:spLocks noChangeArrowheads="1"/>
          </p:cNvSpPr>
          <p:nvPr/>
        </p:nvSpPr>
        <p:spPr bwMode="auto">
          <a:xfrm>
            <a:off x="1268413" y="6621463"/>
            <a:ext cx="207962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ru-RU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5" name="nav3"/>
          <p:cNvSpPr>
            <a:spLocks noChangeArrowheads="1"/>
          </p:cNvSpPr>
          <p:nvPr/>
        </p:nvSpPr>
        <p:spPr bwMode="auto">
          <a:xfrm>
            <a:off x="1520825" y="6621463"/>
            <a:ext cx="207963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ru-RU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6" name="nav1"/>
          <p:cNvSpPr>
            <a:spLocks noChangeArrowheads="1"/>
          </p:cNvSpPr>
          <p:nvPr/>
        </p:nvSpPr>
        <p:spPr bwMode="auto">
          <a:xfrm>
            <a:off x="1771650" y="6621463"/>
            <a:ext cx="207963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F8D37"/>
              </a:gs>
              <a:gs pos="50000">
                <a:schemeClr val="accent1"/>
              </a:gs>
              <a:gs pos="100000">
                <a:srgbClr val="FF8D37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6C00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7" name="nav2"/>
          <p:cNvSpPr>
            <a:spLocks noChangeArrowheads="1"/>
          </p:cNvSpPr>
          <p:nvPr/>
        </p:nvSpPr>
        <p:spPr bwMode="auto">
          <a:xfrm>
            <a:off x="2024063" y="6621463"/>
            <a:ext cx="207962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ru-RU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</a:t>
            </a:r>
          </a:p>
        </p:txBody>
      </p:sp>
      <p:sp>
        <p:nvSpPr>
          <p:cNvPr id="8" name="nav3"/>
          <p:cNvSpPr>
            <a:spLocks noChangeArrowheads="1"/>
          </p:cNvSpPr>
          <p:nvPr/>
        </p:nvSpPr>
        <p:spPr bwMode="auto">
          <a:xfrm>
            <a:off x="2274888" y="6621463"/>
            <a:ext cx="207962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ru-RU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6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308" y="731006"/>
            <a:ext cx="6646154" cy="27699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CB4FF5-340D-4F03-9E50-29C858D8FC8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848543"/>
            <a:ext cx="8713788" cy="276999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825" y="1412875"/>
            <a:ext cx="8713788" cy="5013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360C63-D2B6-4653-A342-47A584C8AC5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источни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848543"/>
            <a:ext cx="8713788" cy="276999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825" y="1412875"/>
            <a:ext cx="8713788" cy="4608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9780" y="6237312"/>
            <a:ext cx="8713788" cy="2158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0064F9-7207-4CF8-90AF-4A0636EE276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848543"/>
            <a:ext cx="8713788" cy="276999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6468" y="1412880"/>
            <a:ext cx="4248149" cy="504031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2"/>
          </p:nvPr>
        </p:nvSpPr>
        <p:spPr>
          <a:xfrm>
            <a:off x="250825" y="1412880"/>
            <a:ext cx="4249738" cy="504031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007F9E-D699-4718-8583-2F104181E02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Два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9" y="848543"/>
            <a:ext cx="8690703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412875"/>
            <a:ext cx="4249738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2174884"/>
            <a:ext cx="4249738" cy="427831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16468" y="1412875"/>
            <a:ext cx="4248149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16468" y="2174884"/>
            <a:ext cx="4248149" cy="427831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EF5729-EF2E-4F0B-81FA-66738A2A8F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D6340B-E43D-4BF6-B557-B3036EE1B888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22B7BB-2B98-4F30-9375-3D8879491D0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люсы и минус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5"/>
          <p:cNvSpPr>
            <a:spLocks noGrp="1"/>
          </p:cNvSpPr>
          <p:nvPr>
            <p:ph sz="quarter" idx="12"/>
          </p:nvPr>
        </p:nvSpPr>
        <p:spPr>
          <a:xfrm>
            <a:off x="247439" y="1804988"/>
            <a:ext cx="4253126" cy="4648200"/>
          </a:xfrm>
          <a:prstGeom prst="rect">
            <a:avLst/>
          </a:prstGeom>
          <a:solidFill>
            <a:srgbClr val="E1E1E1">
              <a:alpha val="60000"/>
            </a:srgbClr>
          </a:solidFill>
          <a:ln>
            <a:noFill/>
          </a:ln>
          <a:effectLst/>
          <a:extLst/>
        </p:spPr>
        <p:txBody>
          <a:bodyPr vert="horz" wrap="square" lIns="0" tIns="288000" rIns="0" bIns="0" numCol="1" anchor="t" anchorCtr="0" compatLnSpc="1">
            <a:prstTxWarp prst="textNoShape">
              <a:avLst/>
            </a:prstTxWarp>
          </a:bodyPr>
          <a:lstStyle>
            <a:lvl1pPr marL="358775" indent="-266700">
              <a:defRPr lang="en-US" sz="2200" dirty="0" smtClean="0"/>
            </a:lvl1pPr>
            <a:lvl2pPr marL="627063" indent="-284163">
              <a:defRPr lang="ru-RU" sz="2000" dirty="0"/>
            </a:lvl2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9" y="848543"/>
            <a:ext cx="8690703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16468" y="1804988"/>
            <a:ext cx="4248149" cy="4648200"/>
          </a:xfrm>
          <a:prstGeom prst="rect">
            <a:avLst/>
          </a:prstGeom>
          <a:solidFill>
            <a:srgbClr val="8DD650">
              <a:alpha val="20000"/>
            </a:srgbClr>
          </a:solidFill>
          <a:ln>
            <a:noFill/>
          </a:ln>
          <a:effectLst/>
          <a:extLst/>
        </p:spPr>
        <p:txBody>
          <a:bodyPr vert="horz" wrap="square" lIns="0" tIns="288000" rIns="0" bIns="0" numCol="1" anchor="t" anchorCtr="0" compatLnSpc="1">
            <a:prstTxWarp prst="textNoShape">
              <a:avLst/>
            </a:prstTxWarp>
          </a:bodyPr>
          <a:lstStyle>
            <a:lvl1pPr marL="358775" indent="-266700">
              <a:defRPr lang="en-US" sz="2200" dirty="0" smtClean="0"/>
            </a:lvl1pPr>
            <a:lvl2pPr marL="627063" indent="-284163">
              <a:defRPr lang="en-US" sz="2000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EE2DF2-C38C-46C1-87CF-8490349D86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9" y="848543"/>
            <a:ext cx="8690703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250825" y="1412878"/>
            <a:ext cx="4249738" cy="2447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16464" y="1412878"/>
            <a:ext cx="4248150" cy="2447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4"/>
          </p:nvPr>
        </p:nvSpPr>
        <p:spPr>
          <a:xfrm>
            <a:off x="4716464" y="4005272"/>
            <a:ext cx="4248150" cy="2447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3" name="Content Placeholder 9"/>
          <p:cNvSpPr>
            <a:spLocks noGrp="1"/>
          </p:cNvSpPr>
          <p:nvPr>
            <p:ph sz="quarter" idx="15"/>
          </p:nvPr>
        </p:nvSpPr>
        <p:spPr>
          <a:xfrm>
            <a:off x="253449" y="4005272"/>
            <a:ext cx="4247114" cy="2447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A60BB2-A2FF-4BF0-9271-2F5B64B26EC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308" y="731002"/>
            <a:ext cx="6646154" cy="27699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7775575" y="6443663"/>
            <a:ext cx="531813" cy="138112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333333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3BA5C241-0C31-4F50-9597-05EAA38067CC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307388" y="6719888"/>
            <a:ext cx="0" cy="138112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333333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499475" y="6446838"/>
            <a:ext cx="187325" cy="1841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B57EF0-9A94-453A-8F50-8CECE91E666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2"/>
          <p:cNvSpPr/>
          <p:nvPr>
            <p:custDataLst>
              <p:tags r:id="rId2"/>
            </p:custDataLst>
          </p:nvPr>
        </p:nvSpPr>
        <p:spPr>
          <a:xfrm>
            <a:off x="0" y="0"/>
            <a:ext cx="9144000" cy="156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Рисунок 1"/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/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538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9144000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5" descr="logo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605463" y="385763"/>
            <a:ext cx="3128962" cy="900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Заголовок 1"/>
          <p:cNvSpPr>
            <a:spLocks noGrp="1"/>
          </p:cNvSpPr>
          <p:nvPr>
            <p:ph type="ctrTitle"/>
          </p:nvPr>
        </p:nvSpPr>
        <p:spPr>
          <a:xfrm>
            <a:off x="4809188" y="4777933"/>
            <a:ext cx="3925050" cy="332399"/>
          </a:xfrm>
          <a:prstGeom prst="rect">
            <a:avLst/>
          </a:prstGeom>
        </p:spPr>
        <p:txBody>
          <a:bodyPr anchor="t"/>
          <a:lstStyle>
            <a:lvl1pPr>
              <a:defRPr sz="2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809188" y="6400800"/>
            <a:ext cx="3925050" cy="25872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443783-403A-46F1-B227-82980AC38226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3D6195-4C95-4A3C-8D09-5890AB13F89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01950D-04EE-433F-A87B-F5AC7F67C2EF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EBA620-147C-4B7E-8E83-06A7204993E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A74687-5899-43C1-93C4-F2DB55DC866C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E32EFF-45FA-49C9-84B9-D3DF6212090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AEC66D-C93F-419B-A232-90A2EA588A04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FEC971-8772-4741-B077-E7B5479BB7B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E39326-06FE-4F3D-9878-83071DD0EB3D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AFEF5D-76BC-4247-A9AF-9A73AA62AAA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D72AF7-7B9D-4501-B6A9-9783E6E82147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391538-BFA7-4E99-9900-774C9D4B172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7592E3-F72F-4551-9260-CF07F190F7F1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67D688-606B-4026-8A22-A40347848D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FB476-E747-47DF-B863-35C778D0B516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F5FD74-432B-49B1-A23B-75A79B20358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29FB5E-AE8C-4171-AD7D-2996E9C94EAC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0ED2E0-F8BC-4DA0-B95E-1EA32EABB9C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94E0D6-B8E9-4A74-99B2-97A0A9F5000C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1DB019-4496-4F2A-95C5-96B7E6C313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03138C-1679-4C4D-97EE-C78AD60B3EBB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082C27-32C1-40E5-9268-EACFD6C46C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90C886-FDB2-4602-86E4-82A27C65FEF2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FE781B-634D-461F-A5EF-B2D53379364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354" y="2130848"/>
            <a:ext cx="7773293" cy="14700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824" y="3886648"/>
            <a:ext cx="6400354" cy="1752451"/>
          </a:xfrm>
        </p:spPr>
        <p:txBody>
          <a:bodyPr/>
          <a:lstStyle>
            <a:lvl1pPr marL="0" indent="0" algn="ctr">
              <a:buNone/>
              <a:defRPr/>
            </a:lvl1pPr>
            <a:lvl2pPr marL="321440" indent="0" algn="ctr">
              <a:buNone/>
              <a:defRPr/>
            </a:lvl2pPr>
            <a:lvl3pPr marL="642882" indent="0" algn="ctr">
              <a:buNone/>
              <a:defRPr/>
            </a:lvl3pPr>
            <a:lvl4pPr marL="964323" indent="0" algn="ctr">
              <a:buNone/>
              <a:defRPr/>
            </a:lvl4pPr>
            <a:lvl5pPr marL="1285763" indent="0" algn="ctr">
              <a:buNone/>
              <a:defRPr/>
            </a:lvl5pPr>
            <a:lvl6pPr marL="1607205" indent="0" algn="ctr">
              <a:buNone/>
              <a:defRPr/>
            </a:lvl6pPr>
            <a:lvl7pPr marL="1928645" indent="0" algn="ctr">
              <a:buNone/>
              <a:defRPr/>
            </a:lvl7pPr>
            <a:lvl8pPr marL="2250086" indent="0" algn="ctr">
              <a:buNone/>
              <a:defRPr/>
            </a:lvl8pPr>
            <a:lvl9pPr marL="2571527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189" y="4406802"/>
            <a:ext cx="7772176" cy="1361777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189" y="2906613"/>
            <a:ext cx="7772176" cy="1500188"/>
          </a:xfrm>
        </p:spPr>
        <p:txBody>
          <a:bodyPr anchor="b"/>
          <a:lstStyle>
            <a:lvl1pPr marL="0" indent="0">
              <a:buNone/>
              <a:defRPr sz="1400"/>
            </a:lvl1pPr>
            <a:lvl2pPr marL="321440" indent="0">
              <a:buNone/>
              <a:defRPr sz="1300"/>
            </a:lvl2pPr>
            <a:lvl3pPr marL="642882" indent="0">
              <a:buNone/>
              <a:defRPr sz="1100"/>
            </a:lvl3pPr>
            <a:lvl4pPr marL="964323" indent="0">
              <a:buNone/>
              <a:defRPr sz="1000"/>
            </a:lvl4pPr>
            <a:lvl5pPr marL="1285763" indent="0">
              <a:buNone/>
              <a:defRPr sz="1000"/>
            </a:lvl5pPr>
            <a:lvl6pPr marL="1607205" indent="0">
              <a:buNone/>
              <a:defRPr sz="1000"/>
            </a:lvl6pPr>
            <a:lvl7pPr marL="1928645" indent="0">
              <a:buNone/>
              <a:defRPr sz="1000"/>
            </a:lvl7pPr>
            <a:lvl8pPr marL="2250086" indent="0">
              <a:buNone/>
              <a:defRPr sz="1000"/>
            </a:lvl8pPr>
            <a:lvl9pPr marL="2571527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6794" y="1857375"/>
            <a:ext cx="3031629" cy="3607594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5579" y="1857375"/>
            <a:ext cx="3031629" cy="3607594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47" y="274588"/>
            <a:ext cx="822870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647" y="1534791"/>
            <a:ext cx="4039568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440" indent="0">
              <a:buNone/>
              <a:defRPr sz="1400" b="1"/>
            </a:lvl2pPr>
            <a:lvl3pPr marL="642882" indent="0">
              <a:buNone/>
              <a:defRPr sz="1300" b="1"/>
            </a:lvl3pPr>
            <a:lvl4pPr marL="964323" indent="0">
              <a:buNone/>
              <a:defRPr sz="1100" b="1"/>
            </a:lvl4pPr>
            <a:lvl5pPr marL="1285763" indent="0">
              <a:buNone/>
              <a:defRPr sz="1100" b="1"/>
            </a:lvl5pPr>
            <a:lvl6pPr marL="1607205" indent="0">
              <a:buNone/>
              <a:defRPr sz="1100" b="1"/>
            </a:lvl6pPr>
            <a:lvl7pPr marL="1928645" indent="0">
              <a:buNone/>
              <a:defRPr sz="1100" b="1"/>
            </a:lvl7pPr>
            <a:lvl8pPr marL="2250086" indent="0">
              <a:buNone/>
              <a:defRPr sz="1100" b="1"/>
            </a:lvl8pPr>
            <a:lvl9pPr marL="2571527" indent="0">
              <a:buNone/>
              <a:defRPr sz="1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647" y="2174379"/>
            <a:ext cx="4039568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555" y="1534791"/>
            <a:ext cx="4041799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440" indent="0">
              <a:buNone/>
              <a:defRPr sz="1400" b="1"/>
            </a:lvl2pPr>
            <a:lvl3pPr marL="642882" indent="0">
              <a:buNone/>
              <a:defRPr sz="1300" b="1"/>
            </a:lvl3pPr>
            <a:lvl4pPr marL="964323" indent="0">
              <a:buNone/>
              <a:defRPr sz="1100" b="1"/>
            </a:lvl4pPr>
            <a:lvl5pPr marL="1285763" indent="0">
              <a:buNone/>
              <a:defRPr sz="1100" b="1"/>
            </a:lvl5pPr>
            <a:lvl6pPr marL="1607205" indent="0">
              <a:buNone/>
              <a:defRPr sz="1100" b="1"/>
            </a:lvl6pPr>
            <a:lvl7pPr marL="1928645" indent="0">
              <a:buNone/>
              <a:defRPr sz="1100" b="1"/>
            </a:lvl7pPr>
            <a:lvl8pPr marL="2250086" indent="0">
              <a:buNone/>
              <a:defRPr sz="1100" b="1"/>
            </a:lvl8pPr>
            <a:lvl9pPr marL="2571527" indent="0">
              <a:buNone/>
              <a:defRPr sz="1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555" y="2174379"/>
            <a:ext cx="4041799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D875DD-9951-448A-A96C-AA046EC13F06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07E44D-5C54-413A-AC4A-38A59517E33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48" y="273474"/>
            <a:ext cx="3008189" cy="116197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224" y="273473"/>
            <a:ext cx="5111130" cy="5852294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648" y="1435448"/>
            <a:ext cx="3008189" cy="4690318"/>
          </a:xfrm>
        </p:spPr>
        <p:txBody>
          <a:bodyPr/>
          <a:lstStyle>
            <a:lvl1pPr marL="0" indent="0">
              <a:buNone/>
              <a:defRPr sz="1000"/>
            </a:lvl1pPr>
            <a:lvl2pPr marL="321440" indent="0">
              <a:buNone/>
              <a:defRPr sz="800"/>
            </a:lvl2pPr>
            <a:lvl3pPr marL="642882" indent="0">
              <a:buNone/>
              <a:defRPr sz="700"/>
            </a:lvl3pPr>
            <a:lvl4pPr marL="964323" indent="0">
              <a:buNone/>
              <a:defRPr sz="600"/>
            </a:lvl4pPr>
            <a:lvl5pPr marL="1285763" indent="0">
              <a:buNone/>
              <a:defRPr sz="600"/>
            </a:lvl5pPr>
            <a:lvl6pPr marL="1607205" indent="0">
              <a:buNone/>
              <a:defRPr sz="600"/>
            </a:lvl6pPr>
            <a:lvl7pPr marL="1928645" indent="0">
              <a:buNone/>
              <a:defRPr sz="600"/>
            </a:lvl7pPr>
            <a:lvl8pPr marL="2250086" indent="0">
              <a:buNone/>
              <a:defRPr sz="600"/>
            </a:lvl8pPr>
            <a:lvl9pPr marL="2571527" indent="0">
              <a:buNone/>
              <a:defRPr sz="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636" y="4800824"/>
            <a:ext cx="5486177" cy="56703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636" y="612800"/>
            <a:ext cx="5486177" cy="4114354"/>
          </a:xfrm>
        </p:spPr>
        <p:txBody>
          <a:bodyPr/>
          <a:lstStyle>
            <a:lvl1pPr marL="0" indent="0">
              <a:buNone/>
              <a:defRPr sz="2200"/>
            </a:lvl1pPr>
            <a:lvl2pPr marL="321440" indent="0">
              <a:buNone/>
              <a:defRPr sz="2000"/>
            </a:lvl2pPr>
            <a:lvl3pPr marL="642882" indent="0">
              <a:buNone/>
              <a:defRPr sz="1700"/>
            </a:lvl3pPr>
            <a:lvl4pPr marL="964323" indent="0">
              <a:buNone/>
              <a:defRPr sz="1400"/>
            </a:lvl4pPr>
            <a:lvl5pPr marL="1285763" indent="0">
              <a:buNone/>
              <a:defRPr sz="1400"/>
            </a:lvl5pPr>
            <a:lvl6pPr marL="1607205" indent="0">
              <a:buNone/>
              <a:defRPr sz="1400"/>
            </a:lvl6pPr>
            <a:lvl7pPr marL="1928645" indent="0">
              <a:buNone/>
              <a:defRPr sz="1400"/>
            </a:lvl7pPr>
            <a:lvl8pPr marL="2250086" indent="0">
              <a:buNone/>
              <a:defRPr sz="1400"/>
            </a:lvl8pPr>
            <a:lvl9pPr marL="2571527" indent="0">
              <a:buNone/>
              <a:defRPr sz="1400"/>
            </a:lvl9pPr>
          </a:lstStyle>
          <a:p>
            <a:pPr lvl="0"/>
            <a:r>
              <a:rPr lang="ru-RU" noProof="0" smtClean="0">
                <a:sym typeface="Helvetica" charset="0"/>
              </a:rPr>
              <a:t>Вставка рисунка</a:t>
            </a:r>
            <a:endParaRPr lang="en-US" noProof="0" smtClean="0">
              <a:sym typeface="Helvetica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636" y="5367860"/>
            <a:ext cx="5486177" cy="804788"/>
          </a:xfrm>
        </p:spPr>
        <p:txBody>
          <a:bodyPr/>
          <a:lstStyle>
            <a:lvl1pPr marL="0" indent="0">
              <a:buNone/>
              <a:defRPr sz="1000"/>
            </a:lvl1pPr>
            <a:lvl2pPr marL="321440" indent="0">
              <a:buNone/>
              <a:defRPr sz="800"/>
            </a:lvl2pPr>
            <a:lvl3pPr marL="642882" indent="0">
              <a:buNone/>
              <a:defRPr sz="700"/>
            </a:lvl3pPr>
            <a:lvl4pPr marL="964323" indent="0">
              <a:buNone/>
              <a:defRPr sz="600"/>
            </a:lvl4pPr>
            <a:lvl5pPr marL="1285763" indent="0">
              <a:buNone/>
              <a:defRPr sz="600"/>
            </a:lvl5pPr>
            <a:lvl6pPr marL="1607205" indent="0">
              <a:buNone/>
              <a:defRPr sz="600"/>
            </a:lvl6pPr>
            <a:lvl7pPr marL="1928645" indent="0">
              <a:buNone/>
              <a:defRPr sz="600"/>
            </a:lvl7pPr>
            <a:lvl8pPr marL="2250086" indent="0">
              <a:buNone/>
              <a:defRPr sz="600"/>
            </a:lvl8pPr>
            <a:lvl9pPr marL="2571527" indent="0">
              <a:buNone/>
              <a:defRPr sz="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02523" y="214313"/>
            <a:ext cx="1839516" cy="5250656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3977" y="214313"/>
            <a:ext cx="5411391" cy="5250656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Разделитель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Backgroung_0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5" descr="Background_0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247775"/>
            <a:ext cx="9144000" cy="561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nav4" hidden="1"/>
          <p:cNvSpPr>
            <a:spLocks noChangeArrowheads="1"/>
          </p:cNvSpPr>
          <p:nvPr userDrawn="1"/>
        </p:nvSpPr>
        <p:spPr bwMode="auto">
          <a:xfrm>
            <a:off x="7196138" y="6164263"/>
            <a:ext cx="360362" cy="3603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19050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ru-RU" sz="2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4</a:t>
            </a:r>
          </a:p>
        </p:txBody>
      </p:sp>
      <p:sp>
        <p:nvSpPr>
          <p:cNvPr id="6" name="nav5" hidden="1"/>
          <p:cNvSpPr>
            <a:spLocks noChangeArrowheads="1"/>
          </p:cNvSpPr>
          <p:nvPr userDrawn="1"/>
        </p:nvSpPr>
        <p:spPr bwMode="auto">
          <a:xfrm>
            <a:off x="7616825" y="6164263"/>
            <a:ext cx="360363" cy="3603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19050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ru-RU" sz="2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</a:t>
            </a:r>
          </a:p>
        </p:txBody>
      </p:sp>
      <p:sp>
        <p:nvSpPr>
          <p:cNvPr id="7" name="nav6" hidden="1"/>
          <p:cNvSpPr>
            <a:spLocks noChangeArrowheads="1"/>
          </p:cNvSpPr>
          <p:nvPr userDrawn="1"/>
        </p:nvSpPr>
        <p:spPr bwMode="auto">
          <a:xfrm>
            <a:off x="8039100" y="6164263"/>
            <a:ext cx="360363" cy="3603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19050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en-US" sz="2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6</a:t>
            </a:r>
            <a:endParaRPr lang="ru-RU" sz="2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nav7" hidden="1"/>
          <p:cNvSpPr>
            <a:spLocks noChangeArrowheads="1"/>
          </p:cNvSpPr>
          <p:nvPr userDrawn="1"/>
        </p:nvSpPr>
        <p:spPr bwMode="auto">
          <a:xfrm>
            <a:off x="8459788" y="6164263"/>
            <a:ext cx="360362" cy="3603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19050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en-US" sz="2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7</a:t>
            </a:r>
            <a:endParaRPr lang="ru-RU" sz="2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59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8313" y="4633921"/>
            <a:ext cx="4824412" cy="276999"/>
          </a:xfrm>
          <a:prstGeom prst="rect">
            <a:avLst/>
          </a:prstGeom>
          <a:effectLst/>
          <a:extLst/>
        </p:spPr>
        <p:txBody>
          <a:bodyPr anchor="t"/>
          <a:lstStyle>
            <a:lvl1pPr>
              <a:defRPr>
                <a:solidFill>
                  <a:schemeClr val="accent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 dirty="0" smtClean="0"/>
          </a:p>
        </p:txBody>
      </p:sp>
    </p:spTree>
  </p:cSld>
  <p:clrMapOvr>
    <a:masterClrMapping/>
  </p:clrMapOvr>
  <p:transition>
    <p:split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 userDrawn="1"/>
        </p:nvSpPr>
        <p:spPr bwMode="auto">
          <a:xfrm>
            <a:off x="8048625" y="1196975"/>
            <a:ext cx="942975" cy="6715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3C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3C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3C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3C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r>
              <a:rPr lang="ru-RU" sz="2800" dirty="0" smtClean="0">
                <a:cs typeface="Arial" pitchFamily="34" charset="0"/>
              </a:rPr>
              <a:t>Стр.</a:t>
            </a:r>
            <a:endParaRPr lang="ru-RU" sz="2800" dirty="0">
              <a:cs typeface="Arial" pitchFamily="34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 userDrawn="1"/>
        </p:nvSpPr>
        <p:spPr bwMode="auto">
          <a:xfrm>
            <a:off x="333375" y="1196975"/>
            <a:ext cx="7478713" cy="6715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3C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3C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3C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3C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ru-RU" sz="2800" dirty="0" smtClean="0">
                <a:cs typeface="Arial" pitchFamily="34" charset="0"/>
              </a:rPr>
              <a:t>Содержание</a:t>
            </a:r>
            <a:endParaRPr lang="ru-RU" sz="2800" dirty="0">
              <a:cs typeface="Arial" pitchFamily="34" charset="0"/>
            </a:endParaRP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10"/>
          </p:nvPr>
        </p:nvSpPr>
        <p:spPr>
          <a:xfrm>
            <a:off x="333651" y="1869376"/>
            <a:ext cx="7636529" cy="1384995"/>
          </a:xfrm>
          <a:prstGeom prst="rect">
            <a:avLst/>
          </a:prstGeom>
        </p:spPr>
        <p:txBody>
          <a:bodyPr lIns="0" tIns="0" rIns="0" bIns="0"/>
          <a:lstStyle>
            <a:lvl1pPr marL="342900" indent="-342900">
              <a:spcBef>
                <a:spcPts val="0"/>
              </a:spcBef>
              <a:buFont typeface="+mj-lt"/>
              <a:buAutoNum type="alphaUcPeriod"/>
              <a:defRPr sz="1800">
                <a:latin typeface="Arial" pitchFamily="34" charset="0"/>
                <a:cs typeface="Arial" pitchFamily="34" charset="0"/>
              </a:defRPr>
            </a:lvl1pPr>
            <a:lvl2pPr marL="709613" indent="-342900">
              <a:spcBef>
                <a:spcPts val="0"/>
              </a:spcBef>
              <a:buFont typeface="+mj-lt"/>
              <a:buAutoNum type="alphaUcPeriod"/>
              <a:defRPr sz="1800">
                <a:latin typeface="Arial" pitchFamily="34" charset="0"/>
                <a:cs typeface="Arial" pitchFamily="34" charset="0"/>
              </a:defRPr>
            </a:lvl2pPr>
            <a:lvl3pPr marL="1077913" indent="-342900" defTabSz="893763">
              <a:spcBef>
                <a:spcPts val="0"/>
              </a:spcBef>
              <a:buFont typeface="+mj-lt"/>
              <a:buAutoNum type="alphaUcPeriod"/>
              <a:defRPr sz="1800">
                <a:latin typeface="Arial" pitchFamily="34" charset="0"/>
                <a:cs typeface="Arial" pitchFamily="34" charset="0"/>
              </a:defRPr>
            </a:lvl3pPr>
            <a:lvl4pPr marL="1436688" indent="-342900">
              <a:spcBef>
                <a:spcPts val="0"/>
              </a:spcBef>
              <a:buFont typeface="+mj-lt"/>
              <a:buAutoNum type="alphaUcPeriod"/>
              <a:defRPr sz="1800">
                <a:latin typeface="Arial" pitchFamily="34" charset="0"/>
                <a:cs typeface="Arial" pitchFamily="34" charset="0"/>
              </a:defRPr>
            </a:lvl4pPr>
            <a:lvl5pPr marL="1792288" indent="-342900">
              <a:spcBef>
                <a:spcPts val="0"/>
              </a:spcBef>
              <a:buFont typeface="+mj-lt"/>
              <a:buAutoNum type="alphaUcPeriod"/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2"/>
          <p:cNvSpPr>
            <a:spLocks noGrp="1"/>
          </p:cNvSpPr>
          <p:nvPr>
            <p:ph type="body" sz="quarter" idx="12"/>
          </p:nvPr>
        </p:nvSpPr>
        <p:spPr>
          <a:xfrm>
            <a:off x="8048029" y="1869374"/>
            <a:ext cx="943798" cy="27699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spcBef>
                <a:spcPts val="0"/>
              </a:spcBef>
              <a:buFont typeface="+mj-lt"/>
              <a:buNone/>
              <a:defRPr sz="1800">
                <a:latin typeface="Arial" pitchFamily="34" charset="0"/>
                <a:cs typeface="Arial" pitchFamily="34" charset="0"/>
              </a:defRPr>
            </a:lvl1pPr>
            <a:lvl2pPr marL="709613" indent="-342900">
              <a:buFont typeface="+mj-lt"/>
              <a:buAutoNum type="alphaUcPeriod"/>
              <a:defRPr sz="1800"/>
            </a:lvl2pPr>
            <a:lvl3pPr marL="1077913" indent="-342900" defTabSz="893763">
              <a:buFont typeface="+mj-lt"/>
              <a:buAutoNum type="alphaUcPeriod"/>
              <a:defRPr sz="1800"/>
            </a:lvl3pPr>
            <a:lvl4pPr marL="1436688" indent="-342900">
              <a:buFont typeface="+mj-lt"/>
              <a:buAutoNum type="alphaUcPeriod"/>
              <a:defRPr sz="1800"/>
            </a:lvl4pPr>
            <a:lvl5pPr marL="1792288" indent="-342900">
              <a:buFont typeface="+mj-lt"/>
              <a:buAutoNum type="alphaUcPeriod"/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A5B95D-C6D1-4203-B5B2-55100D4EADB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308" y="731006"/>
            <a:ext cx="6646154" cy="27699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A032BB-5084-402D-BD4A-8ED6881D6BD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v1"/>
          <p:cNvSpPr>
            <a:spLocks noChangeArrowheads="1"/>
          </p:cNvSpPr>
          <p:nvPr userDrawn="1"/>
        </p:nvSpPr>
        <p:spPr bwMode="auto">
          <a:xfrm>
            <a:off x="1017588" y="6621463"/>
            <a:ext cx="207962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F8D37"/>
              </a:gs>
              <a:gs pos="50000">
                <a:schemeClr val="accent1"/>
              </a:gs>
              <a:gs pos="100000">
                <a:srgbClr val="FF8D37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6C00"/>
                </a:solidFill>
                <a:latin typeface="Arial"/>
                <a:cs typeface="Arial" pitchFamily="34" charset="0"/>
              </a:rPr>
              <a:t>1</a:t>
            </a:r>
          </a:p>
        </p:txBody>
      </p:sp>
      <p:sp>
        <p:nvSpPr>
          <p:cNvPr id="4" name="nav2"/>
          <p:cNvSpPr>
            <a:spLocks noChangeArrowheads="1"/>
          </p:cNvSpPr>
          <p:nvPr userDrawn="1"/>
        </p:nvSpPr>
        <p:spPr bwMode="auto">
          <a:xfrm>
            <a:off x="1268413" y="6621463"/>
            <a:ext cx="207962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ru-RU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5" name="nav3"/>
          <p:cNvSpPr>
            <a:spLocks noChangeArrowheads="1"/>
          </p:cNvSpPr>
          <p:nvPr userDrawn="1"/>
        </p:nvSpPr>
        <p:spPr bwMode="auto">
          <a:xfrm>
            <a:off x="1520825" y="6621463"/>
            <a:ext cx="207963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ru-RU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6" name="nav1"/>
          <p:cNvSpPr>
            <a:spLocks noChangeArrowheads="1"/>
          </p:cNvSpPr>
          <p:nvPr userDrawn="1"/>
        </p:nvSpPr>
        <p:spPr bwMode="auto">
          <a:xfrm>
            <a:off x="1771650" y="6621463"/>
            <a:ext cx="207963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F8D37"/>
              </a:gs>
              <a:gs pos="50000">
                <a:schemeClr val="accent1"/>
              </a:gs>
              <a:gs pos="100000">
                <a:srgbClr val="FF8D37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6C00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7" name="nav2"/>
          <p:cNvSpPr>
            <a:spLocks noChangeArrowheads="1"/>
          </p:cNvSpPr>
          <p:nvPr userDrawn="1"/>
        </p:nvSpPr>
        <p:spPr bwMode="auto">
          <a:xfrm>
            <a:off x="2024063" y="6621463"/>
            <a:ext cx="207962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ru-RU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</a:t>
            </a:r>
          </a:p>
        </p:txBody>
      </p:sp>
      <p:sp>
        <p:nvSpPr>
          <p:cNvPr id="8" name="nav3"/>
          <p:cNvSpPr>
            <a:spLocks noChangeArrowheads="1"/>
          </p:cNvSpPr>
          <p:nvPr userDrawn="1"/>
        </p:nvSpPr>
        <p:spPr bwMode="auto">
          <a:xfrm>
            <a:off x="2274888" y="6621463"/>
            <a:ext cx="207962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ru-RU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6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308" y="731006"/>
            <a:ext cx="6646154" cy="27699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A4AC2C-23AB-4C4B-92DA-7EB999BA42B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000E3C-3652-4981-BF8B-66E950FBCEB2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9DB721-E8E3-4F54-B0E2-76F00A64AFA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848543"/>
            <a:ext cx="8713788" cy="276999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825" y="1412875"/>
            <a:ext cx="8713788" cy="5013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38FD3B-F5F4-4A8B-ADFE-5483462739D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источни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848543"/>
            <a:ext cx="8713788" cy="276999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825" y="1412875"/>
            <a:ext cx="8713788" cy="4608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29780" y="6237312"/>
            <a:ext cx="8713788" cy="2158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59F014-C1A0-40CD-AD18-3B2A08CBC58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848543"/>
            <a:ext cx="8713788" cy="276999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6468" y="1412880"/>
            <a:ext cx="4248149" cy="504031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2"/>
          </p:nvPr>
        </p:nvSpPr>
        <p:spPr>
          <a:xfrm>
            <a:off x="250825" y="1412880"/>
            <a:ext cx="4249738" cy="504031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DB3F7A-6B2F-4342-9F69-6F477C3323D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Два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9" y="848543"/>
            <a:ext cx="8690703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412875"/>
            <a:ext cx="4249738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5" y="2174884"/>
            <a:ext cx="4249738" cy="427831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16468" y="1412875"/>
            <a:ext cx="4248149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16468" y="2174884"/>
            <a:ext cx="4248149" cy="427831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B6EEFA-F6F6-450B-987A-8EF801F6BF4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люсы и минус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5"/>
          <p:cNvSpPr>
            <a:spLocks noGrp="1"/>
          </p:cNvSpPr>
          <p:nvPr>
            <p:ph sz="quarter" idx="12"/>
          </p:nvPr>
        </p:nvSpPr>
        <p:spPr>
          <a:xfrm>
            <a:off x="247439" y="1804988"/>
            <a:ext cx="4253126" cy="4648200"/>
          </a:xfrm>
          <a:prstGeom prst="rect">
            <a:avLst/>
          </a:prstGeom>
          <a:solidFill>
            <a:srgbClr val="E1E1E1">
              <a:alpha val="60000"/>
            </a:srgbClr>
          </a:solidFill>
          <a:ln>
            <a:noFill/>
          </a:ln>
          <a:effectLst/>
          <a:extLst/>
        </p:spPr>
        <p:txBody>
          <a:bodyPr vert="horz" wrap="square" lIns="0" tIns="288000" rIns="0" bIns="0" numCol="1" anchor="t" anchorCtr="0" compatLnSpc="1">
            <a:prstTxWarp prst="textNoShape">
              <a:avLst/>
            </a:prstTxWarp>
          </a:bodyPr>
          <a:lstStyle>
            <a:lvl1pPr marL="358775" indent="-266700">
              <a:defRPr lang="en-US" sz="2200" dirty="0" smtClean="0"/>
            </a:lvl1pPr>
            <a:lvl2pPr marL="627063" indent="-284163">
              <a:defRPr lang="ru-RU" sz="2000" dirty="0"/>
            </a:lvl2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9" y="848543"/>
            <a:ext cx="8690703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16468" y="1804988"/>
            <a:ext cx="4248149" cy="4648200"/>
          </a:xfrm>
          <a:prstGeom prst="rect">
            <a:avLst/>
          </a:prstGeom>
          <a:solidFill>
            <a:srgbClr val="8DD650">
              <a:alpha val="20000"/>
            </a:srgbClr>
          </a:solidFill>
          <a:ln>
            <a:noFill/>
          </a:ln>
          <a:effectLst/>
          <a:extLst/>
        </p:spPr>
        <p:txBody>
          <a:bodyPr vert="horz" wrap="square" lIns="0" tIns="288000" rIns="0" bIns="0" numCol="1" anchor="t" anchorCtr="0" compatLnSpc="1">
            <a:prstTxWarp prst="textNoShape">
              <a:avLst/>
            </a:prstTxWarp>
          </a:bodyPr>
          <a:lstStyle>
            <a:lvl1pPr marL="358775" indent="-266700">
              <a:defRPr lang="en-US" sz="2200" dirty="0" smtClean="0"/>
            </a:lvl1pPr>
            <a:lvl2pPr marL="627063" indent="-284163">
              <a:defRPr lang="en-US" sz="2000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182693-64C4-4B9B-BC50-D76EA4583C3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9" y="848543"/>
            <a:ext cx="8690703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250825" y="1412878"/>
            <a:ext cx="4249738" cy="2447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716464" y="1412878"/>
            <a:ext cx="4248150" cy="2447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4"/>
          </p:nvPr>
        </p:nvSpPr>
        <p:spPr>
          <a:xfrm>
            <a:off x="4716464" y="4005272"/>
            <a:ext cx="4248150" cy="2447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3" name="Content Placeholder 9"/>
          <p:cNvSpPr>
            <a:spLocks noGrp="1"/>
          </p:cNvSpPr>
          <p:nvPr>
            <p:ph sz="quarter" idx="15"/>
          </p:nvPr>
        </p:nvSpPr>
        <p:spPr>
          <a:xfrm>
            <a:off x="253449" y="4005272"/>
            <a:ext cx="4247114" cy="2447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2FD897-10A7-4945-9F5D-2BEC3DC1D28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wipe dir="r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308" y="731002"/>
            <a:ext cx="6646154" cy="27699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7775575" y="6443663"/>
            <a:ext cx="531813" cy="138112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333333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46A3C9E0-713E-48DE-9713-A6FF5E761CD9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307388" y="6719888"/>
            <a:ext cx="0" cy="138112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333333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499475" y="6446838"/>
            <a:ext cx="187325" cy="1841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BA77E2-48CB-4E00-A419-DC116E7D91C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2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156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5" name="Рисунок 1"/>
          <p:cNvPicPr>
            <a:picLocks noChangeAspect="1"/>
          </p:cNvPicPr>
          <p:nvPr userDrawn="1"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/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050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7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9144000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5" descr="logo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605463" y="385763"/>
            <a:ext cx="3128962" cy="900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Заголовок 1"/>
          <p:cNvSpPr>
            <a:spLocks noGrp="1"/>
          </p:cNvSpPr>
          <p:nvPr>
            <p:ph type="ctrTitle"/>
          </p:nvPr>
        </p:nvSpPr>
        <p:spPr>
          <a:xfrm>
            <a:off x="4809188" y="4777933"/>
            <a:ext cx="3925050" cy="332399"/>
          </a:xfrm>
          <a:prstGeom prst="rect">
            <a:avLst/>
          </a:prstGeom>
        </p:spPr>
        <p:txBody>
          <a:bodyPr anchor="t"/>
          <a:lstStyle>
            <a:lvl1pPr>
              <a:defRPr sz="2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809188" y="6400800"/>
            <a:ext cx="3925050" cy="25872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34425" y="6621463"/>
            <a:ext cx="230188" cy="1841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 </a:t>
            </a:r>
            <a:fld id="{34E43B76-0784-42DD-A257-4AE4B5E4B84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F431AC-60FA-4152-ADD8-6655494213A8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C57123-D68A-4775-92D9-89B5E1A2E9F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AE1ADC-53EB-4CEA-A336-7B8DE3D949CC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ED07D7-00F1-4859-B8BB-E7916F1C31E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F9E654-5F68-4506-9EBF-B588C0E64EEF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2593B8-A5AA-4656-BAF5-B4185BDDFBE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70BF4E-6664-4059-8AE5-47251AF5BCFF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261165-B925-446B-AFBB-87B080DE8C8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92FAE-5672-4149-B422-749832BB6287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E8AD8A-B525-49FA-A62E-79653338762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364D6D-AC7E-4794-911D-558FB594A169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80A171-1982-486F-98D7-DDA889A051D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6CBBA5-7A9F-423A-B492-A788E01ABA6A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0E17F9-BED9-453D-AF3B-FFD03D3134D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2B2674-6825-480D-B57C-2AB96B640288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8ECC31-7D35-4288-B8F9-1182A1549BA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332F79-38C7-4F20-A618-AC90666D6E06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DFC8B0-6239-4A85-B2CA-AF99BD4B232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7687D9-B7C2-4C09-9900-35C7C33A71BD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28D3FF-4735-4BF0-9F22-92F82955F15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743953-C3B1-442B-9376-93DEBFA3813E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CDBBA0-7366-414F-A85F-ACA725E7EA1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3EEBC1-7249-4B5B-9F6B-D19F9B26B09A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03DCB7-075F-490E-9235-4AC7ACD6BC9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B2F78E-D174-42F7-8D41-A43711DF4D4B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FF12CF-F73D-42BD-8547-6A59DB3B4A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0D7B07-4095-4320-8000-992E4F5F1AB6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4B6783-7D2B-412B-B712-9C0B4E2285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0F94A-A61E-4CD5-BA7D-A0640E77344A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6F7A0C-CF58-4D26-99BE-45CE416721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DDA0EA-2785-455E-9ECE-C14EC1AD6901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0B4189-DD8C-441B-A39A-7C58447D22D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64DEEA-197B-4859-85B2-DFA5BF7DD2BE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ABF7A5-C903-4014-B0CF-B0E57211C0D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F04FB6-B39A-4523-9FB7-F568DF73EDC6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C6CB95-5658-4987-9A52-44A9760C373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ADC7D1-0DDD-4BFE-8B44-1078A8C4C3EA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5812A0-2986-4D98-AB59-D13191B3E1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F369A8-DEB7-41FE-B58A-727788FD108F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82C287-9DA8-4FB8-8B5D-D08E92D577F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948EF0-3686-4F4D-A3F2-B1C28471EE91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08DEF6-9BE7-4015-A4D0-73820A76BFF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4567C4-A71C-4571-9130-F8E5E3A22AEE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4CF5D3-AAD7-456B-AA9B-F3C6B7DEFD0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23113D-2169-4FAF-BF2F-91AE002266CC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C2E0D4-C1C9-4CC5-B6C0-B5C791FFE8B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D44E72-654C-4DAE-8E3B-E75A5FB773F0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0C08A3-1279-4EF7-A15C-9274251792B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5766DC-019E-4D2B-8491-7AA19FE2A4A7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6C5480-3EAE-4EF8-BB5C-7887CDBE445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F98194-D6C1-41FA-90D6-EE4724F1A962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B19B44-FC31-4BA2-8887-9A8E8991A7B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CB2550C-CACF-4343-B384-4518FC4700D4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65E48F3-4883-4830-A834-DF6012CAD9D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01" r:id="rId1"/>
    <p:sldLayoutId id="2147484302" r:id="rId2"/>
    <p:sldLayoutId id="2147484303" r:id="rId3"/>
    <p:sldLayoutId id="2147484304" r:id="rId4"/>
    <p:sldLayoutId id="2147484305" r:id="rId5"/>
    <p:sldLayoutId id="2147484306" r:id="rId6"/>
    <p:sldLayoutId id="2147484307" r:id="rId7"/>
    <p:sldLayoutId id="2147484308" r:id="rId8"/>
    <p:sldLayoutId id="2147484309" r:id="rId9"/>
    <p:sldLayoutId id="2147484310" r:id="rId10"/>
    <p:sldLayoutId id="2147484311" r:id="rId11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49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77288" y="6621463"/>
            <a:ext cx="187325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612A939-C3D0-4DD2-B2D0-164EBBA8B80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2051" name="nav4" hidden="1"/>
          <p:cNvSpPr>
            <a:spLocks noChangeArrowheads="1"/>
          </p:cNvSpPr>
          <p:nvPr/>
        </p:nvSpPr>
        <p:spPr bwMode="auto">
          <a:xfrm>
            <a:off x="1771650" y="6621463"/>
            <a:ext cx="207963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ru-RU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4</a:t>
            </a:r>
          </a:p>
        </p:txBody>
      </p:sp>
      <p:sp>
        <p:nvSpPr>
          <p:cNvPr id="2052" name="nav5" hidden="1"/>
          <p:cNvSpPr>
            <a:spLocks noChangeArrowheads="1"/>
          </p:cNvSpPr>
          <p:nvPr/>
        </p:nvSpPr>
        <p:spPr bwMode="auto">
          <a:xfrm>
            <a:off x="2022475" y="6621463"/>
            <a:ext cx="207963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ru-RU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</a:t>
            </a:r>
          </a:p>
        </p:txBody>
      </p:sp>
      <p:sp>
        <p:nvSpPr>
          <p:cNvPr id="2053" name="nav6" hidden="1"/>
          <p:cNvSpPr>
            <a:spLocks noChangeArrowheads="1"/>
          </p:cNvSpPr>
          <p:nvPr/>
        </p:nvSpPr>
        <p:spPr bwMode="auto">
          <a:xfrm>
            <a:off x="2274888" y="6621463"/>
            <a:ext cx="207962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en-US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6</a:t>
            </a:r>
            <a:endParaRPr lang="ru-RU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54" name="nav7" hidden="1"/>
          <p:cNvSpPr>
            <a:spLocks noChangeArrowheads="1"/>
          </p:cNvSpPr>
          <p:nvPr/>
        </p:nvSpPr>
        <p:spPr bwMode="auto">
          <a:xfrm>
            <a:off x="2527300" y="6621463"/>
            <a:ext cx="207963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en-US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7</a:t>
            </a:r>
            <a:endParaRPr lang="ru-RU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55" name="TextBox 2"/>
          <p:cNvSpPr txBox="1">
            <a:spLocks noChangeArrowheads="1"/>
          </p:cNvSpPr>
          <p:nvPr/>
        </p:nvSpPr>
        <p:spPr bwMode="auto">
          <a:xfrm>
            <a:off x="3635375" y="6588125"/>
            <a:ext cx="4537075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r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ru-RU" sz="1200" smtClean="0">
                <a:solidFill>
                  <a:srgbClr val="FFFFFF"/>
                </a:solidFill>
              </a:rPr>
              <a:t>УМБ</a:t>
            </a:r>
          </a:p>
        </p:txBody>
      </p:sp>
      <p:pic>
        <p:nvPicPr>
          <p:cNvPr id="13320" name="Picture 15" descr="logo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094538" y="276225"/>
            <a:ext cx="1878012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7" name="Line 6"/>
          <p:cNvSpPr>
            <a:spLocks noChangeShapeType="1"/>
          </p:cNvSpPr>
          <p:nvPr/>
        </p:nvSpPr>
        <p:spPr bwMode="auto">
          <a:xfrm>
            <a:off x="331788" y="1079500"/>
            <a:ext cx="8640762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ru-RU">
              <a:latin typeface="Arial" pitchFamily="34" charset="0"/>
              <a:cs typeface="Arial" pitchFamily="34" charset="0"/>
            </a:endParaRPr>
          </a:p>
        </p:txBody>
      </p:sp>
      <p:sp>
        <p:nvSpPr>
          <p:cNvPr id="1332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31788" y="177800"/>
            <a:ext cx="6646862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Заголовок Ариал</a:t>
            </a:r>
            <a:br>
              <a:rPr lang="ru-RU" smtClean="0"/>
            </a:br>
            <a:r>
              <a:rPr lang="ru-RU" smtClean="0"/>
              <a:t>максимум 3 строки размером 20 пт</a:t>
            </a:r>
            <a:br>
              <a:rPr lang="ru-RU" smtClean="0"/>
            </a:br>
            <a:r>
              <a:rPr lang="ru-RU" smtClean="0"/>
              <a:t>(выравнивание слева снизу)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70" r:id="rId1"/>
    <p:sldLayoutId id="2147484371" r:id="rId2"/>
    <p:sldLayoutId id="2147484312" r:id="rId3"/>
    <p:sldLayoutId id="214748437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73" r:id="rId11"/>
    <p:sldLayoutId id="2147484374" r:id="rId12"/>
  </p:sldLayoutIdLst>
  <p:transition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entury Gothic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entury Gothic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entury Gothic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entury Gothic" pitchFamily="34" charset="0"/>
        </a:defRPr>
      </a:lvl9pPr>
    </p:titleStyle>
    <p:bodyStyle>
      <a:lvl1pPr marL="265113" indent="-265113" algn="l" rtl="0" eaLnBrk="0" fontAlgn="base" hangingPunct="0">
        <a:spcBef>
          <a:spcPct val="0"/>
        </a:spcBef>
        <a:spcAft>
          <a:spcPts val="600"/>
        </a:spcAft>
        <a:buBlip>
          <a:blip r:embed="rId16"/>
        </a:buBlip>
        <a:defRPr lang="ru-RU" sz="2800" dirty="0">
          <a:solidFill>
            <a:schemeClr val="tx1"/>
          </a:solidFill>
          <a:latin typeface="+mn-lt"/>
          <a:ea typeface="+mn-ea"/>
          <a:cs typeface="+mn-cs"/>
        </a:defRPr>
      </a:lvl1pPr>
      <a:lvl2pPr marL="550863" indent="-284163" algn="l" rtl="0" eaLnBrk="0" fontAlgn="base" hangingPunct="0">
        <a:spcBef>
          <a:spcPct val="0"/>
        </a:spcBef>
        <a:spcAft>
          <a:spcPts val="600"/>
        </a:spcAft>
        <a:buBlip>
          <a:blip r:embed="rId16"/>
        </a:buBlip>
        <a:defRPr lang="ru-RU" sz="2400" dirty="0">
          <a:solidFill>
            <a:schemeClr val="tx1"/>
          </a:solidFill>
          <a:latin typeface="+mn-lt"/>
          <a:ea typeface="+mn-ea"/>
          <a:cs typeface="+mn-cs"/>
        </a:defRPr>
      </a:lvl2pPr>
      <a:lvl3pPr marL="1236663" indent="-228600" algn="l" rtl="0" eaLnBrk="0" fontAlgn="base" hangingPunct="0">
        <a:spcBef>
          <a:spcPct val="0"/>
        </a:spcBef>
        <a:spcAft>
          <a:spcPct val="30000"/>
        </a:spcAft>
        <a:buChar char="•"/>
        <a:defRPr sz="2400">
          <a:solidFill>
            <a:schemeClr val="tx1"/>
          </a:solidFill>
          <a:latin typeface="+mn-lt"/>
        </a:defRPr>
      </a:lvl3pPr>
      <a:lvl4pPr marL="1644650" indent="-228600" algn="l" rtl="0" eaLnBrk="0" fontAlgn="base" hangingPunct="0">
        <a:spcBef>
          <a:spcPct val="0"/>
        </a:spcBef>
        <a:spcAft>
          <a:spcPct val="3000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0"/>
        </a:spcBef>
        <a:spcAft>
          <a:spcPct val="3000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0"/>
        </a:spcBef>
        <a:spcAft>
          <a:spcPct val="3000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0"/>
        </a:spcBef>
        <a:spcAft>
          <a:spcPct val="3000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0"/>
        </a:spcBef>
        <a:spcAft>
          <a:spcPct val="3000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0"/>
        </a:spcBef>
        <a:spcAft>
          <a:spcPct val="3000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8530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838531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3BEC58F-C555-438F-AB7F-D645729DB89C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278FFE-D6F8-4956-A0BC-7B6F043A0A3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19" r:id="rId1"/>
    <p:sldLayoutId id="2147484320" r:id="rId2"/>
    <p:sldLayoutId id="2147484321" r:id="rId3"/>
    <p:sldLayoutId id="2147484322" r:id="rId4"/>
    <p:sldLayoutId id="2147484323" r:id="rId5"/>
    <p:sldLayoutId id="2147484324" r:id="rId6"/>
    <p:sldLayoutId id="2147484325" r:id="rId7"/>
    <p:sldLayoutId id="2147484326" r:id="rId8"/>
    <p:sldLayoutId id="2147484327" r:id="rId9"/>
    <p:sldLayoutId id="2147484328" r:id="rId10"/>
    <p:sldLayoutId id="2147484329" r:id="rId11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0818" name="Rectangle 1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7488" y="1857375"/>
            <a:ext cx="6169025" cy="360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1431" tIns="71431" rIns="71431" bIns="7143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>
                <a:sym typeface="Helvetica" pitchFamily="34" charset="0"/>
              </a:rPr>
              <a:t>Образец текста</a:t>
            </a:r>
          </a:p>
          <a:p>
            <a:pPr lvl="1"/>
            <a:r>
              <a:rPr lang="ru-RU" smtClean="0">
                <a:sym typeface="Helvetica" pitchFamily="34" charset="0"/>
              </a:rPr>
              <a:t>Второй уровень</a:t>
            </a:r>
          </a:p>
          <a:p>
            <a:pPr lvl="2"/>
            <a:r>
              <a:rPr lang="ru-RU" smtClean="0">
                <a:sym typeface="Helvetica" pitchFamily="34" charset="0"/>
              </a:rPr>
              <a:t>Третий уровень</a:t>
            </a:r>
          </a:p>
          <a:p>
            <a:pPr lvl="3"/>
            <a:r>
              <a:rPr lang="ru-RU" smtClean="0">
                <a:sym typeface="Helvetica" pitchFamily="34" charset="0"/>
              </a:rPr>
              <a:t>Четвертый уровень</a:t>
            </a:r>
          </a:p>
          <a:p>
            <a:pPr lvl="4"/>
            <a:r>
              <a:rPr lang="ru-RU" smtClean="0">
                <a:sym typeface="Helvetica" pitchFamily="34" charset="0"/>
              </a:rPr>
              <a:t>Пятый уровень</a:t>
            </a:r>
            <a:endParaRPr lang="en-US" smtClean="0">
              <a:sym typeface="Helvetica" pitchFamily="34" charset="0"/>
            </a:endParaRPr>
          </a:p>
        </p:txBody>
      </p:sp>
      <p:pic>
        <p:nvPicPr>
          <p:cNvPr id="2850819" name="Picture 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329613" y="5991225"/>
            <a:ext cx="557212" cy="70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84175" y="214313"/>
            <a:ext cx="7358063" cy="704850"/>
          </a:xfrm>
          <a:prstGeom prst="rect">
            <a:avLst/>
          </a:prstGeom>
          <a:noFill/>
          <a:ln>
            <a:noFill/>
          </a:ln>
          <a:effectLst>
            <a:outerShdw blurRad="12700" dist="25399" dir="5400000" algn="ctr" rotWithShape="0">
              <a:schemeClr val="bg2">
                <a:alpha val="4999"/>
              </a:schemeClr>
            </a:outerShdw>
          </a:effectLst>
          <a:extLst/>
        </p:spPr>
        <p:txBody>
          <a:bodyPr vert="horz" wrap="square" lIns="35715" tIns="35715" rIns="35715" bIns="357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>
                <a:sym typeface="Helvetica" charset="0"/>
              </a:rPr>
              <a:t>Образец заголовка</a:t>
            </a:r>
            <a:endParaRPr lang="en-US">
              <a:sym typeface="Helvetica" charset="0"/>
            </a:endParaRPr>
          </a:p>
        </p:txBody>
      </p:sp>
      <p:pic>
        <p:nvPicPr>
          <p:cNvPr id="2850821" name="Picture 4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1187450"/>
            <a:ext cx="9144000" cy="115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30" r:id="rId1"/>
    <p:sldLayoutId id="2147484331" r:id="rId2"/>
    <p:sldLayoutId id="2147484332" r:id="rId3"/>
    <p:sldLayoutId id="2147484333" r:id="rId4"/>
    <p:sldLayoutId id="2147484334" r:id="rId5"/>
    <p:sldLayoutId id="2147484335" r:id="rId6"/>
    <p:sldLayoutId id="2147484336" r:id="rId7"/>
    <p:sldLayoutId id="2147484337" r:id="rId8"/>
    <p:sldLayoutId id="2147484338" r:id="rId9"/>
    <p:sldLayoutId id="2147484339" r:id="rId10"/>
    <p:sldLayoutId id="2147484340" r:id="rId11"/>
  </p:sldLayoutIdLst>
  <p:transition/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+mj-lt"/>
          <a:ea typeface="+mj-ea"/>
          <a:cs typeface="+mj-cs"/>
          <a:sym typeface="Helvetica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Helvetica" charset="0"/>
          <a:ea typeface="ヒラギノ角ゴ ProN W3" charset="0"/>
          <a:cs typeface="ヒラギノ角ゴ ProN W3" charset="0"/>
          <a:sym typeface="Helvetic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Helvetica" charset="0"/>
          <a:ea typeface="ヒラギノ角ゴ ProN W3" charset="0"/>
          <a:cs typeface="ヒラギノ角ゴ ProN W3" charset="0"/>
          <a:sym typeface="Helvetic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Helvetica" charset="0"/>
          <a:ea typeface="ヒラギノ角ゴ ProN W3" charset="0"/>
          <a:cs typeface="ヒラギノ角ゴ ProN W3" charset="0"/>
          <a:sym typeface="Helvetic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Helvetica" charset="0"/>
          <a:ea typeface="ヒラギノ角ゴ ProN W3" charset="0"/>
          <a:cs typeface="ヒラギノ角ゴ ProN W3" charset="0"/>
          <a:sym typeface="Helvetica" pitchFamily="34" charset="0"/>
        </a:defRPr>
      </a:lvl5pPr>
      <a:lvl6pPr marL="321440"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Helvetica" charset="0"/>
          <a:ea typeface="ヒラギノ角ゴ ProN W3" charset="0"/>
          <a:cs typeface="ヒラギノ角ゴ ProN W3" charset="0"/>
          <a:sym typeface="Helvetica" charset="0"/>
        </a:defRPr>
      </a:lvl6pPr>
      <a:lvl7pPr marL="642882"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Helvetica" charset="0"/>
          <a:ea typeface="ヒラギノ角ゴ ProN W3" charset="0"/>
          <a:cs typeface="ヒラギノ角ゴ ProN W3" charset="0"/>
          <a:sym typeface="Helvetica" charset="0"/>
        </a:defRPr>
      </a:lvl7pPr>
      <a:lvl8pPr marL="964323"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Helvetica" charset="0"/>
          <a:ea typeface="ヒラギノ角ゴ ProN W3" charset="0"/>
          <a:cs typeface="ヒラギノ角ゴ ProN W3" charset="0"/>
          <a:sym typeface="Helvetica" charset="0"/>
        </a:defRPr>
      </a:lvl8pPr>
      <a:lvl9pPr marL="1285763" algn="l" rtl="0" eaLnBrk="1" fontAlgn="base" hangingPunct="1">
        <a:spcBef>
          <a:spcPct val="0"/>
        </a:spcBef>
        <a:spcAft>
          <a:spcPct val="0"/>
        </a:spcAft>
        <a:defRPr sz="3500">
          <a:solidFill>
            <a:schemeClr val="tx1"/>
          </a:solidFill>
          <a:latin typeface="Helvetica" charset="0"/>
          <a:ea typeface="ヒラギノ角ゴ ProN W3" charset="0"/>
          <a:cs typeface="ヒラギノ角ゴ ProN W3" charset="0"/>
          <a:sym typeface="Helvetica" charset="0"/>
        </a:defRPr>
      </a:lvl9pPr>
    </p:titleStyle>
    <p:bodyStyle>
      <a:lvl1pPr marL="355600" indent="-204788" algn="l" rtl="0" eaLnBrk="0" fontAlgn="base" hangingPunct="0">
        <a:spcBef>
          <a:spcPts val="1688"/>
        </a:spcBef>
        <a:spcAft>
          <a:spcPct val="0"/>
        </a:spcAft>
        <a:buClr>
          <a:srgbClr val="FB7009"/>
        </a:buClr>
        <a:buSzPct val="100000"/>
        <a:buFont typeface="Helvetica" pitchFamily="34" charset="0"/>
        <a:buChar char="•"/>
        <a:defRPr sz="2800">
          <a:solidFill>
            <a:srgbClr val="34B527"/>
          </a:solidFill>
          <a:latin typeface="+mn-lt"/>
          <a:ea typeface="+mn-ea"/>
          <a:cs typeface="+mn-cs"/>
          <a:sym typeface="Helvetica" pitchFamily="34" charset="0"/>
        </a:defRPr>
      </a:lvl1pPr>
      <a:lvl2pPr marL="784225" indent="-204788" algn="l" rtl="0" eaLnBrk="0" fontAlgn="base" hangingPunct="0">
        <a:spcBef>
          <a:spcPts val="1688"/>
        </a:spcBef>
        <a:spcAft>
          <a:spcPct val="0"/>
        </a:spcAft>
        <a:buClr>
          <a:srgbClr val="F5C613"/>
        </a:buClr>
        <a:buSzPct val="100000"/>
        <a:buFont typeface="Helvetica" pitchFamily="34" charset="0"/>
        <a:buChar char="•"/>
        <a:defRPr sz="2500">
          <a:solidFill>
            <a:srgbClr val="34B527"/>
          </a:solidFill>
          <a:latin typeface="+mn-lt"/>
          <a:ea typeface="+mn-ea"/>
          <a:cs typeface="+mn-cs"/>
          <a:sym typeface="Helvetica" pitchFamily="34" charset="0"/>
        </a:defRPr>
      </a:lvl2pPr>
      <a:lvl3pPr marL="909638" indent="-133350" algn="l" rtl="0" eaLnBrk="0" fontAlgn="base" hangingPunct="0">
        <a:spcBef>
          <a:spcPts val="1688"/>
        </a:spcBef>
        <a:spcAft>
          <a:spcPct val="0"/>
        </a:spcAft>
        <a:buSzPct val="100000"/>
        <a:buFont typeface="Helvetica" pitchFamily="34" charset="0"/>
        <a:buChar char="•"/>
        <a:defRPr sz="2100">
          <a:solidFill>
            <a:srgbClr val="34B527"/>
          </a:solidFill>
          <a:latin typeface="+mn-lt"/>
          <a:ea typeface="+mn-ea"/>
          <a:cs typeface="+mn-cs"/>
          <a:sym typeface="Helvetica" pitchFamily="34" charset="0"/>
        </a:defRPr>
      </a:lvl3pPr>
      <a:lvl4pPr marL="1222375" indent="-133350" algn="l" rtl="0" eaLnBrk="0" fontAlgn="base" hangingPunct="0">
        <a:spcBef>
          <a:spcPts val="1688"/>
        </a:spcBef>
        <a:spcAft>
          <a:spcPct val="0"/>
        </a:spcAft>
        <a:buSzPct val="100000"/>
        <a:buFont typeface="Helvetica" pitchFamily="34" charset="0"/>
        <a:buChar char="•"/>
        <a:defRPr sz="2100">
          <a:solidFill>
            <a:srgbClr val="34B527"/>
          </a:solidFill>
          <a:latin typeface="+mn-lt"/>
          <a:ea typeface="+mn-ea"/>
          <a:cs typeface="+mn-cs"/>
          <a:sym typeface="Helvetica" pitchFamily="34" charset="0"/>
        </a:defRPr>
      </a:lvl4pPr>
      <a:lvl5pPr marL="1535113" indent="-133350" algn="l" rtl="0" eaLnBrk="0" fontAlgn="base" hangingPunct="0">
        <a:spcBef>
          <a:spcPts val="1688"/>
        </a:spcBef>
        <a:spcAft>
          <a:spcPct val="0"/>
        </a:spcAft>
        <a:buSzPct val="100000"/>
        <a:buFont typeface="Helvetica" pitchFamily="34" charset="0"/>
        <a:buChar char="•"/>
        <a:defRPr sz="2100">
          <a:solidFill>
            <a:srgbClr val="34B527"/>
          </a:solidFill>
          <a:latin typeface="+mn-lt"/>
          <a:ea typeface="+mn-ea"/>
          <a:cs typeface="+mn-cs"/>
          <a:sym typeface="Helvetica" pitchFamily="34" charset="0"/>
        </a:defRPr>
      </a:lvl5pPr>
      <a:lvl6pPr marL="1857214" indent="-133934" algn="l" rtl="0" eaLnBrk="1" fontAlgn="base" hangingPunct="1">
        <a:spcBef>
          <a:spcPts val="1687"/>
        </a:spcBef>
        <a:spcAft>
          <a:spcPct val="0"/>
        </a:spcAft>
        <a:buSzPct val="100000"/>
        <a:buFont typeface="Helvetica" charset="0"/>
        <a:buChar char="•"/>
        <a:defRPr sz="2100">
          <a:solidFill>
            <a:srgbClr val="34B527"/>
          </a:solidFill>
          <a:latin typeface="+mn-lt"/>
          <a:ea typeface="+mn-ea"/>
          <a:cs typeface="+mn-cs"/>
          <a:sym typeface="Helvetica" charset="0"/>
        </a:defRPr>
      </a:lvl6pPr>
      <a:lvl7pPr marL="2178654" indent="-133934" algn="l" rtl="0" eaLnBrk="1" fontAlgn="base" hangingPunct="1">
        <a:spcBef>
          <a:spcPts val="1687"/>
        </a:spcBef>
        <a:spcAft>
          <a:spcPct val="0"/>
        </a:spcAft>
        <a:buSzPct val="100000"/>
        <a:buFont typeface="Helvetica" charset="0"/>
        <a:buChar char="•"/>
        <a:defRPr sz="2100">
          <a:solidFill>
            <a:srgbClr val="34B527"/>
          </a:solidFill>
          <a:latin typeface="+mn-lt"/>
          <a:ea typeface="+mn-ea"/>
          <a:cs typeface="+mn-cs"/>
          <a:sym typeface="Helvetica" charset="0"/>
        </a:defRPr>
      </a:lvl7pPr>
      <a:lvl8pPr marL="2500096" indent="-133934" algn="l" rtl="0" eaLnBrk="1" fontAlgn="base" hangingPunct="1">
        <a:spcBef>
          <a:spcPts val="1687"/>
        </a:spcBef>
        <a:spcAft>
          <a:spcPct val="0"/>
        </a:spcAft>
        <a:buSzPct val="100000"/>
        <a:buFont typeface="Helvetica" charset="0"/>
        <a:buChar char="•"/>
        <a:defRPr sz="2100">
          <a:solidFill>
            <a:srgbClr val="34B527"/>
          </a:solidFill>
          <a:latin typeface="+mn-lt"/>
          <a:ea typeface="+mn-ea"/>
          <a:cs typeface="+mn-cs"/>
          <a:sym typeface="Helvetica" charset="0"/>
        </a:defRPr>
      </a:lvl8pPr>
      <a:lvl9pPr marL="2821537" indent="-133934" algn="l" rtl="0" eaLnBrk="1" fontAlgn="base" hangingPunct="1">
        <a:spcBef>
          <a:spcPts val="1687"/>
        </a:spcBef>
        <a:spcAft>
          <a:spcPct val="0"/>
        </a:spcAft>
        <a:buSzPct val="100000"/>
        <a:buFont typeface="Helvetica" charset="0"/>
        <a:buChar char="•"/>
        <a:defRPr sz="2100">
          <a:solidFill>
            <a:srgbClr val="34B527"/>
          </a:solidFill>
          <a:latin typeface="+mn-lt"/>
          <a:ea typeface="+mn-ea"/>
          <a:cs typeface="+mn-cs"/>
          <a:sym typeface="Helvetica" charset="0"/>
        </a:defRPr>
      </a:lvl9pPr>
    </p:bodyStyle>
    <p:otherStyle>
      <a:defPPr>
        <a:defRPr lang="en-US"/>
      </a:defPPr>
      <a:lvl1pPr marL="0" algn="l" defTabSz="32144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440" algn="l" defTabSz="32144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882" algn="l" defTabSz="32144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4323" algn="l" defTabSz="32144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763" algn="l" defTabSz="32144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7205" algn="l" defTabSz="32144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645" algn="l" defTabSz="32144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50086" algn="l" defTabSz="32144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71527" algn="l" defTabSz="32144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49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77288" y="6621463"/>
            <a:ext cx="187325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02948F7-7888-45B2-9D0F-2107329FA01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3" name="nav4" hidden="1"/>
          <p:cNvSpPr>
            <a:spLocks noChangeArrowheads="1"/>
          </p:cNvSpPr>
          <p:nvPr/>
        </p:nvSpPr>
        <p:spPr bwMode="auto">
          <a:xfrm>
            <a:off x="1771650" y="6621463"/>
            <a:ext cx="207963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ru-RU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4</a:t>
            </a:r>
          </a:p>
        </p:txBody>
      </p:sp>
      <p:sp>
        <p:nvSpPr>
          <p:cNvPr id="5124" name="nav5" hidden="1"/>
          <p:cNvSpPr>
            <a:spLocks noChangeArrowheads="1"/>
          </p:cNvSpPr>
          <p:nvPr/>
        </p:nvSpPr>
        <p:spPr bwMode="auto">
          <a:xfrm>
            <a:off x="2022475" y="6621463"/>
            <a:ext cx="207963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ru-RU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</a:t>
            </a:r>
          </a:p>
        </p:txBody>
      </p:sp>
      <p:sp>
        <p:nvSpPr>
          <p:cNvPr id="5125" name="nav6" hidden="1"/>
          <p:cNvSpPr>
            <a:spLocks noChangeArrowheads="1"/>
          </p:cNvSpPr>
          <p:nvPr/>
        </p:nvSpPr>
        <p:spPr bwMode="auto">
          <a:xfrm>
            <a:off x="2274888" y="6621463"/>
            <a:ext cx="207962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en-US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6</a:t>
            </a:r>
            <a:endParaRPr lang="ru-RU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26" name="nav7" hidden="1"/>
          <p:cNvSpPr>
            <a:spLocks noChangeArrowheads="1"/>
          </p:cNvSpPr>
          <p:nvPr/>
        </p:nvSpPr>
        <p:spPr bwMode="auto">
          <a:xfrm>
            <a:off x="2527300" y="6621463"/>
            <a:ext cx="207963" cy="2079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3F9844"/>
              </a:gs>
              <a:gs pos="50000">
                <a:srgbClr val="48B63B"/>
              </a:gs>
              <a:gs pos="100000">
                <a:srgbClr val="3F9844"/>
              </a:gs>
            </a:gsLst>
            <a:lin ang="18900000" scaled="1"/>
          </a:gra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bIns="54000" anchor="ctr"/>
          <a:lstStyle/>
          <a:p>
            <a:pPr>
              <a:defRPr/>
            </a:pPr>
            <a:r>
              <a:rPr lang="en-US" sz="1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7</a:t>
            </a:r>
            <a:endParaRPr lang="ru-RU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27" name="TextBox 2"/>
          <p:cNvSpPr txBox="1">
            <a:spLocks noChangeArrowheads="1"/>
          </p:cNvSpPr>
          <p:nvPr/>
        </p:nvSpPr>
        <p:spPr bwMode="auto">
          <a:xfrm>
            <a:off x="3635375" y="6588125"/>
            <a:ext cx="4537075" cy="276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r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ru-RU" sz="1200" smtClean="0">
                <a:solidFill>
                  <a:srgbClr val="FFFFFF"/>
                </a:solidFill>
              </a:rPr>
              <a:t>УМБ</a:t>
            </a:r>
          </a:p>
        </p:txBody>
      </p:sp>
      <p:pic>
        <p:nvPicPr>
          <p:cNvPr id="2863112" name="Picture 15" descr="logo"/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094538" y="276225"/>
            <a:ext cx="1878012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9" name="Line 6"/>
          <p:cNvSpPr>
            <a:spLocks noChangeShapeType="1"/>
          </p:cNvSpPr>
          <p:nvPr/>
        </p:nvSpPr>
        <p:spPr bwMode="auto">
          <a:xfrm>
            <a:off x="331788" y="1079500"/>
            <a:ext cx="8640762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ru-RU">
              <a:latin typeface="Arial" pitchFamily="34" charset="0"/>
              <a:cs typeface="Arial" pitchFamily="34" charset="0"/>
            </a:endParaRPr>
          </a:p>
        </p:txBody>
      </p:sp>
      <p:sp>
        <p:nvSpPr>
          <p:cNvPr id="286311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31788" y="177800"/>
            <a:ext cx="6646862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Заголовок Ариал</a:t>
            </a:r>
            <a:br>
              <a:rPr lang="ru-RU" smtClean="0"/>
            </a:br>
            <a:r>
              <a:rPr lang="ru-RU" smtClean="0"/>
              <a:t>максимум 3 строки размером 20 пт</a:t>
            </a:r>
            <a:br>
              <a:rPr lang="ru-RU" smtClean="0"/>
            </a:br>
            <a:r>
              <a:rPr lang="ru-RU" smtClean="0"/>
              <a:t>(выравнивание слева снизу)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41" r:id="rId3"/>
    <p:sldLayoutId id="2147484377" r:id="rId4"/>
    <p:sldLayoutId id="2147484342" r:id="rId5"/>
    <p:sldLayoutId id="2147484343" r:id="rId6"/>
    <p:sldLayoutId id="2147484344" r:id="rId7"/>
    <p:sldLayoutId id="2147484345" r:id="rId8"/>
    <p:sldLayoutId id="2147484346" r:id="rId9"/>
    <p:sldLayoutId id="2147484347" r:id="rId10"/>
    <p:sldLayoutId id="2147484378" r:id="rId11"/>
    <p:sldLayoutId id="2147484379" r:id="rId12"/>
    <p:sldLayoutId id="2147484380" r:id="rId13"/>
  </p:sldLayoutIdLst>
  <p:transition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entury Gothic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entury Gothic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entury Gothic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Century Gothic" pitchFamily="34" charset="0"/>
        </a:defRPr>
      </a:lvl9pPr>
    </p:titleStyle>
    <p:bodyStyle>
      <a:lvl1pPr marL="265113" indent="-265113" algn="l" rtl="0" eaLnBrk="0" fontAlgn="base" hangingPunct="0">
        <a:spcBef>
          <a:spcPct val="0"/>
        </a:spcBef>
        <a:spcAft>
          <a:spcPts val="600"/>
        </a:spcAft>
        <a:buBlip>
          <a:blip r:embed="rId17"/>
        </a:buBlip>
        <a:defRPr lang="ru-RU" sz="2800" dirty="0">
          <a:solidFill>
            <a:schemeClr val="tx1"/>
          </a:solidFill>
          <a:latin typeface="+mn-lt"/>
          <a:ea typeface="+mn-ea"/>
          <a:cs typeface="+mn-cs"/>
        </a:defRPr>
      </a:lvl1pPr>
      <a:lvl2pPr marL="550863" indent="-284163" algn="l" rtl="0" eaLnBrk="0" fontAlgn="base" hangingPunct="0">
        <a:spcBef>
          <a:spcPct val="0"/>
        </a:spcBef>
        <a:spcAft>
          <a:spcPts val="600"/>
        </a:spcAft>
        <a:buBlip>
          <a:blip r:embed="rId17"/>
        </a:buBlip>
        <a:defRPr lang="ru-RU" sz="2400" dirty="0">
          <a:solidFill>
            <a:schemeClr val="tx1"/>
          </a:solidFill>
          <a:latin typeface="+mn-lt"/>
          <a:ea typeface="+mn-ea"/>
          <a:cs typeface="+mn-cs"/>
        </a:defRPr>
      </a:lvl2pPr>
      <a:lvl3pPr marL="1236663" indent="-228600" algn="l" rtl="0" eaLnBrk="0" fontAlgn="base" hangingPunct="0">
        <a:spcBef>
          <a:spcPct val="0"/>
        </a:spcBef>
        <a:spcAft>
          <a:spcPct val="30000"/>
        </a:spcAft>
        <a:buChar char="•"/>
        <a:defRPr sz="2400">
          <a:solidFill>
            <a:schemeClr val="tx1"/>
          </a:solidFill>
          <a:latin typeface="+mn-lt"/>
        </a:defRPr>
      </a:lvl3pPr>
      <a:lvl4pPr marL="1644650" indent="-228600" algn="l" rtl="0" eaLnBrk="0" fontAlgn="base" hangingPunct="0">
        <a:spcBef>
          <a:spcPct val="0"/>
        </a:spcBef>
        <a:spcAft>
          <a:spcPct val="3000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0"/>
        </a:spcBef>
        <a:spcAft>
          <a:spcPct val="3000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0"/>
        </a:spcBef>
        <a:spcAft>
          <a:spcPct val="3000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0"/>
        </a:spcBef>
        <a:spcAft>
          <a:spcPct val="3000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0"/>
        </a:spcBef>
        <a:spcAft>
          <a:spcPct val="3000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0"/>
        </a:spcBef>
        <a:spcAft>
          <a:spcPct val="3000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846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87846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0292B7-9328-42D4-98F3-66F59AEA315F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74B80BE-6E2E-4AD2-A29F-DB4885B511A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48" r:id="rId1"/>
    <p:sldLayoutId id="2147484349" r:id="rId2"/>
    <p:sldLayoutId id="2147484350" r:id="rId3"/>
    <p:sldLayoutId id="2147484351" r:id="rId4"/>
    <p:sldLayoutId id="2147484352" r:id="rId5"/>
    <p:sldLayoutId id="2147484353" r:id="rId6"/>
    <p:sldLayoutId id="2147484354" r:id="rId7"/>
    <p:sldLayoutId id="2147484355" r:id="rId8"/>
    <p:sldLayoutId id="2147484356" r:id="rId9"/>
    <p:sldLayoutId id="2147484357" r:id="rId10"/>
    <p:sldLayoutId id="2147484358" r:id="rId11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0754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890755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4A6CFF9-C518-4DBE-8096-DE5A30E9ACB6}" type="datetime1">
              <a:rPr lang="ru-RU"/>
              <a:pPr>
                <a:defRPr/>
              </a:pPr>
              <a:t>09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EF3ABA1-8A9B-4941-9781-F5E88758ABF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59" r:id="rId1"/>
    <p:sldLayoutId id="2147484360" r:id="rId2"/>
    <p:sldLayoutId id="2147484361" r:id="rId3"/>
    <p:sldLayoutId id="2147484362" r:id="rId4"/>
    <p:sldLayoutId id="2147484363" r:id="rId5"/>
    <p:sldLayoutId id="2147484364" r:id="rId6"/>
    <p:sldLayoutId id="2147484365" r:id="rId7"/>
    <p:sldLayoutId id="2147484366" r:id="rId8"/>
    <p:sldLayoutId id="2147484367" r:id="rId9"/>
    <p:sldLayoutId id="2147484368" r:id="rId10"/>
    <p:sldLayoutId id="2147484369" r:id="rId11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Microsoft_Excel_97-2003_Worksheet3.xls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3.emf"/><Relationship Id="rId5" Type="http://schemas.openxmlformats.org/officeDocument/2006/relationships/oleObject" Target="../embeddings/Microsoft_Excel_97-2003_Worksheet4.xls"/><Relationship Id="rId4" Type="http://schemas.openxmlformats.org/officeDocument/2006/relationships/image" Target="../media/image22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8.png"/><Relationship Id="rId4" Type="http://schemas.openxmlformats.org/officeDocument/2006/relationships/image" Target="../media/image37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40.jpeg"/><Relationship Id="rId7" Type="http://schemas.openxmlformats.org/officeDocument/2006/relationships/image" Target="../media/image44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1.jpeg"/><Relationship Id="rId4" Type="http://schemas.openxmlformats.org/officeDocument/2006/relationships/image" Target="../media/image4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8.png"/><Relationship Id="rId4" Type="http://schemas.openxmlformats.org/officeDocument/2006/relationships/image" Target="../media/image57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emf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Microsoft_Excel_97-2003_Worksheet1.xls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0.png"/><Relationship Id="rId3" Type="http://schemas.openxmlformats.org/officeDocument/2006/relationships/oleObject" Target="../embeddings/oleObject3.bin"/><Relationship Id="rId7" Type="http://schemas.openxmlformats.org/officeDocument/2006/relationships/oleObject" Target="../embeddings/oleObject4.bin"/><Relationship Id="rId12" Type="http://schemas.openxmlformats.org/officeDocument/2006/relationships/image" Target="../media/image19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6.emf"/><Relationship Id="rId11" Type="http://schemas.openxmlformats.org/officeDocument/2006/relationships/oleObject" Target="../embeddings/oleObject6.bin"/><Relationship Id="rId5" Type="http://schemas.openxmlformats.org/officeDocument/2006/relationships/oleObject" Target="../embeddings/Microsoft_Excel_97-2003_Worksheet2.xls"/><Relationship Id="rId10" Type="http://schemas.openxmlformats.org/officeDocument/2006/relationships/image" Target="../media/image18.png"/><Relationship Id="rId4" Type="http://schemas.openxmlformats.org/officeDocument/2006/relationships/image" Target="../media/image15.png"/><Relationship Id="rId9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714375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23900" y="1928813"/>
            <a:ext cx="601663" cy="1143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55650" y="4076700"/>
            <a:ext cx="601663" cy="1143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905092" name="TextBox 51"/>
          <p:cNvSpPr txBox="1">
            <a:spLocks noChangeArrowheads="1"/>
          </p:cNvSpPr>
          <p:nvPr/>
        </p:nvSpPr>
        <p:spPr bwMode="auto">
          <a:xfrm>
            <a:off x="1042988" y="1052513"/>
            <a:ext cx="7740650" cy="5087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300" b="1" dirty="0"/>
              <a:t>Малый бизнес в России.</a:t>
            </a:r>
          </a:p>
          <a:p>
            <a:pPr algn="ctr"/>
            <a:r>
              <a:rPr lang="ru-RU" sz="2300" b="1" dirty="0"/>
              <a:t>Механизмы привлечения инвестиций в проекты, реализуемые субъектами малого и среднего предпринимательства</a:t>
            </a:r>
          </a:p>
          <a:p>
            <a:pPr algn="ctr"/>
            <a:endParaRPr lang="ru-RU" sz="2800" b="1" dirty="0"/>
          </a:p>
          <a:p>
            <a:pPr algn="ctr"/>
            <a:r>
              <a:rPr lang="ru-RU" sz="2400" b="1" i="1" dirty="0">
                <a:solidFill>
                  <a:schemeClr val="accent1"/>
                </a:solidFill>
              </a:rPr>
              <a:t>Мастер-класс С.Р. Борисова</a:t>
            </a:r>
          </a:p>
          <a:p>
            <a:pPr algn="ctr"/>
            <a:endParaRPr lang="ru-RU" sz="2400" b="1" i="1" dirty="0">
              <a:solidFill>
                <a:schemeClr val="accent1"/>
              </a:solidFill>
            </a:endParaRPr>
          </a:p>
          <a:p>
            <a:pPr algn="ctr"/>
            <a:r>
              <a:rPr lang="ru-RU" sz="2400" b="1" i="1" dirty="0">
                <a:solidFill>
                  <a:schemeClr val="accent1"/>
                </a:solidFill>
              </a:rPr>
              <a:t>Председателя Попечительского совета Общероссийской общественной организации малого и среднего предпринимательства «ОПОРА РОССИИ», </a:t>
            </a:r>
          </a:p>
          <a:p>
            <a:pPr algn="ctr"/>
            <a:r>
              <a:rPr lang="ru-RU" sz="2400" b="1" i="1" dirty="0">
                <a:solidFill>
                  <a:schemeClr val="accent1"/>
                </a:solidFill>
              </a:rPr>
              <a:t>вице-президента Сбербанка России </a:t>
            </a:r>
          </a:p>
          <a:p>
            <a:pPr algn="ctr"/>
            <a:r>
              <a:rPr lang="ru-RU" sz="2400" b="1" i="1" dirty="0">
                <a:solidFill>
                  <a:schemeClr val="accent1"/>
                </a:solidFill>
              </a:rPr>
              <a:t>по развитию малого бизнеса</a:t>
            </a:r>
          </a:p>
          <a:p>
            <a:endParaRPr lang="ru-RU" sz="1600" i="1" dirty="0">
              <a:solidFill>
                <a:schemeClr val="accent1"/>
              </a:solidFill>
              <a:latin typeface="Verdana" pitchFamily="34" charset="0"/>
            </a:endParaRPr>
          </a:p>
        </p:txBody>
      </p:sp>
      <p:grpSp>
        <p:nvGrpSpPr>
          <p:cNvPr id="2905093" name="Группа 10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3" name="Овал 12"/>
            <p:cNvSpPr/>
            <p:nvPr/>
          </p:nvSpPr>
          <p:spPr>
            <a:xfrm>
              <a:off x="322263" y="500063"/>
              <a:ext cx="785812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714375" y="357188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Овал 14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Полилиния 15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17377" name="Группа 10"/>
          <p:cNvGrpSpPr>
            <a:grpSpLocks/>
          </p:cNvGrpSpPr>
          <p:nvPr/>
        </p:nvGrpSpPr>
        <p:grpSpPr bwMode="auto">
          <a:xfrm>
            <a:off x="0" y="188913"/>
            <a:ext cx="7429500" cy="6858000"/>
            <a:chOff x="0" y="0"/>
            <a:chExt cx="7429500" cy="6858000"/>
          </a:xfrm>
        </p:grpSpPr>
        <p:sp>
          <p:nvSpPr>
            <p:cNvPr id="2" name="Прямоугольник 11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3" name="Овал 12"/>
            <p:cNvSpPr/>
            <p:nvPr/>
          </p:nvSpPr>
          <p:spPr>
            <a:xfrm>
              <a:off x="322263" y="500062"/>
              <a:ext cx="785812" cy="78581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714375" y="357187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Овал 14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Полилиния 15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2917378" name="Rectangle 2"/>
          <p:cNvSpPr>
            <a:spLocks noGrp="1"/>
          </p:cNvSpPr>
          <p:nvPr>
            <p:ph type="title"/>
          </p:nvPr>
        </p:nvSpPr>
        <p:spPr>
          <a:xfrm>
            <a:off x="457200" y="-26988"/>
            <a:ext cx="8229600" cy="649288"/>
          </a:xfrm>
        </p:spPr>
        <p:txBody>
          <a:bodyPr/>
          <a:lstStyle/>
          <a:p>
            <a:r>
              <a:rPr lang="ru-RU" sz="2300" b="1" smtClean="0">
                <a:latin typeface="Arial" charset="0"/>
                <a:cs typeface="Arial" charset="0"/>
              </a:rPr>
              <a:t>Возможности регионов и муниципалитетов по повышению инвестиционной привлекательности МСП</a:t>
            </a:r>
          </a:p>
        </p:txBody>
      </p:sp>
      <p:sp>
        <p:nvSpPr>
          <p:cNvPr id="2917379" name="TextBox 23"/>
          <p:cNvSpPr txBox="1">
            <a:spLocks noChangeArrowheads="1"/>
          </p:cNvSpPr>
          <p:nvPr/>
        </p:nvSpPr>
        <p:spPr bwMode="auto">
          <a:xfrm>
            <a:off x="1727200" y="908050"/>
            <a:ext cx="7416800" cy="5909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Tx/>
              <a:buChar char="•"/>
            </a:pPr>
            <a:endParaRPr lang="ru-RU" sz="2000" dirty="0"/>
          </a:p>
          <a:p>
            <a:pPr>
              <a:buFontTx/>
              <a:buChar char="•"/>
            </a:pPr>
            <a:r>
              <a:rPr lang="ru-RU" sz="2200" dirty="0"/>
              <a:t>Снижение УСН с 15 до 5 % (при налогообложении по  принципу «доходы минус расходы»</a:t>
            </a:r>
            <a:r>
              <a:rPr lang="ru-RU" sz="2200" dirty="0">
                <a:solidFill>
                  <a:schemeClr val="tx2"/>
                </a:solidFill>
              </a:rPr>
              <a:t>;</a:t>
            </a:r>
          </a:p>
          <a:p>
            <a:pPr>
              <a:buFontTx/>
              <a:buChar char="•"/>
            </a:pPr>
            <a:endParaRPr lang="ru-RU" sz="2200" dirty="0">
              <a:solidFill>
                <a:schemeClr val="tx2"/>
              </a:solidFill>
            </a:endParaRPr>
          </a:p>
          <a:p>
            <a:pPr>
              <a:buFontTx/>
              <a:buChar char="•"/>
            </a:pPr>
            <a:r>
              <a:rPr lang="ru-RU" sz="2200" dirty="0"/>
              <a:t>Расширение видов деятельности на патентной системе налогообложения</a:t>
            </a:r>
            <a:r>
              <a:rPr lang="ru-RU" sz="2200" dirty="0">
                <a:solidFill>
                  <a:schemeClr val="tx2"/>
                </a:solidFill>
              </a:rPr>
              <a:t>;</a:t>
            </a:r>
          </a:p>
          <a:p>
            <a:endParaRPr lang="ru-RU" sz="2200" dirty="0">
              <a:solidFill>
                <a:schemeClr val="tx2"/>
              </a:solidFill>
            </a:endParaRPr>
          </a:p>
          <a:p>
            <a:pPr>
              <a:buFontTx/>
              <a:buChar char="•"/>
            </a:pPr>
            <a:endParaRPr lang="ru-RU" sz="2200" dirty="0"/>
          </a:p>
          <a:p>
            <a:pPr>
              <a:buFontTx/>
              <a:buChar char="•"/>
            </a:pPr>
            <a:r>
              <a:rPr lang="ru-RU" sz="2200" dirty="0"/>
              <a:t>Разработка региональных и муниципальных программ поддержки МСП</a:t>
            </a:r>
            <a:r>
              <a:rPr lang="ru-RU" sz="2200" dirty="0">
                <a:solidFill>
                  <a:schemeClr val="tx2"/>
                </a:solidFill>
              </a:rPr>
              <a:t>;</a:t>
            </a:r>
          </a:p>
          <a:p>
            <a:endParaRPr lang="ru-RU" sz="2200" dirty="0">
              <a:solidFill>
                <a:schemeClr val="tx2"/>
              </a:solidFill>
            </a:endParaRPr>
          </a:p>
          <a:p>
            <a:pPr>
              <a:buFontTx/>
              <a:buChar char="•"/>
            </a:pPr>
            <a:endParaRPr lang="ru-RU" sz="800" dirty="0"/>
          </a:p>
          <a:p>
            <a:pPr>
              <a:buFontTx/>
              <a:buChar char="•"/>
            </a:pPr>
            <a:r>
              <a:rPr lang="ru-RU" sz="2200" dirty="0"/>
              <a:t>Предоставление имущества и помещений по льготным </a:t>
            </a:r>
            <a:r>
              <a:rPr lang="ru-RU" sz="2200" dirty="0" smtClean="0"/>
              <a:t>ставкам;</a:t>
            </a:r>
            <a:endParaRPr lang="ru-RU" sz="2200" dirty="0"/>
          </a:p>
          <a:p>
            <a:pPr>
              <a:buFontTx/>
              <a:buChar char="•"/>
            </a:pPr>
            <a:endParaRPr lang="ru-RU" sz="2200" dirty="0"/>
          </a:p>
          <a:p>
            <a:pPr>
              <a:buFontTx/>
              <a:buChar char="•"/>
            </a:pPr>
            <a:r>
              <a:rPr lang="ru-RU" sz="2200" dirty="0"/>
              <a:t>Ликвидация </a:t>
            </a:r>
            <a:r>
              <a:rPr lang="ru-RU" sz="2200" dirty="0" smtClean="0"/>
              <a:t>большинства </a:t>
            </a:r>
            <a:r>
              <a:rPr lang="ru-RU" sz="2200" dirty="0" err="1" smtClean="0"/>
              <a:t>ГУПов</a:t>
            </a:r>
            <a:r>
              <a:rPr lang="ru-RU" sz="2200" dirty="0" smtClean="0"/>
              <a:t> </a:t>
            </a:r>
            <a:r>
              <a:rPr lang="ru-RU" sz="2200" dirty="0"/>
              <a:t>и </a:t>
            </a:r>
            <a:r>
              <a:rPr lang="ru-RU" sz="2200" dirty="0" err="1" smtClean="0"/>
              <a:t>МУПов</a:t>
            </a:r>
            <a:r>
              <a:rPr lang="ru-RU" sz="2200" dirty="0" smtClean="0"/>
              <a:t>, противоречащих МБ.</a:t>
            </a:r>
            <a:endParaRPr lang="ru-RU" sz="2200" dirty="0"/>
          </a:p>
          <a:p>
            <a:endParaRPr lang="ru-RU" sz="2000" dirty="0">
              <a:solidFill>
                <a:schemeClr val="tx2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827088" y="1196975"/>
            <a:ext cx="619125" cy="417513"/>
          </a:xfrm>
          <a:prstGeom prst="roundRect">
            <a:avLst>
              <a:gd name="adj" fmla="val 10000"/>
            </a:avLst>
          </a:prstGeom>
          <a:blipFill rotWithShape="0">
            <a:blip r:embed="rId2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Скругленный прямоугольник 11"/>
          <p:cNvSpPr/>
          <p:nvPr/>
        </p:nvSpPr>
        <p:spPr>
          <a:xfrm>
            <a:off x="900113" y="2276475"/>
            <a:ext cx="619125" cy="417513"/>
          </a:xfrm>
          <a:prstGeom prst="roundRect">
            <a:avLst>
              <a:gd name="adj" fmla="val 10000"/>
            </a:avLst>
          </a:prstGeom>
          <a:blipFill rotWithShape="0">
            <a:blip r:embed="rId2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" name="Скругленный прямоугольник 11"/>
          <p:cNvSpPr/>
          <p:nvPr/>
        </p:nvSpPr>
        <p:spPr>
          <a:xfrm>
            <a:off x="900113" y="3644900"/>
            <a:ext cx="619125" cy="417513"/>
          </a:xfrm>
          <a:prstGeom prst="roundRect">
            <a:avLst>
              <a:gd name="adj" fmla="val 10000"/>
            </a:avLst>
          </a:prstGeom>
          <a:blipFill rotWithShape="0">
            <a:blip r:embed="rId2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" name="Скругленный прямоугольник 11"/>
          <p:cNvSpPr/>
          <p:nvPr/>
        </p:nvSpPr>
        <p:spPr>
          <a:xfrm>
            <a:off x="900113" y="4868863"/>
            <a:ext cx="619125" cy="417512"/>
          </a:xfrm>
          <a:prstGeom prst="roundRect">
            <a:avLst>
              <a:gd name="adj" fmla="val 10000"/>
            </a:avLst>
          </a:prstGeom>
          <a:blipFill rotWithShape="0">
            <a:blip r:embed="rId2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D8241DF-1DF9-402C-BED3-63D6659AEF82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  <p:sp>
        <p:nvSpPr>
          <p:cNvPr id="17" name="Скругленный прямоугольник 11"/>
          <p:cNvSpPr/>
          <p:nvPr/>
        </p:nvSpPr>
        <p:spPr>
          <a:xfrm>
            <a:off x="971550" y="5661025"/>
            <a:ext cx="619125" cy="417513"/>
          </a:xfrm>
          <a:prstGeom prst="roundRect">
            <a:avLst>
              <a:gd name="adj" fmla="val 10000"/>
            </a:avLst>
          </a:prstGeom>
          <a:blipFill rotWithShape="0">
            <a:blip r:embed="rId2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18401" name="Группа 13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Овал 15"/>
            <p:cNvSpPr/>
            <p:nvPr/>
          </p:nvSpPr>
          <p:spPr>
            <a:xfrm>
              <a:off x="322263" y="500063"/>
              <a:ext cx="785812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714375" y="357188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8" name="Овал 17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9" name="Полилиния 18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2918402" name="Номер слайда 1"/>
          <p:cNvSpPr txBox="1">
            <a:spLocks noGrp="1"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endParaRPr lang="ru-RU" sz="1200">
              <a:solidFill>
                <a:srgbClr val="898989"/>
              </a:solidFill>
              <a:latin typeface="Calibri" pitchFamily="34" charset="0"/>
            </a:endParaRPr>
          </a:p>
        </p:txBody>
      </p:sp>
      <p:sp>
        <p:nvSpPr>
          <p:cNvPr id="2918403" name="Прямоугольник 2"/>
          <p:cNvSpPr>
            <a:spLocks noChangeArrowheads="1"/>
          </p:cNvSpPr>
          <p:nvPr/>
        </p:nvSpPr>
        <p:spPr bwMode="auto">
          <a:xfrm>
            <a:off x="971550" y="-120650"/>
            <a:ext cx="7254875" cy="76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200" b="1"/>
              <a:t>Основные инструменты и направления федеральной программы развития МСП </a:t>
            </a:r>
          </a:p>
        </p:txBody>
      </p:sp>
      <p:sp>
        <p:nvSpPr>
          <p:cNvPr id="2918404" name="Text Box 26"/>
          <p:cNvSpPr txBox="1">
            <a:spLocks noChangeArrowheads="1"/>
          </p:cNvSpPr>
          <p:nvPr/>
        </p:nvSpPr>
        <p:spPr bwMode="auto">
          <a:xfrm>
            <a:off x="6877050" y="5084763"/>
            <a:ext cx="1944688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400" b="1"/>
              <a:t> </a:t>
            </a:r>
            <a:endParaRPr lang="en-US" sz="2800" b="1"/>
          </a:p>
          <a:p>
            <a:pPr algn="ctr"/>
            <a:r>
              <a:rPr lang="en-US" sz="2400" b="1"/>
              <a:t> </a:t>
            </a:r>
            <a:endParaRPr lang="ru-RU" sz="2400" b="1">
              <a:latin typeface="Times New Roman" pitchFamily="18" charset="0"/>
            </a:endParaRPr>
          </a:p>
        </p:txBody>
      </p:sp>
      <p:sp>
        <p:nvSpPr>
          <p:cNvPr id="27654" name="Rectangle 14"/>
          <p:cNvSpPr>
            <a:spLocks noChangeArrowheads="1"/>
          </p:cNvSpPr>
          <p:nvPr/>
        </p:nvSpPr>
        <p:spPr bwMode="auto">
          <a:xfrm>
            <a:off x="971550" y="1195388"/>
            <a:ext cx="1728788" cy="647700"/>
          </a:xfrm>
          <a:prstGeom prst="rect">
            <a:avLst/>
          </a:prstGeom>
          <a:gradFill rotWithShape="1">
            <a:gsLst>
              <a:gs pos="0">
                <a:srgbClr val="F2F2F2"/>
              </a:gs>
              <a:gs pos="100000">
                <a:srgbClr val="C0D4EA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ru-RU" sz="1600" b="1"/>
              <a:t>Инновации и модернизация</a:t>
            </a:r>
            <a:endParaRPr lang="ru-RU" sz="1600"/>
          </a:p>
        </p:txBody>
      </p:sp>
      <p:sp>
        <p:nvSpPr>
          <p:cNvPr id="7" name="Штриховая стрелка вправо 6"/>
          <p:cNvSpPr>
            <a:spLocks/>
          </p:cNvSpPr>
          <p:nvPr/>
        </p:nvSpPr>
        <p:spPr bwMode="auto">
          <a:xfrm>
            <a:off x="2843213" y="1268413"/>
            <a:ext cx="574675" cy="504825"/>
          </a:xfrm>
          <a:custGeom>
            <a:avLst/>
            <a:gdLst>
              <a:gd name="T0" fmla="*/ 362909 w 765175"/>
              <a:gd name="T1" fmla="*/ 0 h 576263"/>
              <a:gd name="T2" fmla="*/ 0 w 765175"/>
              <a:gd name="T3" fmla="*/ 288132 h 576263"/>
              <a:gd name="T4" fmla="*/ 362909 w 765175"/>
              <a:gd name="T5" fmla="*/ 576263 h 576263"/>
              <a:gd name="T6" fmla="*/ 765175 w 765175"/>
              <a:gd name="T7" fmla="*/ 288132 h 576263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90041 w 765175"/>
              <a:gd name="T13" fmla="*/ 100506 h 576263"/>
              <a:gd name="T14" fmla="*/ 503227 w 765175"/>
              <a:gd name="T15" fmla="*/ 475757 h 57626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65175" h="576263">
                <a:moveTo>
                  <a:pt x="0" y="100506"/>
                </a:moveTo>
                <a:lnTo>
                  <a:pt x="18008" y="100506"/>
                </a:lnTo>
                <a:lnTo>
                  <a:pt x="18008" y="475757"/>
                </a:lnTo>
                <a:lnTo>
                  <a:pt x="0" y="475757"/>
                </a:lnTo>
                <a:close/>
                <a:moveTo>
                  <a:pt x="36016" y="100506"/>
                </a:moveTo>
                <a:lnTo>
                  <a:pt x="72033" y="100506"/>
                </a:lnTo>
                <a:lnTo>
                  <a:pt x="72033" y="475757"/>
                </a:lnTo>
                <a:lnTo>
                  <a:pt x="36016" y="475757"/>
                </a:lnTo>
                <a:close/>
                <a:moveTo>
                  <a:pt x="90041" y="100506"/>
                </a:moveTo>
                <a:lnTo>
                  <a:pt x="362909" y="100506"/>
                </a:lnTo>
                <a:lnTo>
                  <a:pt x="362909" y="0"/>
                </a:lnTo>
                <a:lnTo>
                  <a:pt x="765175" y="288132"/>
                </a:lnTo>
                <a:lnTo>
                  <a:pt x="362909" y="576263"/>
                </a:lnTo>
                <a:lnTo>
                  <a:pt x="362909" y="475757"/>
                </a:lnTo>
                <a:lnTo>
                  <a:pt x="90041" y="475757"/>
                </a:lnTo>
                <a:close/>
              </a:path>
            </a:pathLst>
          </a:custGeom>
          <a:gradFill rotWithShape="1">
            <a:gsLst>
              <a:gs pos="0">
                <a:srgbClr val="F2F2F2"/>
              </a:gs>
              <a:gs pos="100000">
                <a:srgbClr val="C0D4EA"/>
              </a:gs>
            </a:gsLst>
            <a:lin ang="5400000" scaled="1"/>
          </a:gradFill>
          <a:ln w="9525" cap="flat" cmpd="sng" algn="ctr">
            <a:noFill/>
            <a:prstDash val="solid"/>
            <a:miter lim="800000"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/>
            </a:pPr>
            <a:endParaRPr lang="ru-RU">
              <a:cs typeface="+mn-cs"/>
            </a:endParaRPr>
          </a:p>
        </p:txBody>
      </p:sp>
      <p:sp>
        <p:nvSpPr>
          <p:cNvPr id="27656" name="Rectangle 23"/>
          <p:cNvSpPr>
            <a:spLocks noChangeArrowheads="1"/>
          </p:cNvSpPr>
          <p:nvPr/>
        </p:nvSpPr>
        <p:spPr bwMode="auto">
          <a:xfrm>
            <a:off x="3492500" y="954088"/>
            <a:ext cx="5292725" cy="1538287"/>
          </a:xfrm>
          <a:prstGeom prst="rect">
            <a:avLst/>
          </a:prstGeom>
          <a:solidFill>
            <a:srgbClr val="C0D4EA"/>
          </a:solidFill>
          <a:ln w="27305" algn="ctr">
            <a:solidFill>
              <a:schemeClr val="bg1"/>
            </a:solidFill>
            <a:miter lim="800000"/>
            <a:headEnd/>
            <a:tailEnd/>
          </a:ln>
          <a:effectLst>
            <a:outerShdw dist="25000" dir="5400000" rotWithShape="0">
              <a:srgbClr val="5E6981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buClr>
                <a:schemeClr val="tx1"/>
              </a:buClr>
              <a:buSzPts val="1200"/>
              <a:buFontTx/>
              <a:buChar char="-"/>
              <a:defRPr/>
            </a:pPr>
            <a:r>
              <a:rPr lang="ru-RU" sz="1600" b="1">
                <a:latin typeface="Arial" pitchFamily="34" charset="0"/>
                <a:cs typeface="Arial" pitchFamily="34" charset="0"/>
              </a:rPr>
              <a:t> гранты, субсидии </a:t>
            </a:r>
            <a:br>
              <a:rPr lang="ru-RU" sz="1600" b="1">
                <a:latin typeface="Arial" pitchFamily="34" charset="0"/>
                <a:cs typeface="Arial" pitchFamily="34" charset="0"/>
              </a:rPr>
            </a:br>
            <a:r>
              <a:rPr lang="ru-RU" sz="1600" b="1">
                <a:latin typeface="Arial" pitchFamily="34" charset="0"/>
                <a:cs typeface="Arial" pitchFamily="34" charset="0"/>
              </a:rPr>
              <a:t>- центры кластерного развития, прототипирования, </a:t>
            </a:r>
            <a:endParaRPr lang="ru-RU" sz="1600">
              <a:latin typeface="Arial" pitchFamily="34" charset="0"/>
              <a:cs typeface="Arial" pitchFamily="34" charset="0"/>
            </a:endParaRPr>
          </a:p>
          <a:p>
            <a:pPr>
              <a:buClr>
                <a:schemeClr val="tx1"/>
              </a:buClr>
              <a:buSzPts val="1200"/>
              <a:buFontTx/>
              <a:buChar char="-"/>
              <a:defRPr/>
            </a:pPr>
            <a:r>
              <a:rPr lang="ru-RU" sz="1600" b="1">
                <a:latin typeface="Arial" pitchFamily="34" charset="0"/>
                <a:cs typeface="Arial" pitchFamily="34" charset="0"/>
              </a:rPr>
              <a:t> лизинг оборудования</a:t>
            </a:r>
          </a:p>
          <a:p>
            <a:pPr>
              <a:buClr>
                <a:schemeClr val="tx1"/>
              </a:buClr>
              <a:buSzPts val="1200"/>
              <a:buFontTx/>
              <a:buChar char="-"/>
              <a:defRPr/>
            </a:pPr>
            <a:r>
              <a:rPr lang="ru-RU" sz="1600" b="1">
                <a:latin typeface="Arial" pitchFamily="34" charset="0"/>
                <a:cs typeface="Arial" pitchFamily="34" charset="0"/>
              </a:rPr>
              <a:t>субсидирование % ставок по кредитам </a:t>
            </a:r>
          </a:p>
          <a:p>
            <a:pPr>
              <a:buClr>
                <a:schemeClr val="tx1"/>
              </a:buClr>
              <a:buSzPts val="1200"/>
              <a:buFontTx/>
              <a:buChar char="-"/>
              <a:defRPr/>
            </a:pPr>
            <a:r>
              <a:rPr lang="ru-RU" sz="1600" b="1">
                <a:latin typeface="Arial" pitchFamily="34" charset="0"/>
                <a:cs typeface="Arial" pitchFamily="34" charset="0"/>
              </a:rPr>
              <a:t>субсидирование покупки нового оборудования</a:t>
            </a:r>
          </a:p>
        </p:txBody>
      </p:sp>
      <p:sp>
        <p:nvSpPr>
          <p:cNvPr id="27657" name="Rectangle 14"/>
          <p:cNvSpPr>
            <a:spLocks noChangeArrowheads="1"/>
          </p:cNvSpPr>
          <p:nvPr/>
        </p:nvSpPr>
        <p:spPr bwMode="auto">
          <a:xfrm>
            <a:off x="749300" y="2492375"/>
            <a:ext cx="1951038" cy="863600"/>
          </a:xfrm>
          <a:prstGeom prst="rect">
            <a:avLst/>
          </a:prstGeom>
          <a:gradFill rotWithShape="1">
            <a:gsLst>
              <a:gs pos="0">
                <a:srgbClr val="F2F2F2"/>
              </a:gs>
              <a:gs pos="100000">
                <a:srgbClr val="C0D4EA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ru-RU" sz="1600" b="1"/>
              <a:t>Специальная</a:t>
            </a:r>
            <a:r>
              <a:rPr lang="ru-RU" sz="1600" b="1">
                <a:latin typeface="Georgia" pitchFamily="18" charset="0"/>
              </a:rPr>
              <a:t> </a:t>
            </a:r>
            <a:r>
              <a:rPr lang="ru-RU" sz="1600" b="1"/>
              <a:t>инфраструктура</a:t>
            </a:r>
            <a:endParaRPr lang="ru-RU" sz="1600"/>
          </a:p>
        </p:txBody>
      </p:sp>
      <p:sp>
        <p:nvSpPr>
          <p:cNvPr id="20" name="Штриховая стрелка вправо 6"/>
          <p:cNvSpPr>
            <a:spLocks/>
          </p:cNvSpPr>
          <p:nvPr/>
        </p:nvSpPr>
        <p:spPr bwMode="auto">
          <a:xfrm>
            <a:off x="2843213" y="2708275"/>
            <a:ext cx="574675" cy="504825"/>
          </a:xfrm>
          <a:custGeom>
            <a:avLst/>
            <a:gdLst>
              <a:gd name="T0" fmla="*/ 362909 w 765175"/>
              <a:gd name="T1" fmla="*/ 0 h 576263"/>
              <a:gd name="T2" fmla="*/ 0 w 765175"/>
              <a:gd name="T3" fmla="*/ 288132 h 576263"/>
              <a:gd name="T4" fmla="*/ 362909 w 765175"/>
              <a:gd name="T5" fmla="*/ 576263 h 576263"/>
              <a:gd name="T6" fmla="*/ 765175 w 765175"/>
              <a:gd name="T7" fmla="*/ 288132 h 576263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90041 w 765175"/>
              <a:gd name="T13" fmla="*/ 100506 h 576263"/>
              <a:gd name="T14" fmla="*/ 503227 w 765175"/>
              <a:gd name="T15" fmla="*/ 475757 h 57626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65175" h="576263">
                <a:moveTo>
                  <a:pt x="0" y="100506"/>
                </a:moveTo>
                <a:lnTo>
                  <a:pt x="18008" y="100506"/>
                </a:lnTo>
                <a:lnTo>
                  <a:pt x="18008" y="475757"/>
                </a:lnTo>
                <a:lnTo>
                  <a:pt x="0" y="475757"/>
                </a:lnTo>
                <a:close/>
                <a:moveTo>
                  <a:pt x="36016" y="100506"/>
                </a:moveTo>
                <a:lnTo>
                  <a:pt x="72033" y="100506"/>
                </a:lnTo>
                <a:lnTo>
                  <a:pt x="72033" y="475757"/>
                </a:lnTo>
                <a:lnTo>
                  <a:pt x="36016" y="475757"/>
                </a:lnTo>
                <a:close/>
                <a:moveTo>
                  <a:pt x="90041" y="100506"/>
                </a:moveTo>
                <a:lnTo>
                  <a:pt x="362909" y="100506"/>
                </a:lnTo>
                <a:lnTo>
                  <a:pt x="362909" y="0"/>
                </a:lnTo>
                <a:lnTo>
                  <a:pt x="765175" y="288132"/>
                </a:lnTo>
                <a:lnTo>
                  <a:pt x="362909" y="576263"/>
                </a:lnTo>
                <a:lnTo>
                  <a:pt x="362909" y="475757"/>
                </a:lnTo>
                <a:lnTo>
                  <a:pt x="90041" y="475757"/>
                </a:lnTo>
                <a:close/>
              </a:path>
            </a:pathLst>
          </a:custGeom>
          <a:gradFill rotWithShape="1">
            <a:gsLst>
              <a:gs pos="0">
                <a:srgbClr val="F2F2F2"/>
              </a:gs>
              <a:gs pos="100000">
                <a:srgbClr val="C0D4EA"/>
              </a:gs>
            </a:gsLst>
            <a:lin ang="5400000" scaled="1"/>
          </a:gradFill>
          <a:ln w="9525" cap="flat" cmpd="sng" algn="ctr">
            <a:noFill/>
            <a:prstDash val="solid"/>
            <a:miter lim="800000"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/>
            </a:pPr>
            <a:endParaRPr lang="ru-RU">
              <a:cs typeface="+mn-cs"/>
            </a:endParaRPr>
          </a:p>
        </p:txBody>
      </p:sp>
      <p:sp>
        <p:nvSpPr>
          <p:cNvPr id="27659" name="Rectangle 23"/>
          <p:cNvSpPr>
            <a:spLocks noChangeArrowheads="1"/>
          </p:cNvSpPr>
          <p:nvPr/>
        </p:nvSpPr>
        <p:spPr bwMode="auto">
          <a:xfrm>
            <a:off x="3492500" y="2636838"/>
            <a:ext cx="5400675" cy="720725"/>
          </a:xfrm>
          <a:prstGeom prst="rect">
            <a:avLst/>
          </a:prstGeom>
          <a:solidFill>
            <a:srgbClr val="C0D4EA"/>
          </a:solidFill>
          <a:ln w="27305" algn="ctr">
            <a:solidFill>
              <a:schemeClr val="bg1"/>
            </a:solidFill>
            <a:miter lim="800000"/>
            <a:headEnd/>
            <a:tailEnd/>
          </a:ln>
          <a:effectLst>
            <a:outerShdw dist="25000" dir="5400000" rotWithShape="0">
              <a:srgbClr val="5E6981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/>
            </a:pPr>
            <a:r>
              <a:rPr lang="ru-RU" sz="1600" b="1" dirty="0" err="1">
                <a:latin typeface="Arial" pitchFamily="34" charset="0"/>
                <a:cs typeface="Arial" pitchFamily="34" charset="0"/>
              </a:rPr>
              <a:t>бизнес-инкубаторы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, промышленные парки и технопарки</a:t>
            </a:r>
            <a:endParaRPr lang="ru-RU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7660" name="Rectangle 14"/>
          <p:cNvSpPr>
            <a:spLocks noChangeArrowheads="1"/>
          </p:cNvSpPr>
          <p:nvPr/>
        </p:nvSpPr>
        <p:spPr bwMode="auto">
          <a:xfrm>
            <a:off x="900113" y="3932238"/>
            <a:ext cx="1728787" cy="649287"/>
          </a:xfrm>
          <a:prstGeom prst="rect">
            <a:avLst/>
          </a:prstGeom>
          <a:gradFill rotWithShape="1">
            <a:gsLst>
              <a:gs pos="0">
                <a:srgbClr val="F2F2F2"/>
              </a:gs>
              <a:gs pos="100000">
                <a:srgbClr val="C0D4EA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ru-RU" sz="1600" b="1"/>
              <a:t>Финансы</a:t>
            </a:r>
            <a:endParaRPr lang="ru-RU" sz="1600"/>
          </a:p>
        </p:txBody>
      </p:sp>
      <p:sp>
        <p:nvSpPr>
          <p:cNvPr id="11" name="Штриховая стрелка вправо 6"/>
          <p:cNvSpPr>
            <a:spLocks/>
          </p:cNvSpPr>
          <p:nvPr/>
        </p:nvSpPr>
        <p:spPr bwMode="auto">
          <a:xfrm>
            <a:off x="2843213" y="4076700"/>
            <a:ext cx="574675" cy="504825"/>
          </a:xfrm>
          <a:custGeom>
            <a:avLst/>
            <a:gdLst>
              <a:gd name="T0" fmla="*/ 362909 w 765175"/>
              <a:gd name="T1" fmla="*/ 0 h 576263"/>
              <a:gd name="T2" fmla="*/ 0 w 765175"/>
              <a:gd name="T3" fmla="*/ 288132 h 576263"/>
              <a:gd name="T4" fmla="*/ 362909 w 765175"/>
              <a:gd name="T5" fmla="*/ 576263 h 576263"/>
              <a:gd name="T6" fmla="*/ 765175 w 765175"/>
              <a:gd name="T7" fmla="*/ 288132 h 576263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90041 w 765175"/>
              <a:gd name="T13" fmla="*/ 100506 h 576263"/>
              <a:gd name="T14" fmla="*/ 503227 w 765175"/>
              <a:gd name="T15" fmla="*/ 475757 h 57626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65175" h="576263">
                <a:moveTo>
                  <a:pt x="0" y="100506"/>
                </a:moveTo>
                <a:lnTo>
                  <a:pt x="18008" y="100506"/>
                </a:lnTo>
                <a:lnTo>
                  <a:pt x="18008" y="475757"/>
                </a:lnTo>
                <a:lnTo>
                  <a:pt x="0" y="475757"/>
                </a:lnTo>
                <a:close/>
                <a:moveTo>
                  <a:pt x="36016" y="100506"/>
                </a:moveTo>
                <a:lnTo>
                  <a:pt x="72033" y="100506"/>
                </a:lnTo>
                <a:lnTo>
                  <a:pt x="72033" y="475757"/>
                </a:lnTo>
                <a:lnTo>
                  <a:pt x="36016" y="475757"/>
                </a:lnTo>
                <a:close/>
                <a:moveTo>
                  <a:pt x="90041" y="100506"/>
                </a:moveTo>
                <a:lnTo>
                  <a:pt x="362909" y="100506"/>
                </a:lnTo>
                <a:lnTo>
                  <a:pt x="362909" y="0"/>
                </a:lnTo>
                <a:lnTo>
                  <a:pt x="765175" y="288132"/>
                </a:lnTo>
                <a:lnTo>
                  <a:pt x="362909" y="576263"/>
                </a:lnTo>
                <a:lnTo>
                  <a:pt x="362909" y="475757"/>
                </a:lnTo>
                <a:lnTo>
                  <a:pt x="90041" y="475757"/>
                </a:lnTo>
                <a:close/>
              </a:path>
            </a:pathLst>
          </a:custGeom>
          <a:gradFill rotWithShape="1">
            <a:gsLst>
              <a:gs pos="0">
                <a:srgbClr val="F2F2F2"/>
              </a:gs>
              <a:gs pos="100000">
                <a:srgbClr val="C0D4EA"/>
              </a:gs>
            </a:gsLst>
            <a:lin ang="5400000" scaled="1"/>
          </a:gradFill>
          <a:ln w="9525" cap="flat" cmpd="sng" algn="ctr">
            <a:noFill/>
            <a:prstDash val="solid"/>
            <a:miter lim="800000"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/>
            </a:pPr>
            <a:endParaRPr lang="ru-RU">
              <a:cs typeface="+mn-cs"/>
            </a:endParaRPr>
          </a:p>
        </p:txBody>
      </p:sp>
      <p:sp>
        <p:nvSpPr>
          <p:cNvPr id="27662" name="Rectangle 23"/>
          <p:cNvSpPr>
            <a:spLocks noChangeArrowheads="1"/>
          </p:cNvSpPr>
          <p:nvPr/>
        </p:nvSpPr>
        <p:spPr bwMode="auto">
          <a:xfrm>
            <a:off x="3492500" y="3716338"/>
            <a:ext cx="5400675" cy="1008062"/>
          </a:xfrm>
          <a:prstGeom prst="rect">
            <a:avLst/>
          </a:prstGeom>
          <a:solidFill>
            <a:srgbClr val="C0D4EA"/>
          </a:solidFill>
          <a:ln w="27305" algn="ctr">
            <a:solidFill>
              <a:schemeClr val="bg1"/>
            </a:solidFill>
            <a:miter lim="800000"/>
            <a:headEnd/>
            <a:tailEnd/>
          </a:ln>
          <a:effectLst>
            <a:outerShdw dist="25000" dir="5400000" rotWithShape="0">
              <a:srgbClr val="5E6981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/>
            </a:pPr>
            <a:r>
              <a:rPr lang="ru-RU" sz="1600" b="1">
                <a:latin typeface="Arial" pitchFamily="34" charset="0"/>
                <a:cs typeface="Arial" pitchFamily="34" charset="0"/>
              </a:rPr>
              <a:t>- гранты начинающим (приоритет - безработные, молодежь, уволенные в запас)</a:t>
            </a:r>
            <a:br>
              <a:rPr lang="ru-RU" sz="1600" b="1">
                <a:latin typeface="Arial" pitchFamily="34" charset="0"/>
                <a:cs typeface="Arial" pitchFamily="34" charset="0"/>
              </a:rPr>
            </a:br>
            <a:r>
              <a:rPr lang="ru-RU" sz="1600" b="1">
                <a:latin typeface="Arial" pitchFamily="34" charset="0"/>
                <a:cs typeface="Arial" pitchFamily="34" charset="0"/>
              </a:rPr>
              <a:t>- субсидии государственным микрофинансовым организациям и гарантийным фондам; </a:t>
            </a:r>
            <a:endParaRPr lang="ru-RU" sz="2400">
              <a:latin typeface="Arial" pitchFamily="34" charset="0"/>
              <a:cs typeface="Arial" pitchFamily="34" charset="0"/>
            </a:endParaRPr>
          </a:p>
        </p:txBody>
      </p:sp>
      <p:sp>
        <p:nvSpPr>
          <p:cNvPr id="27663" name="Rectangle 14"/>
          <p:cNvSpPr>
            <a:spLocks noChangeArrowheads="1"/>
          </p:cNvSpPr>
          <p:nvPr/>
        </p:nvSpPr>
        <p:spPr bwMode="auto">
          <a:xfrm>
            <a:off x="900113" y="4941888"/>
            <a:ext cx="1728787" cy="863600"/>
          </a:xfrm>
          <a:prstGeom prst="rect">
            <a:avLst/>
          </a:prstGeom>
          <a:gradFill rotWithShape="1">
            <a:gsLst>
              <a:gs pos="0">
                <a:srgbClr val="F2F2F2"/>
              </a:gs>
              <a:gs pos="100000">
                <a:srgbClr val="C0D4EA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 algn="ctr">
              <a:defRPr/>
            </a:pPr>
            <a:endParaRPr lang="ru-RU" b="1"/>
          </a:p>
          <a:p>
            <a:pPr algn="ctr">
              <a:defRPr/>
            </a:pPr>
            <a:r>
              <a:rPr lang="ru-RU" sz="1600" b="1"/>
              <a:t>Экспорт</a:t>
            </a:r>
            <a:endParaRPr lang="ru-RU" sz="1600"/>
          </a:p>
        </p:txBody>
      </p:sp>
      <p:sp>
        <p:nvSpPr>
          <p:cNvPr id="26" name="Штриховая стрелка вправо 6"/>
          <p:cNvSpPr>
            <a:spLocks/>
          </p:cNvSpPr>
          <p:nvPr/>
        </p:nvSpPr>
        <p:spPr bwMode="auto">
          <a:xfrm>
            <a:off x="2843213" y="5227638"/>
            <a:ext cx="574675" cy="504825"/>
          </a:xfrm>
          <a:custGeom>
            <a:avLst/>
            <a:gdLst>
              <a:gd name="T0" fmla="*/ 362909 w 765175"/>
              <a:gd name="T1" fmla="*/ 0 h 576263"/>
              <a:gd name="T2" fmla="*/ 0 w 765175"/>
              <a:gd name="T3" fmla="*/ 288132 h 576263"/>
              <a:gd name="T4" fmla="*/ 362909 w 765175"/>
              <a:gd name="T5" fmla="*/ 576263 h 576263"/>
              <a:gd name="T6" fmla="*/ 765175 w 765175"/>
              <a:gd name="T7" fmla="*/ 288132 h 576263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90041 w 765175"/>
              <a:gd name="T13" fmla="*/ 100506 h 576263"/>
              <a:gd name="T14" fmla="*/ 503227 w 765175"/>
              <a:gd name="T15" fmla="*/ 475757 h 57626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65175" h="576263">
                <a:moveTo>
                  <a:pt x="0" y="100506"/>
                </a:moveTo>
                <a:lnTo>
                  <a:pt x="18008" y="100506"/>
                </a:lnTo>
                <a:lnTo>
                  <a:pt x="18008" y="475757"/>
                </a:lnTo>
                <a:lnTo>
                  <a:pt x="0" y="475757"/>
                </a:lnTo>
                <a:close/>
                <a:moveTo>
                  <a:pt x="36016" y="100506"/>
                </a:moveTo>
                <a:lnTo>
                  <a:pt x="72033" y="100506"/>
                </a:lnTo>
                <a:lnTo>
                  <a:pt x="72033" y="475757"/>
                </a:lnTo>
                <a:lnTo>
                  <a:pt x="36016" y="475757"/>
                </a:lnTo>
                <a:close/>
                <a:moveTo>
                  <a:pt x="90041" y="100506"/>
                </a:moveTo>
                <a:lnTo>
                  <a:pt x="362909" y="100506"/>
                </a:lnTo>
                <a:lnTo>
                  <a:pt x="362909" y="0"/>
                </a:lnTo>
                <a:lnTo>
                  <a:pt x="765175" y="288132"/>
                </a:lnTo>
                <a:lnTo>
                  <a:pt x="362909" y="576263"/>
                </a:lnTo>
                <a:lnTo>
                  <a:pt x="362909" y="475757"/>
                </a:lnTo>
                <a:lnTo>
                  <a:pt x="90041" y="475757"/>
                </a:lnTo>
                <a:close/>
              </a:path>
            </a:pathLst>
          </a:custGeom>
          <a:gradFill rotWithShape="1">
            <a:gsLst>
              <a:gs pos="0">
                <a:srgbClr val="F2F2F2"/>
              </a:gs>
              <a:gs pos="100000">
                <a:srgbClr val="C0D4EA"/>
              </a:gs>
            </a:gsLst>
            <a:lin ang="5400000" scaled="1"/>
          </a:gradFill>
          <a:ln w="9525" cap="flat" cmpd="sng" algn="ctr">
            <a:noFill/>
            <a:prstDash val="solid"/>
            <a:miter lim="800000"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/>
            </a:pPr>
            <a:endParaRPr lang="ru-RU">
              <a:cs typeface="+mn-cs"/>
            </a:endParaRPr>
          </a:p>
        </p:txBody>
      </p:sp>
      <p:sp>
        <p:nvSpPr>
          <p:cNvPr id="27665" name="Rectangle 23"/>
          <p:cNvSpPr>
            <a:spLocks noChangeArrowheads="1"/>
          </p:cNvSpPr>
          <p:nvPr/>
        </p:nvSpPr>
        <p:spPr bwMode="auto">
          <a:xfrm>
            <a:off x="3563938" y="5011738"/>
            <a:ext cx="5257800" cy="1154112"/>
          </a:xfrm>
          <a:prstGeom prst="rect">
            <a:avLst/>
          </a:prstGeom>
          <a:solidFill>
            <a:srgbClr val="C0D4EA"/>
          </a:solidFill>
          <a:ln w="27305" algn="ctr">
            <a:solidFill>
              <a:schemeClr val="bg1"/>
            </a:solidFill>
            <a:miter lim="800000"/>
            <a:headEnd/>
            <a:tailEnd/>
          </a:ln>
          <a:effectLst>
            <a:outerShdw dist="25000" dir="5400000" rotWithShape="0">
              <a:srgbClr val="5E6981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/>
            </a:pPr>
            <a:r>
              <a:rPr lang="ru-RU" sz="1600" b="1">
                <a:latin typeface="Arial" pitchFamily="34" charset="0"/>
                <a:cs typeface="Arial" pitchFamily="34" charset="0"/>
              </a:rPr>
              <a:t>- компенсация затрат (% ставки, сертификации, товарный знак, охрана интеллектуальной деятельности),  выставки; </a:t>
            </a:r>
            <a:br>
              <a:rPr lang="ru-RU" sz="1600" b="1">
                <a:latin typeface="Arial" pitchFamily="34" charset="0"/>
                <a:cs typeface="Arial" pitchFamily="34" charset="0"/>
              </a:rPr>
            </a:br>
            <a:r>
              <a:rPr lang="ru-RU" sz="1600" b="1">
                <a:latin typeface="Arial" pitchFamily="34" charset="0"/>
                <a:cs typeface="Arial" pitchFamily="34" charset="0"/>
              </a:rPr>
              <a:t>- региональные центры поддержки экспорт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AEDBC8-B18E-42EB-8F6D-485A0AF6EFA7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19425" name="Группа 10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3" name="Овал 12"/>
            <p:cNvSpPr/>
            <p:nvPr/>
          </p:nvSpPr>
          <p:spPr>
            <a:xfrm>
              <a:off x="322263" y="500063"/>
              <a:ext cx="785812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714375" y="357188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Овал 14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Полилиния 15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31747" name="Rectangle 2"/>
          <p:cNvSpPr>
            <a:spLocks noGrp="1"/>
          </p:cNvSpPr>
          <p:nvPr>
            <p:ph type="title"/>
          </p:nvPr>
        </p:nvSpPr>
        <p:spPr>
          <a:xfrm>
            <a:off x="250825" y="-144463"/>
            <a:ext cx="8229600" cy="836613"/>
          </a:xfrm>
        </p:spPr>
        <p:txBody>
          <a:bodyPr/>
          <a:lstStyle/>
          <a:p>
            <a:pPr>
              <a:defRPr/>
            </a:pPr>
            <a:r>
              <a:rPr lang="ru-RU" sz="2800" b="1" dirty="0">
                <a:latin typeface="Arial" pitchFamily="34" charset="0"/>
                <a:ea typeface="+mn-ea"/>
                <a:cs typeface="Arial" pitchFamily="34" charset="0"/>
              </a:rPr>
              <a:t>Налогообложение субъектов МСП</a:t>
            </a:r>
          </a:p>
        </p:txBody>
      </p:sp>
      <p:sp>
        <p:nvSpPr>
          <p:cNvPr id="2919427" name="Rectangle 4"/>
          <p:cNvSpPr>
            <a:spLocks noGrp="1"/>
          </p:cNvSpPr>
          <p:nvPr>
            <p:ph type="body" sz="half" idx="2"/>
          </p:nvPr>
        </p:nvSpPr>
        <p:spPr>
          <a:xfrm>
            <a:off x="1187450" y="1628775"/>
            <a:ext cx="7345363" cy="1512888"/>
          </a:xfrm>
        </p:spPr>
        <p:txBody>
          <a:bodyPr/>
          <a:lstStyle/>
          <a:p>
            <a:pPr>
              <a:lnSpc>
                <a:spcPct val="114000"/>
              </a:lnSpc>
            </a:pPr>
            <a:r>
              <a:rPr lang="ru-RU" sz="2000" smtClean="0"/>
              <a:t>Упрощенная система налогообложения (доходы; доходы «минус» расходы);</a:t>
            </a:r>
          </a:p>
          <a:p>
            <a:pPr>
              <a:lnSpc>
                <a:spcPct val="114000"/>
              </a:lnSpc>
            </a:pPr>
            <a:r>
              <a:rPr lang="ru-RU" sz="2000" smtClean="0"/>
              <a:t>Единый налог на вмененный доход (применяется до 2018 г.);</a:t>
            </a:r>
          </a:p>
          <a:p>
            <a:pPr>
              <a:lnSpc>
                <a:spcPct val="114000"/>
              </a:lnSpc>
            </a:pPr>
            <a:r>
              <a:rPr lang="ru-RU" sz="2000" smtClean="0"/>
              <a:t>Единый сельскохозяйственный налог;</a:t>
            </a:r>
          </a:p>
          <a:p>
            <a:pPr>
              <a:lnSpc>
                <a:spcPct val="114000"/>
              </a:lnSpc>
            </a:pPr>
            <a:r>
              <a:rPr lang="ru-RU" sz="2000" i="1" u="sng" smtClean="0"/>
              <a:t>Патентная система налогообложения (Гл.26.5 НК РФ). </a:t>
            </a:r>
          </a:p>
          <a:p>
            <a:pPr lvl="1">
              <a:lnSpc>
                <a:spcPct val="114000"/>
              </a:lnSpc>
            </a:pPr>
            <a:r>
              <a:rPr lang="ru-RU" sz="1600" smtClean="0"/>
              <a:t>Распространяется только на ИП и применятся с 1 января 2013 года</a:t>
            </a:r>
          </a:p>
          <a:p>
            <a:pPr>
              <a:lnSpc>
                <a:spcPct val="80000"/>
              </a:lnSpc>
            </a:pPr>
            <a:endParaRPr lang="ru-RU" sz="2000" smtClean="0"/>
          </a:p>
          <a:p>
            <a:pPr>
              <a:lnSpc>
                <a:spcPct val="80000"/>
              </a:lnSpc>
            </a:pPr>
            <a:endParaRPr lang="ru-RU" sz="2000" smtClean="0"/>
          </a:p>
          <a:p>
            <a:pPr>
              <a:lnSpc>
                <a:spcPct val="80000"/>
              </a:lnSpc>
            </a:pPr>
            <a:endParaRPr lang="ru-RU" sz="2000" smtClean="0"/>
          </a:p>
        </p:txBody>
      </p:sp>
      <p:graphicFrame>
        <p:nvGraphicFramePr>
          <p:cNvPr id="29733" name="Group 37"/>
          <p:cNvGraphicFramePr>
            <a:graphicFrameLocks noGrp="1"/>
          </p:cNvGraphicFramePr>
          <p:nvPr/>
        </p:nvGraphicFramePr>
        <p:xfrm>
          <a:off x="900113" y="4365625"/>
          <a:ext cx="8064500" cy="2090739"/>
        </p:xfrm>
        <a:graphic>
          <a:graphicData uri="http://schemas.openxmlformats.org/drawingml/2006/table">
            <a:tbl>
              <a:tblPr/>
              <a:tblGrid>
                <a:gridCol w="1343025"/>
                <a:gridCol w="1344612"/>
                <a:gridCol w="1344613"/>
                <a:gridCol w="1223962"/>
                <a:gridCol w="1463675"/>
                <a:gridCol w="1344613"/>
              </a:tblGrid>
              <a:tr h="713005"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Количество плательщиков – субъектов МСП </a:t>
                      </a:r>
                      <a:b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</a:b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(в % от общего количества субъектов МСП) на 1 января 2014 г</a:t>
                      </a:r>
                    </a:p>
                  </a:txBody>
                  <a:tcPr marT="45734" marB="45734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0614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sng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УСН 6%</a:t>
                      </a:r>
                    </a:p>
                  </a:txBody>
                  <a:tcPr marT="45734" marB="45734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sng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УСН15%</a:t>
                      </a:r>
                    </a:p>
                  </a:txBody>
                  <a:tcPr marT="45734" marB="45734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sng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ЕНВД 15%</a:t>
                      </a:r>
                    </a:p>
                  </a:txBody>
                  <a:tcPr marT="45734" marB="45734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sng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ЕСХН 6%</a:t>
                      </a:r>
                    </a:p>
                  </a:txBody>
                  <a:tcPr marT="45734" marB="45734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sng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ПАТЕНТНАЯ СИСТЕМ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sng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6% </a:t>
                      </a:r>
                    </a:p>
                  </a:txBody>
                  <a:tcPr marT="45734" marB="45734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sng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Общая система налого-обложения</a:t>
                      </a:r>
                    </a:p>
                  </a:txBody>
                  <a:tcPr marT="45734" marB="45734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3715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25,8 %</a:t>
                      </a:r>
                    </a:p>
                  </a:txBody>
                  <a:tcPr marT="45734" marB="45734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13,7 %</a:t>
                      </a:r>
                    </a:p>
                  </a:txBody>
                  <a:tcPr marT="45734" marB="45734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44 %</a:t>
                      </a:r>
                    </a:p>
                  </a:txBody>
                  <a:tcPr marT="45734" marB="45734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2,5 %</a:t>
                      </a:r>
                    </a:p>
                  </a:txBody>
                  <a:tcPr marT="45734" marB="45734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2 %</a:t>
                      </a:r>
                    </a:p>
                  </a:txBody>
                  <a:tcPr marT="45734" marB="45734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12%</a:t>
                      </a:r>
                    </a:p>
                  </a:txBody>
                  <a:tcPr marT="45734" marB="45734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1116013" y="838200"/>
            <a:ext cx="6911975" cy="646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b="1" dirty="0">
                <a:latin typeface="+mj-lt"/>
              </a:rPr>
              <a:t>В России действуют следующие специальные режимы налогообложения для субъектов МСП: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5DED35A-68EF-4A0E-BA3E-EC7492A1300F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6" name="Группа 13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Овал 15"/>
            <p:cNvSpPr/>
            <p:nvPr/>
          </p:nvSpPr>
          <p:spPr>
            <a:xfrm>
              <a:off x="322263" y="500063"/>
              <a:ext cx="785812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714375" y="357188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8" name="Овал 17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9" name="Полилиния 18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5127" name="Прямоугольник 2"/>
          <p:cNvSpPr>
            <a:spLocks noChangeArrowheads="1"/>
          </p:cNvSpPr>
          <p:nvPr/>
        </p:nvSpPr>
        <p:spPr bwMode="auto">
          <a:xfrm>
            <a:off x="989013" y="44450"/>
            <a:ext cx="725487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800" b="1"/>
              <a:t>Финансовая поддержка МСП </a:t>
            </a:r>
          </a:p>
        </p:txBody>
      </p:sp>
      <p:sp>
        <p:nvSpPr>
          <p:cNvPr id="5128" name="Text Box 26"/>
          <p:cNvSpPr txBox="1">
            <a:spLocks noChangeArrowheads="1"/>
          </p:cNvSpPr>
          <p:nvPr/>
        </p:nvSpPr>
        <p:spPr bwMode="auto">
          <a:xfrm>
            <a:off x="6877050" y="4797425"/>
            <a:ext cx="1944688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400" b="1"/>
              <a:t> </a:t>
            </a:r>
            <a:endParaRPr lang="en-US" sz="2800" b="1"/>
          </a:p>
          <a:p>
            <a:pPr algn="ctr"/>
            <a:r>
              <a:rPr lang="en-US" sz="2400" b="1"/>
              <a:t> </a:t>
            </a:r>
            <a:endParaRPr lang="ru-RU" sz="2400" b="1">
              <a:latin typeface="Times New Roman" pitchFamily="18" charset="0"/>
            </a:endParaRPr>
          </a:p>
        </p:txBody>
      </p:sp>
      <p:graphicFrame>
        <p:nvGraphicFramePr>
          <p:cNvPr id="5124" name="Object 4"/>
          <p:cNvGraphicFramePr>
            <a:graphicFrameLocks/>
          </p:cNvGraphicFramePr>
          <p:nvPr/>
        </p:nvGraphicFramePr>
        <p:xfrm>
          <a:off x="1476375" y="908050"/>
          <a:ext cx="6838950" cy="2676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Лист" r:id="rId3" imgW="6839085" imgH="2686050" progId="Excel.Sheet.8">
                  <p:embed/>
                </p:oleObj>
              </mc:Choice>
              <mc:Fallback>
                <p:oleObj name="Лист" r:id="rId3" imgW="6839085" imgH="2686050" progId="Excel.Sheet.8">
                  <p:embed/>
                  <p:pic>
                    <p:nvPicPr>
                      <p:cNvPr id="0" name="Picture 6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6375" y="908050"/>
                        <a:ext cx="6838950" cy="26765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25" name="Object 5"/>
          <p:cNvGraphicFramePr>
            <a:graphicFrameLocks/>
          </p:cNvGraphicFramePr>
          <p:nvPr/>
        </p:nvGraphicFramePr>
        <p:xfrm>
          <a:off x="1331913" y="3357563"/>
          <a:ext cx="7448550" cy="3057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Лист" r:id="rId5" imgW="7448685" imgH="3066960" progId="Excel.Sheet.8">
                  <p:embed/>
                </p:oleObj>
              </mc:Choice>
              <mc:Fallback>
                <p:oleObj name="Лист" r:id="rId5" imgW="7448685" imgH="3066960" progId="Excel.Sheet.8">
                  <p:embed/>
                  <p:pic>
                    <p:nvPicPr>
                      <p:cNvPr id="0" name="Picture 7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31913" y="3357563"/>
                        <a:ext cx="7448550" cy="30575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9" name="Прямоугольник 6"/>
          <p:cNvSpPr>
            <a:spLocks noChangeArrowheads="1"/>
          </p:cNvSpPr>
          <p:nvPr/>
        </p:nvSpPr>
        <p:spPr bwMode="auto">
          <a:xfrm>
            <a:off x="6227763" y="5949950"/>
            <a:ext cx="2809875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>
                <a:solidFill>
                  <a:srgbClr val="FF0000"/>
                </a:solidFill>
                <a:sym typeface="Symbol" pitchFamily="18" charset="2"/>
              </a:rPr>
              <a:t></a:t>
            </a:r>
            <a:r>
              <a:rPr lang="ru-RU" sz="1200" i="1"/>
              <a:t> В 2012 году финансирование Минздравом РФ было переведено на региональный уровень.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6A0916A-DC54-446F-B568-390E4387357A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23521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7888" y="122238"/>
            <a:ext cx="4945062" cy="661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A3103C0-6342-4156-9832-1FEC9E4D64EE}" type="slidenum">
              <a:rPr lang="ru-RU" smtClean="0"/>
              <a:pPr>
                <a:defRPr/>
              </a:pPr>
              <a:t>14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4545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2924546" name="TextBox 6"/>
          <p:cNvSpPr txBox="1">
            <a:spLocks noChangeArrowheads="1"/>
          </p:cNvSpPr>
          <p:nvPr/>
        </p:nvSpPr>
        <p:spPr bwMode="auto">
          <a:xfrm>
            <a:off x="1325563" y="47625"/>
            <a:ext cx="74295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800" b="1"/>
              <a:t>Регионы-лидеры и регионы-аутсайдеры</a:t>
            </a:r>
          </a:p>
        </p:txBody>
      </p:sp>
      <p:grpSp>
        <p:nvGrpSpPr>
          <p:cNvPr id="2924547" name="Группа 11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Овал 13"/>
            <p:cNvSpPr/>
            <p:nvPr/>
          </p:nvSpPr>
          <p:spPr>
            <a:xfrm>
              <a:off x="322263" y="500063"/>
              <a:ext cx="785812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723900" y="357188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Овал 15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7" name="Полилиния 16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714375" y="6597650"/>
            <a:ext cx="3929063" cy="215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850E4F-4A95-454C-A288-B4CB78F9992B}" type="slidenum">
              <a:rPr lang="ru-RU" smtClean="0"/>
              <a:pPr>
                <a:defRPr/>
              </a:pPr>
              <a:t>15</a:t>
            </a:fld>
            <a:endParaRPr lang="ru-RU"/>
          </a:p>
        </p:txBody>
      </p:sp>
      <p:pic>
        <p:nvPicPr>
          <p:cNvPr id="2924550" name="Picture 1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725" y="1773238"/>
            <a:ext cx="8388350" cy="158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24551" name="Picture 1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0725" y="4437063"/>
            <a:ext cx="8388350" cy="143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24552" name="Text Box 17"/>
          <p:cNvSpPr txBox="1">
            <a:spLocks noChangeArrowheads="1"/>
          </p:cNvSpPr>
          <p:nvPr/>
        </p:nvSpPr>
        <p:spPr bwMode="auto">
          <a:xfrm>
            <a:off x="1168400" y="1144588"/>
            <a:ext cx="76184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400"/>
              <a:t>Регионы с лучшим предпринимательским климатом</a:t>
            </a:r>
          </a:p>
        </p:txBody>
      </p:sp>
      <p:sp>
        <p:nvSpPr>
          <p:cNvPr id="2924553" name="Text Box 18"/>
          <p:cNvSpPr txBox="1">
            <a:spLocks noChangeArrowheads="1"/>
          </p:cNvSpPr>
          <p:nvPr/>
        </p:nvSpPr>
        <p:spPr bwMode="auto">
          <a:xfrm>
            <a:off x="1116013" y="3789363"/>
            <a:ext cx="760095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400"/>
              <a:t>Регионы с худшим предпринимательским климатом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5569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2925570" name="TextBox 6"/>
          <p:cNvSpPr txBox="1">
            <a:spLocks noChangeArrowheads="1"/>
          </p:cNvSpPr>
          <p:nvPr/>
        </p:nvSpPr>
        <p:spPr bwMode="auto">
          <a:xfrm>
            <a:off x="1319213" y="0"/>
            <a:ext cx="74295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800" b="1"/>
              <a:t>Регионы-лидеры и регионы-аутсайдеры</a:t>
            </a:r>
          </a:p>
        </p:txBody>
      </p:sp>
      <p:grpSp>
        <p:nvGrpSpPr>
          <p:cNvPr id="2925571" name="Группа 11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0" y="0"/>
              <a:ext cx="357188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Овал 13"/>
            <p:cNvSpPr/>
            <p:nvPr/>
          </p:nvSpPr>
          <p:spPr>
            <a:xfrm>
              <a:off x="322263" y="500063"/>
              <a:ext cx="785812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723900" y="357188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Овал 15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7" name="Полилиния 16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714375" y="6597650"/>
            <a:ext cx="3929063" cy="215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" name="Нижний колонтитул 2"/>
          <p:cNvSpPr txBox="1">
            <a:spLocks noGrp="1"/>
          </p:cNvSpPr>
          <p:nvPr/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Номер слайда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35F69C67-99F3-4C72-9C57-DAB7BF5B4392}" type="slidenum">
              <a:rPr lang="ru-RU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6</a:t>
            </a:fld>
            <a:endParaRPr lang="ru-RU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pic>
        <p:nvPicPr>
          <p:cNvPr id="2925575" name="Picture 1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4038" y="908050"/>
            <a:ext cx="4464050" cy="594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25576" name="Picture 1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64075" y="908050"/>
            <a:ext cx="4498975" cy="587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659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2926594" name="TextBox 6"/>
          <p:cNvSpPr txBox="1">
            <a:spLocks noChangeArrowheads="1"/>
          </p:cNvSpPr>
          <p:nvPr/>
        </p:nvSpPr>
        <p:spPr bwMode="auto">
          <a:xfrm>
            <a:off x="1619250" y="0"/>
            <a:ext cx="7429500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400" b="1"/>
              <a:t>Наиболее серьезные препятствия для роста инвестиционной привлекательности МСП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714375" y="6597650"/>
            <a:ext cx="3929063" cy="215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2926596" name="Picture 1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5650" y="1125538"/>
            <a:ext cx="8388350" cy="4954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042E5B-E3F5-4D20-BBE1-BA98F1444998}" type="slidenum">
              <a:rPr lang="ru-RU" smtClean="0"/>
              <a:pPr>
                <a:defRPr/>
              </a:pPr>
              <a:t>17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0" y="0"/>
            <a:ext cx="714375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27617" name="Группа 1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5" name="Прямоугольник 4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6" name="Овал 5"/>
            <p:cNvSpPr/>
            <p:nvPr/>
          </p:nvSpPr>
          <p:spPr>
            <a:xfrm>
              <a:off x="322263" y="500063"/>
              <a:ext cx="785812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723900" y="357188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8" name="Овал 7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9" name="Полилиния 8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292761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684213" y="0"/>
            <a:ext cx="8208962" cy="620713"/>
          </a:xfrm>
        </p:spPr>
        <p:txBody>
          <a:bodyPr lIns="90487" tIns="44450" rIns="90487" bIns="44450"/>
          <a:lstStyle/>
          <a:p>
            <a:pPr defTabSz="8534400" eaLnBrk="1" hangingPunct="1">
              <a:tabLst>
                <a:tab pos="8458200" algn="dec"/>
              </a:tabLst>
            </a:pPr>
            <a:r>
              <a:rPr lang="ru-RU" sz="2400" b="1" smtClean="0">
                <a:latin typeface="Arial" charset="0"/>
              </a:rPr>
              <a:t>Малые предприятия в промышленности сегодня </a:t>
            </a:r>
          </a:p>
        </p:txBody>
      </p:sp>
      <p:sp>
        <p:nvSpPr>
          <p:cNvPr id="2927619" name="Freeform 3"/>
          <p:cNvSpPr>
            <a:spLocks/>
          </p:cNvSpPr>
          <p:nvPr/>
        </p:nvSpPr>
        <p:spPr bwMode="auto">
          <a:xfrm>
            <a:off x="6699250" y="3284538"/>
            <a:ext cx="1660525" cy="1368425"/>
          </a:xfrm>
          <a:custGeom>
            <a:avLst/>
            <a:gdLst>
              <a:gd name="T0" fmla="*/ 2147483647 w 1111"/>
              <a:gd name="T1" fmla="*/ 2147483647 h 832"/>
              <a:gd name="T2" fmla="*/ 2147483647 w 1111"/>
              <a:gd name="T3" fmla="*/ 2147483647 h 832"/>
              <a:gd name="T4" fmla="*/ 2147483647 w 1111"/>
              <a:gd name="T5" fmla="*/ 2147483647 h 832"/>
              <a:gd name="T6" fmla="*/ 2147483647 w 1111"/>
              <a:gd name="T7" fmla="*/ 2147483647 h 832"/>
              <a:gd name="T8" fmla="*/ 2147483647 w 1111"/>
              <a:gd name="T9" fmla="*/ 2147483647 h 832"/>
              <a:gd name="T10" fmla="*/ 2147483647 w 1111"/>
              <a:gd name="T11" fmla="*/ 2147483647 h 832"/>
              <a:gd name="T12" fmla="*/ 2147483647 w 1111"/>
              <a:gd name="T13" fmla="*/ 2147483647 h 832"/>
              <a:gd name="T14" fmla="*/ 2147483647 w 1111"/>
              <a:gd name="T15" fmla="*/ 2147483647 h 832"/>
              <a:gd name="T16" fmla="*/ 2147483647 w 1111"/>
              <a:gd name="T17" fmla="*/ 2147483647 h 832"/>
              <a:gd name="T18" fmla="*/ 2147483647 w 1111"/>
              <a:gd name="T19" fmla="*/ 2147483647 h 83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111"/>
              <a:gd name="T31" fmla="*/ 0 h 832"/>
              <a:gd name="T32" fmla="*/ 1111 w 1111"/>
              <a:gd name="T33" fmla="*/ 832 h 83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111" h="832">
                <a:moveTo>
                  <a:pt x="136" y="144"/>
                </a:moveTo>
                <a:cubicBezTo>
                  <a:pt x="98" y="235"/>
                  <a:pt x="0" y="461"/>
                  <a:pt x="45" y="552"/>
                </a:cubicBezTo>
                <a:cubicBezTo>
                  <a:pt x="90" y="643"/>
                  <a:pt x="317" y="643"/>
                  <a:pt x="408" y="688"/>
                </a:cubicBezTo>
                <a:cubicBezTo>
                  <a:pt x="499" y="733"/>
                  <a:pt x="499" y="832"/>
                  <a:pt x="590" y="824"/>
                </a:cubicBezTo>
                <a:cubicBezTo>
                  <a:pt x="681" y="816"/>
                  <a:pt x="869" y="718"/>
                  <a:pt x="952" y="643"/>
                </a:cubicBezTo>
                <a:cubicBezTo>
                  <a:pt x="1035" y="568"/>
                  <a:pt x="1111" y="469"/>
                  <a:pt x="1088" y="371"/>
                </a:cubicBezTo>
                <a:cubicBezTo>
                  <a:pt x="1065" y="273"/>
                  <a:pt x="899" y="98"/>
                  <a:pt x="816" y="53"/>
                </a:cubicBezTo>
                <a:cubicBezTo>
                  <a:pt x="733" y="8"/>
                  <a:pt x="681" y="106"/>
                  <a:pt x="590" y="98"/>
                </a:cubicBezTo>
                <a:cubicBezTo>
                  <a:pt x="499" y="90"/>
                  <a:pt x="348" y="0"/>
                  <a:pt x="272" y="8"/>
                </a:cubicBezTo>
                <a:cubicBezTo>
                  <a:pt x="196" y="16"/>
                  <a:pt x="174" y="53"/>
                  <a:pt x="136" y="144"/>
                </a:cubicBezTo>
                <a:close/>
              </a:path>
            </a:pathLst>
          </a:custGeom>
          <a:solidFill>
            <a:srgbClr val="BEFCB6"/>
          </a:solidFill>
          <a:ln w="28575">
            <a:solidFill>
              <a:srgbClr val="00CC00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ru-RU"/>
          </a:p>
        </p:txBody>
      </p:sp>
      <p:sp>
        <p:nvSpPr>
          <p:cNvPr id="2927620" name="Freeform 4"/>
          <p:cNvSpPr>
            <a:spLocks/>
          </p:cNvSpPr>
          <p:nvPr/>
        </p:nvSpPr>
        <p:spPr bwMode="auto">
          <a:xfrm>
            <a:off x="4837113" y="2565400"/>
            <a:ext cx="531812" cy="576263"/>
          </a:xfrm>
          <a:custGeom>
            <a:avLst/>
            <a:gdLst>
              <a:gd name="T0" fmla="*/ 2147483647 w 430"/>
              <a:gd name="T1" fmla="*/ 2147483647 h 355"/>
              <a:gd name="T2" fmla="*/ 2147483647 w 430"/>
              <a:gd name="T3" fmla="*/ 2147483647 h 355"/>
              <a:gd name="T4" fmla="*/ 2147483647 w 430"/>
              <a:gd name="T5" fmla="*/ 2147483647 h 355"/>
              <a:gd name="T6" fmla="*/ 2147483647 w 430"/>
              <a:gd name="T7" fmla="*/ 2147483647 h 355"/>
              <a:gd name="T8" fmla="*/ 2147483647 w 430"/>
              <a:gd name="T9" fmla="*/ 2147483647 h 355"/>
              <a:gd name="T10" fmla="*/ 2147483647 w 430"/>
              <a:gd name="T11" fmla="*/ 2147483647 h 355"/>
              <a:gd name="T12" fmla="*/ 2147483647 w 430"/>
              <a:gd name="T13" fmla="*/ 2147483647 h 35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30"/>
              <a:gd name="T22" fmla="*/ 0 h 355"/>
              <a:gd name="T23" fmla="*/ 430 w 430"/>
              <a:gd name="T24" fmla="*/ 355 h 35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30" h="355">
                <a:moveTo>
                  <a:pt x="143" y="30"/>
                </a:moveTo>
                <a:cubicBezTo>
                  <a:pt x="83" y="60"/>
                  <a:pt x="0" y="159"/>
                  <a:pt x="7" y="212"/>
                </a:cubicBezTo>
                <a:cubicBezTo>
                  <a:pt x="14" y="265"/>
                  <a:pt x="143" y="341"/>
                  <a:pt x="188" y="348"/>
                </a:cubicBezTo>
                <a:cubicBezTo>
                  <a:pt x="233" y="355"/>
                  <a:pt x="241" y="280"/>
                  <a:pt x="279" y="257"/>
                </a:cubicBezTo>
                <a:cubicBezTo>
                  <a:pt x="317" y="234"/>
                  <a:pt x="400" y="250"/>
                  <a:pt x="415" y="212"/>
                </a:cubicBezTo>
                <a:cubicBezTo>
                  <a:pt x="430" y="174"/>
                  <a:pt x="414" y="60"/>
                  <a:pt x="369" y="30"/>
                </a:cubicBezTo>
                <a:cubicBezTo>
                  <a:pt x="324" y="0"/>
                  <a:pt x="203" y="0"/>
                  <a:pt x="143" y="30"/>
                </a:cubicBezTo>
                <a:close/>
              </a:path>
            </a:pathLst>
          </a:custGeom>
          <a:solidFill>
            <a:srgbClr val="FEE2B0"/>
          </a:solidFill>
          <a:ln w="19050">
            <a:solidFill>
              <a:srgbClr val="00CC00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ru-RU"/>
          </a:p>
        </p:txBody>
      </p:sp>
      <p:grpSp>
        <p:nvGrpSpPr>
          <p:cNvPr id="2927621" name="Group 5"/>
          <p:cNvGrpSpPr>
            <a:grpSpLocks/>
          </p:cNvGrpSpPr>
          <p:nvPr/>
        </p:nvGrpSpPr>
        <p:grpSpPr bwMode="auto">
          <a:xfrm>
            <a:off x="4970463" y="2708275"/>
            <a:ext cx="266700" cy="290513"/>
            <a:chOff x="4118" y="2341"/>
            <a:chExt cx="725" cy="772"/>
          </a:xfrm>
        </p:grpSpPr>
        <p:sp>
          <p:nvSpPr>
            <p:cNvPr id="2927682" name="AutoShape 6"/>
            <p:cNvSpPr>
              <a:spLocks noChangeArrowheads="1"/>
            </p:cNvSpPr>
            <p:nvPr/>
          </p:nvSpPr>
          <p:spPr bwMode="auto">
            <a:xfrm rot="10800000">
              <a:off x="4118" y="2704"/>
              <a:ext cx="408" cy="363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17694720 60000 65536"/>
                <a:gd name="T11" fmla="*/ 5898240 60000 65536"/>
                <a:gd name="T12" fmla="*/ 5898240 60000 65536"/>
                <a:gd name="T13" fmla="*/ 5898240 60000 65536"/>
                <a:gd name="T14" fmla="*/ 0 60000 65536"/>
                <a:gd name="T15" fmla="*/ 0 w 21600"/>
                <a:gd name="T16" fmla="*/ 8331 h 21600"/>
                <a:gd name="T17" fmla="*/ 6088 w 21600"/>
                <a:gd name="T18" fmla="*/ 21600 h 216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600" h="21600">
                  <a:moveTo>
                    <a:pt x="15662" y="14285"/>
                  </a:moveTo>
                  <a:lnTo>
                    <a:pt x="21600" y="8310"/>
                  </a:lnTo>
                  <a:lnTo>
                    <a:pt x="18630" y="8310"/>
                  </a:lnTo>
                  <a:cubicBezTo>
                    <a:pt x="18630" y="3721"/>
                    <a:pt x="14430" y="0"/>
                    <a:pt x="9250" y="0"/>
                  </a:cubicBezTo>
                  <a:cubicBezTo>
                    <a:pt x="4141" y="0"/>
                    <a:pt x="0" y="3799"/>
                    <a:pt x="0" y="8485"/>
                  </a:cubicBezTo>
                  <a:lnTo>
                    <a:pt x="0" y="21600"/>
                  </a:lnTo>
                  <a:lnTo>
                    <a:pt x="6110" y="21600"/>
                  </a:lnTo>
                  <a:lnTo>
                    <a:pt x="6110" y="8310"/>
                  </a:lnTo>
                  <a:cubicBezTo>
                    <a:pt x="6110" y="6947"/>
                    <a:pt x="7362" y="5842"/>
                    <a:pt x="8907" y="5842"/>
                  </a:cubicBezTo>
                  <a:lnTo>
                    <a:pt x="9725" y="5842"/>
                  </a:lnTo>
                  <a:cubicBezTo>
                    <a:pt x="11269" y="5842"/>
                    <a:pt x="12520" y="6947"/>
                    <a:pt x="12520" y="8310"/>
                  </a:cubicBezTo>
                  <a:lnTo>
                    <a:pt x="9725" y="8310"/>
                  </a:lnTo>
                  <a:lnTo>
                    <a:pt x="15662" y="14285"/>
                  </a:lnTo>
                  <a:close/>
                </a:path>
              </a:pathLst>
            </a:custGeom>
            <a:solidFill>
              <a:srgbClr val="663300"/>
            </a:solidFill>
            <a:ln w="12700">
              <a:solidFill>
                <a:srgbClr val="663300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endParaRPr lang="ru-RU"/>
            </a:p>
          </p:txBody>
        </p:sp>
        <p:sp>
          <p:nvSpPr>
            <p:cNvPr id="2927683" name="AutoShape 7"/>
            <p:cNvSpPr>
              <a:spLocks noChangeArrowheads="1"/>
            </p:cNvSpPr>
            <p:nvPr/>
          </p:nvSpPr>
          <p:spPr bwMode="auto">
            <a:xfrm rot="10800000" flipH="1">
              <a:off x="4435" y="2704"/>
              <a:ext cx="408" cy="363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17694720 60000 65536"/>
                <a:gd name="T11" fmla="*/ 5898240 60000 65536"/>
                <a:gd name="T12" fmla="*/ 5898240 60000 65536"/>
                <a:gd name="T13" fmla="*/ 5898240 60000 65536"/>
                <a:gd name="T14" fmla="*/ 0 60000 65536"/>
                <a:gd name="T15" fmla="*/ 0 w 21600"/>
                <a:gd name="T16" fmla="*/ 8331 h 21600"/>
                <a:gd name="T17" fmla="*/ 6088 w 21600"/>
                <a:gd name="T18" fmla="*/ 21600 h 216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600" h="21600">
                  <a:moveTo>
                    <a:pt x="15662" y="14285"/>
                  </a:moveTo>
                  <a:lnTo>
                    <a:pt x="21600" y="8310"/>
                  </a:lnTo>
                  <a:lnTo>
                    <a:pt x="18630" y="8310"/>
                  </a:lnTo>
                  <a:cubicBezTo>
                    <a:pt x="18630" y="3721"/>
                    <a:pt x="14430" y="0"/>
                    <a:pt x="9250" y="0"/>
                  </a:cubicBezTo>
                  <a:cubicBezTo>
                    <a:pt x="4141" y="0"/>
                    <a:pt x="0" y="3799"/>
                    <a:pt x="0" y="8485"/>
                  </a:cubicBezTo>
                  <a:lnTo>
                    <a:pt x="0" y="21600"/>
                  </a:lnTo>
                  <a:lnTo>
                    <a:pt x="6110" y="21600"/>
                  </a:lnTo>
                  <a:lnTo>
                    <a:pt x="6110" y="8310"/>
                  </a:lnTo>
                  <a:cubicBezTo>
                    <a:pt x="6110" y="6947"/>
                    <a:pt x="7362" y="5842"/>
                    <a:pt x="8907" y="5842"/>
                  </a:cubicBezTo>
                  <a:lnTo>
                    <a:pt x="9725" y="5842"/>
                  </a:lnTo>
                  <a:cubicBezTo>
                    <a:pt x="11269" y="5842"/>
                    <a:pt x="12520" y="6947"/>
                    <a:pt x="12520" y="8310"/>
                  </a:cubicBezTo>
                  <a:lnTo>
                    <a:pt x="9725" y="8310"/>
                  </a:lnTo>
                  <a:lnTo>
                    <a:pt x="15662" y="14285"/>
                  </a:lnTo>
                  <a:close/>
                </a:path>
              </a:pathLst>
            </a:custGeom>
            <a:solidFill>
              <a:srgbClr val="663300"/>
            </a:solidFill>
            <a:ln w="12700">
              <a:solidFill>
                <a:srgbClr val="663300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endParaRPr lang="ru-RU"/>
            </a:p>
          </p:txBody>
        </p:sp>
        <p:sp>
          <p:nvSpPr>
            <p:cNvPr id="2927684" name="AutoShape 8"/>
            <p:cNvSpPr>
              <a:spLocks noChangeArrowheads="1"/>
            </p:cNvSpPr>
            <p:nvPr/>
          </p:nvSpPr>
          <p:spPr bwMode="auto">
            <a:xfrm>
              <a:off x="4299" y="2976"/>
              <a:ext cx="363" cy="137"/>
            </a:xfrm>
            <a:prstGeom prst="downArrow">
              <a:avLst>
                <a:gd name="adj1" fmla="val 49861"/>
                <a:gd name="adj2" fmla="val 38685"/>
              </a:avLst>
            </a:prstGeom>
            <a:solidFill>
              <a:srgbClr val="663300"/>
            </a:solidFill>
            <a:ln w="12700">
              <a:solidFill>
                <a:srgbClr val="663300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85" name="Rectangle 9"/>
            <p:cNvSpPr>
              <a:spLocks noChangeArrowheads="1"/>
            </p:cNvSpPr>
            <p:nvPr/>
          </p:nvSpPr>
          <p:spPr bwMode="auto">
            <a:xfrm>
              <a:off x="4345" y="2568"/>
              <a:ext cx="272" cy="136"/>
            </a:xfrm>
            <a:prstGeom prst="rect">
              <a:avLst/>
            </a:prstGeom>
            <a:solidFill>
              <a:srgbClr val="663300"/>
            </a:solidFill>
            <a:ln w="12700">
              <a:solidFill>
                <a:srgbClr val="663300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86" name="AutoShape 10"/>
            <p:cNvSpPr>
              <a:spLocks noChangeArrowheads="1"/>
            </p:cNvSpPr>
            <p:nvPr/>
          </p:nvSpPr>
          <p:spPr bwMode="auto">
            <a:xfrm>
              <a:off x="4345" y="2341"/>
              <a:ext cx="272" cy="227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76 w 21600"/>
                <a:gd name="T25" fmla="*/ 3140 h 21600"/>
                <a:gd name="T26" fmla="*/ 18424 w 21600"/>
                <a:gd name="T27" fmla="*/ 1846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7232" y="10800"/>
                  </a:moveTo>
                  <a:cubicBezTo>
                    <a:pt x="7232" y="12771"/>
                    <a:pt x="8829" y="14368"/>
                    <a:pt x="10800" y="14368"/>
                  </a:cubicBezTo>
                  <a:cubicBezTo>
                    <a:pt x="12771" y="14368"/>
                    <a:pt x="14368" y="12771"/>
                    <a:pt x="14368" y="10800"/>
                  </a:cubicBezTo>
                  <a:cubicBezTo>
                    <a:pt x="14368" y="8829"/>
                    <a:pt x="12771" y="7232"/>
                    <a:pt x="10800" y="7232"/>
                  </a:cubicBezTo>
                  <a:cubicBezTo>
                    <a:pt x="8829" y="7232"/>
                    <a:pt x="7232" y="8829"/>
                    <a:pt x="7232" y="10800"/>
                  </a:cubicBezTo>
                  <a:close/>
                </a:path>
              </a:pathLst>
            </a:custGeom>
            <a:solidFill>
              <a:srgbClr val="663300"/>
            </a:solidFill>
            <a:ln w="12700">
              <a:solidFill>
                <a:srgbClr val="663300"/>
              </a:solidFill>
              <a:round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endParaRPr lang="ru-RU"/>
            </a:p>
          </p:txBody>
        </p:sp>
      </p:grpSp>
      <p:sp>
        <p:nvSpPr>
          <p:cNvPr id="2927622" name="Freeform 11"/>
          <p:cNvSpPr>
            <a:spLocks/>
          </p:cNvSpPr>
          <p:nvPr/>
        </p:nvSpPr>
        <p:spPr bwMode="auto">
          <a:xfrm>
            <a:off x="4870450" y="3571875"/>
            <a:ext cx="500063" cy="503238"/>
          </a:xfrm>
          <a:custGeom>
            <a:avLst/>
            <a:gdLst>
              <a:gd name="T0" fmla="*/ 2147483647 w 386"/>
              <a:gd name="T1" fmla="*/ 2147483647 h 325"/>
              <a:gd name="T2" fmla="*/ 0 w 386"/>
              <a:gd name="T3" fmla="*/ 2147483647 h 325"/>
              <a:gd name="T4" fmla="*/ 2147483647 w 386"/>
              <a:gd name="T5" fmla="*/ 2147483647 h 325"/>
              <a:gd name="T6" fmla="*/ 2147483647 w 386"/>
              <a:gd name="T7" fmla="*/ 2147483647 h 325"/>
              <a:gd name="T8" fmla="*/ 2147483647 w 386"/>
              <a:gd name="T9" fmla="*/ 2147483647 h 325"/>
              <a:gd name="T10" fmla="*/ 2147483647 w 386"/>
              <a:gd name="T11" fmla="*/ 2147483647 h 325"/>
              <a:gd name="T12" fmla="*/ 2147483647 w 386"/>
              <a:gd name="T13" fmla="*/ 2147483647 h 325"/>
              <a:gd name="T14" fmla="*/ 2147483647 w 386"/>
              <a:gd name="T15" fmla="*/ 2147483647 h 32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86"/>
              <a:gd name="T25" fmla="*/ 0 h 325"/>
              <a:gd name="T26" fmla="*/ 386 w 386"/>
              <a:gd name="T27" fmla="*/ 325 h 32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86" h="325">
                <a:moveTo>
                  <a:pt x="45" y="38"/>
                </a:moveTo>
                <a:cubicBezTo>
                  <a:pt x="15" y="76"/>
                  <a:pt x="0" y="220"/>
                  <a:pt x="0" y="265"/>
                </a:cubicBezTo>
                <a:cubicBezTo>
                  <a:pt x="0" y="310"/>
                  <a:pt x="7" y="303"/>
                  <a:pt x="45" y="310"/>
                </a:cubicBezTo>
                <a:cubicBezTo>
                  <a:pt x="83" y="317"/>
                  <a:pt x="182" y="325"/>
                  <a:pt x="227" y="310"/>
                </a:cubicBezTo>
                <a:cubicBezTo>
                  <a:pt x="272" y="295"/>
                  <a:pt x="294" y="265"/>
                  <a:pt x="317" y="220"/>
                </a:cubicBezTo>
                <a:cubicBezTo>
                  <a:pt x="340" y="175"/>
                  <a:pt x="386" y="68"/>
                  <a:pt x="363" y="38"/>
                </a:cubicBezTo>
                <a:cubicBezTo>
                  <a:pt x="340" y="8"/>
                  <a:pt x="234" y="38"/>
                  <a:pt x="181" y="38"/>
                </a:cubicBezTo>
                <a:cubicBezTo>
                  <a:pt x="128" y="38"/>
                  <a:pt x="75" y="0"/>
                  <a:pt x="45" y="38"/>
                </a:cubicBezTo>
                <a:close/>
              </a:path>
            </a:pathLst>
          </a:custGeom>
          <a:solidFill>
            <a:srgbClr val="FEE2B0"/>
          </a:solidFill>
          <a:ln w="19050">
            <a:solidFill>
              <a:srgbClr val="00CC00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ru-RU"/>
          </a:p>
        </p:txBody>
      </p:sp>
      <p:grpSp>
        <p:nvGrpSpPr>
          <p:cNvPr id="2927623" name="Group 12"/>
          <p:cNvGrpSpPr>
            <a:grpSpLocks/>
          </p:cNvGrpSpPr>
          <p:nvPr/>
        </p:nvGrpSpPr>
        <p:grpSpPr bwMode="auto">
          <a:xfrm>
            <a:off x="4970463" y="3716338"/>
            <a:ext cx="266700" cy="292100"/>
            <a:chOff x="4118" y="2341"/>
            <a:chExt cx="725" cy="772"/>
          </a:xfrm>
        </p:grpSpPr>
        <p:sp>
          <p:nvSpPr>
            <p:cNvPr id="2927677" name="AutoShape 13"/>
            <p:cNvSpPr>
              <a:spLocks noChangeArrowheads="1"/>
            </p:cNvSpPr>
            <p:nvPr/>
          </p:nvSpPr>
          <p:spPr bwMode="auto">
            <a:xfrm rot="10800000">
              <a:off x="4118" y="2704"/>
              <a:ext cx="408" cy="363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17694720 60000 65536"/>
                <a:gd name="T11" fmla="*/ 5898240 60000 65536"/>
                <a:gd name="T12" fmla="*/ 5898240 60000 65536"/>
                <a:gd name="T13" fmla="*/ 5898240 60000 65536"/>
                <a:gd name="T14" fmla="*/ 0 60000 65536"/>
                <a:gd name="T15" fmla="*/ 0 w 21600"/>
                <a:gd name="T16" fmla="*/ 8331 h 21600"/>
                <a:gd name="T17" fmla="*/ 6088 w 21600"/>
                <a:gd name="T18" fmla="*/ 21600 h 216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600" h="21600">
                  <a:moveTo>
                    <a:pt x="15662" y="14285"/>
                  </a:moveTo>
                  <a:lnTo>
                    <a:pt x="21600" y="8310"/>
                  </a:lnTo>
                  <a:lnTo>
                    <a:pt x="18630" y="8310"/>
                  </a:lnTo>
                  <a:cubicBezTo>
                    <a:pt x="18630" y="3721"/>
                    <a:pt x="14430" y="0"/>
                    <a:pt x="9250" y="0"/>
                  </a:cubicBezTo>
                  <a:cubicBezTo>
                    <a:pt x="4141" y="0"/>
                    <a:pt x="0" y="3799"/>
                    <a:pt x="0" y="8485"/>
                  </a:cubicBezTo>
                  <a:lnTo>
                    <a:pt x="0" y="21600"/>
                  </a:lnTo>
                  <a:lnTo>
                    <a:pt x="6110" y="21600"/>
                  </a:lnTo>
                  <a:lnTo>
                    <a:pt x="6110" y="8310"/>
                  </a:lnTo>
                  <a:cubicBezTo>
                    <a:pt x="6110" y="6947"/>
                    <a:pt x="7362" y="5842"/>
                    <a:pt x="8907" y="5842"/>
                  </a:cubicBezTo>
                  <a:lnTo>
                    <a:pt x="9725" y="5842"/>
                  </a:lnTo>
                  <a:cubicBezTo>
                    <a:pt x="11269" y="5842"/>
                    <a:pt x="12520" y="6947"/>
                    <a:pt x="12520" y="8310"/>
                  </a:cubicBezTo>
                  <a:lnTo>
                    <a:pt x="9725" y="8310"/>
                  </a:lnTo>
                  <a:lnTo>
                    <a:pt x="15662" y="14285"/>
                  </a:lnTo>
                  <a:close/>
                </a:path>
              </a:pathLst>
            </a:custGeom>
            <a:solidFill>
              <a:srgbClr val="663300"/>
            </a:solidFill>
            <a:ln w="12700">
              <a:solidFill>
                <a:srgbClr val="663300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endParaRPr lang="ru-RU"/>
            </a:p>
          </p:txBody>
        </p:sp>
        <p:sp>
          <p:nvSpPr>
            <p:cNvPr id="2927678" name="AutoShape 14"/>
            <p:cNvSpPr>
              <a:spLocks noChangeArrowheads="1"/>
            </p:cNvSpPr>
            <p:nvPr/>
          </p:nvSpPr>
          <p:spPr bwMode="auto">
            <a:xfrm rot="10800000" flipH="1">
              <a:off x="4435" y="2704"/>
              <a:ext cx="408" cy="363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17694720 60000 65536"/>
                <a:gd name="T11" fmla="*/ 5898240 60000 65536"/>
                <a:gd name="T12" fmla="*/ 5898240 60000 65536"/>
                <a:gd name="T13" fmla="*/ 5898240 60000 65536"/>
                <a:gd name="T14" fmla="*/ 0 60000 65536"/>
                <a:gd name="T15" fmla="*/ 0 w 21600"/>
                <a:gd name="T16" fmla="*/ 8331 h 21600"/>
                <a:gd name="T17" fmla="*/ 6088 w 21600"/>
                <a:gd name="T18" fmla="*/ 21600 h 216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600" h="21600">
                  <a:moveTo>
                    <a:pt x="15662" y="14285"/>
                  </a:moveTo>
                  <a:lnTo>
                    <a:pt x="21600" y="8310"/>
                  </a:lnTo>
                  <a:lnTo>
                    <a:pt x="18630" y="8310"/>
                  </a:lnTo>
                  <a:cubicBezTo>
                    <a:pt x="18630" y="3721"/>
                    <a:pt x="14430" y="0"/>
                    <a:pt x="9250" y="0"/>
                  </a:cubicBezTo>
                  <a:cubicBezTo>
                    <a:pt x="4141" y="0"/>
                    <a:pt x="0" y="3799"/>
                    <a:pt x="0" y="8485"/>
                  </a:cubicBezTo>
                  <a:lnTo>
                    <a:pt x="0" y="21600"/>
                  </a:lnTo>
                  <a:lnTo>
                    <a:pt x="6110" y="21600"/>
                  </a:lnTo>
                  <a:lnTo>
                    <a:pt x="6110" y="8310"/>
                  </a:lnTo>
                  <a:cubicBezTo>
                    <a:pt x="6110" y="6947"/>
                    <a:pt x="7362" y="5842"/>
                    <a:pt x="8907" y="5842"/>
                  </a:cubicBezTo>
                  <a:lnTo>
                    <a:pt x="9725" y="5842"/>
                  </a:lnTo>
                  <a:cubicBezTo>
                    <a:pt x="11269" y="5842"/>
                    <a:pt x="12520" y="6947"/>
                    <a:pt x="12520" y="8310"/>
                  </a:cubicBezTo>
                  <a:lnTo>
                    <a:pt x="9725" y="8310"/>
                  </a:lnTo>
                  <a:lnTo>
                    <a:pt x="15662" y="14285"/>
                  </a:lnTo>
                  <a:close/>
                </a:path>
              </a:pathLst>
            </a:custGeom>
            <a:solidFill>
              <a:srgbClr val="663300"/>
            </a:solidFill>
            <a:ln w="12700">
              <a:solidFill>
                <a:srgbClr val="663300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endParaRPr lang="ru-RU"/>
            </a:p>
          </p:txBody>
        </p:sp>
        <p:sp>
          <p:nvSpPr>
            <p:cNvPr id="2927679" name="AutoShape 15"/>
            <p:cNvSpPr>
              <a:spLocks noChangeArrowheads="1"/>
            </p:cNvSpPr>
            <p:nvPr/>
          </p:nvSpPr>
          <p:spPr bwMode="auto">
            <a:xfrm>
              <a:off x="4299" y="2976"/>
              <a:ext cx="363" cy="137"/>
            </a:xfrm>
            <a:prstGeom prst="downArrow">
              <a:avLst>
                <a:gd name="adj1" fmla="val 49861"/>
                <a:gd name="adj2" fmla="val 38685"/>
              </a:avLst>
            </a:prstGeom>
            <a:solidFill>
              <a:srgbClr val="663300"/>
            </a:solidFill>
            <a:ln w="12700">
              <a:solidFill>
                <a:srgbClr val="663300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80" name="Rectangle 16"/>
            <p:cNvSpPr>
              <a:spLocks noChangeArrowheads="1"/>
            </p:cNvSpPr>
            <p:nvPr/>
          </p:nvSpPr>
          <p:spPr bwMode="auto">
            <a:xfrm>
              <a:off x="4345" y="2568"/>
              <a:ext cx="272" cy="136"/>
            </a:xfrm>
            <a:prstGeom prst="rect">
              <a:avLst/>
            </a:prstGeom>
            <a:solidFill>
              <a:srgbClr val="663300"/>
            </a:solidFill>
            <a:ln w="12700">
              <a:solidFill>
                <a:srgbClr val="663300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81" name="AutoShape 17"/>
            <p:cNvSpPr>
              <a:spLocks noChangeArrowheads="1"/>
            </p:cNvSpPr>
            <p:nvPr/>
          </p:nvSpPr>
          <p:spPr bwMode="auto">
            <a:xfrm>
              <a:off x="4345" y="2341"/>
              <a:ext cx="272" cy="227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76 w 21600"/>
                <a:gd name="T25" fmla="*/ 3140 h 21600"/>
                <a:gd name="T26" fmla="*/ 18424 w 21600"/>
                <a:gd name="T27" fmla="*/ 1846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7232" y="10800"/>
                  </a:moveTo>
                  <a:cubicBezTo>
                    <a:pt x="7232" y="12771"/>
                    <a:pt x="8829" y="14368"/>
                    <a:pt x="10800" y="14368"/>
                  </a:cubicBezTo>
                  <a:cubicBezTo>
                    <a:pt x="12771" y="14368"/>
                    <a:pt x="14368" y="12771"/>
                    <a:pt x="14368" y="10800"/>
                  </a:cubicBezTo>
                  <a:cubicBezTo>
                    <a:pt x="14368" y="8829"/>
                    <a:pt x="12771" y="7232"/>
                    <a:pt x="10800" y="7232"/>
                  </a:cubicBezTo>
                  <a:cubicBezTo>
                    <a:pt x="8829" y="7232"/>
                    <a:pt x="7232" y="8829"/>
                    <a:pt x="7232" y="10800"/>
                  </a:cubicBezTo>
                  <a:close/>
                </a:path>
              </a:pathLst>
            </a:custGeom>
            <a:solidFill>
              <a:srgbClr val="663300"/>
            </a:solidFill>
            <a:ln w="12700">
              <a:solidFill>
                <a:srgbClr val="663300"/>
              </a:solidFill>
              <a:round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endParaRPr lang="ru-RU"/>
            </a:p>
          </p:txBody>
        </p:sp>
      </p:grpSp>
      <p:sp>
        <p:nvSpPr>
          <p:cNvPr id="2927624" name="Freeform 18"/>
          <p:cNvSpPr>
            <a:spLocks/>
          </p:cNvSpPr>
          <p:nvPr/>
        </p:nvSpPr>
        <p:spPr bwMode="auto">
          <a:xfrm>
            <a:off x="4371975" y="1341438"/>
            <a:ext cx="600075" cy="649287"/>
          </a:xfrm>
          <a:custGeom>
            <a:avLst/>
            <a:gdLst>
              <a:gd name="T0" fmla="*/ 2147483647 w 302"/>
              <a:gd name="T1" fmla="*/ 2147483647 h 295"/>
              <a:gd name="T2" fmla="*/ 2147483647 w 302"/>
              <a:gd name="T3" fmla="*/ 2147483647 h 295"/>
              <a:gd name="T4" fmla="*/ 2147483647 w 302"/>
              <a:gd name="T5" fmla="*/ 2147483647 h 295"/>
              <a:gd name="T6" fmla="*/ 2147483647 w 302"/>
              <a:gd name="T7" fmla="*/ 2147483647 h 295"/>
              <a:gd name="T8" fmla="*/ 2147483647 w 302"/>
              <a:gd name="T9" fmla="*/ 2147483647 h 295"/>
              <a:gd name="T10" fmla="*/ 2147483647 w 302"/>
              <a:gd name="T11" fmla="*/ 2147483647 h 295"/>
              <a:gd name="T12" fmla="*/ 2147483647 w 302"/>
              <a:gd name="T13" fmla="*/ 2147483647 h 29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02"/>
              <a:gd name="T22" fmla="*/ 0 h 295"/>
              <a:gd name="T23" fmla="*/ 302 w 302"/>
              <a:gd name="T24" fmla="*/ 295 h 29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02" h="295">
                <a:moveTo>
                  <a:pt x="97" y="68"/>
                </a:moveTo>
                <a:cubicBezTo>
                  <a:pt x="52" y="91"/>
                  <a:pt x="14" y="136"/>
                  <a:pt x="7" y="159"/>
                </a:cubicBezTo>
                <a:cubicBezTo>
                  <a:pt x="0" y="182"/>
                  <a:pt x="29" y="181"/>
                  <a:pt x="52" y="204"/>
                </a:cubicBezTo>
                <a:cubicBezTo>
                  <a:pt x="75" y="227"/>
                  <a:pt x="113" y="295"/>
                  <a:pt x="143" y="295"/>
                </a:cubicBezTo>
                <a:cubicBezTo>
                  <a:pt x="173" y="295"/>
                  <a:pt x="211" y="249"/>
                  <a:pt x="234" y="204"/>
                </a:cubicBezTo>
                <a:cubicBezTo>
                  <a:pt x="257" y="159"/>
                  <a:pt x="302" y="46"/>
                  <a:pt x="279" y="23"/>
                </a:cubicBezTo>
                <a:cubicBezTo>
                  <a:pt x="256" y="0"/>
                  <a:pt x="142" y="45"/>
                  <a:pt x="97" y="68"/>
                </a:cubicBezTo>
                <a:close/>
              </a:path>
            </a:pathLst>
          </a:custGeom>
          <a:solidFill>
            <a:srgbClr val="FEE2B0"/>
          </a:solidFill>
          <a:ln w="19050">
            <a:solidFill>
              <a:srgbClr val="00CC00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ru-RU"/>
          </a:p>
        </p:txBody>
      </p:sp>
      <p:grpSp>
        <p:nvGrpSpPr>
          <p:cNvPr id="2927625" name="Group 19"/>
          <p:cNvGrpSpPr>
            <a:grpSpLocks/>
          </p:cNvGrpSpPr>
          <p:nvPr/>
        </p:nvGrpSpPr>
        <p:grpSpPr bwMode="auto">
          <a:xfrm>
            <a:off x="4505325" y="1557338"/>
            <a:ext cx="266700" cy="292100"/>
            <a:chOff x="4118" y="2341"/>
            <a:chExt cx="725" cy="772"/>
          </a:xfrm>
        </p:grpSpPr>
        <p:sp>
          <p:nvSpPr>
            <p:cNvPr id="2927672" name="AutoShape 20"/>
            <p:cNvSpPr>
              <a:spLocks noChangeArrowheads="1"/>
            </p:cNvSpPr>
            <p:nvPr/>
          </p:nvSpPr>
          <p:spPr bwMode="auto">
            <a:xfrm rot="10800000">
              <a:off x="4118" y="2704"/>
              <a:ext cx="408" cy="363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17694720 60000 65536"/>
                <a:gd name="T11" fmla="*/ 5898240 60000 65536"/>
                <a:gd name="T12" fmla="*/ 5898240 60000 65536"/>
                <a:gd name="T13" fmla="*/ 5898240 60000 65536"/>
                <a:gd name="T14" fmla="*/ 0 60000 65536"/>
                <a:gd name="T15" fmla="*/ 0 w 21600"/>
                <a:gd name="T16" fmla="*/ 8331 h 21600"/>
                <a:gd name="T17" fmla="*/ 6088 w 21600"/>
                <a:gd name="T18" fmla="*/ 21600 h 216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600" h="21600">
                  <a:moveTo>
                    <a:pt x="15662" y="14285"/>
                  </a:moveTo>
                  <a:lnTo>
                    <a:pt x="21600" y="8310"/>
                  </a:lnTo>
                  <a:lnTo>
                    <a:pt x="18630" y="8310"/>
                  </a:lnTo>
                  <a:cubicBezTo>
                    <a:pt x="18630" y="3721"/>
                    <a:pt x="14430" y="0"/>
                    <a:pt x="9250" y="0"/>
                  </a:cubicBezTo>
                  <a:cubicBezTo>
                    <a:pt x="4141" y="0"/>
                    <a:pt x="0" y="3799"/>
                    <a:pt x="0" y="8485"/>
                  </a:cubicBezTo>
                  <a:lnTo>
                    <a:pt x="0" y="21600"/>
                  </a:lnTo>
                  <a:lnTo>
                    <a:pt x="6110" y="21600"/>
                  </a:lnTo>
                  <a:lnTo>
                    <a:pt x="6110" y="8310"/>
                  </a:lnTo>
                  <a:cubicBezTo>
                    <a:pt x="6110" y="6947"/>
                    <a:pt x="7362" y="5842"/>
                    <a:pt x="8907" y="5842"/>
                  </a:cubicBezTo>
                  <a:lnTo>
                    <a:pt x="9725" y="5842"/>
                  </a:lnTo>
                  <a:cubicBezTo>
                    <a:pt x="11269" y="5842"/>
                    <a:pt x="12520" y="6947"/>
                    <a:pt x="12520" y="8310"/>
                  </a:cubicBezTo>
                  <a:lnTo>
                    <a:pt x="9725" y="8310"/>
                  </a:lnTo>
                  <a:lnTo>
                    <a:pt x="15662" y="14285"/>
                  </a:lnTo>
                  <a:close/>
                </a:path>
              </a:pathLst>
            </a:custGeom>
            <a:solidFill>
              <a:srgbClr val="663300"/>
            </a:solidFill>
            <a:ln w="12700">
              <a:solidFill>
                <a:srgbClr val="663300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endParaRPr lang="ru-RU"/>
            </a:p>
          </p:txBody>
        </p:sp>
        <p:sp>
          <p:nvSpPr>
            <p:cNvPr id="2927673" name="AutoShape 21"/>
            <p:cNvSpPr>
              <a:spLocks noChangeArrowheads="1"/>
            </p:cNvSpPr>
            <p:nvPr/>
          </p:nvSpPr>
          <p:spPr bwMode="auto">
            <a:xfrm rot="10800000" flipH="1">
              <a:off x="4435" y="2704"/>
              <a:ext cx="408" cy="363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17694720 60000 65536"/>
                <a:gd name="T11" fmla="*/ 5898240 60000 65536"/>
                <a:gd name="T12" fmla="*/ 5898240 60000 65536"/>
                <a:gd name="T13" fmla="*/ 5898240 60000 65536"/>
                <a:gd name="T14" fmla="*/ 0 60000 65536"/>
                <a:gd name="T15" fmla="*/ 0 w 21600"/>
                <a:gd name="T16" fmla="*/ 8331 h 21600"/>
                <a:gd name="T17" fmla="*/ 6088 w 21600"/>
                <a:gd name="T18" fmla="*/ 21600 h 216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600" h="21600">
                  <a:moveTo>
                    <a:pt x="15662" y="14285"/>
                  </a:moveTo>
                  <a:lnTo>
                    <a:pt x="21600" y="8310"/>
                  </a:lnTo>
                  <a:lnTo>
                    <a:pt x="18630" y="8310"/>
                  </a:lnTo>
                  <a:cubicBezTo>
                    <a:pt x="18630" y="3721"/>
                    <a:pt x="14430" y="0"/>
                    <a:pt x="9250" y="0"/>
                  </a:cubicBezTo>
                  <a:cubicBezTo>
                    <a:pt x="4141" y="0"/>
                    <a:pt x="0" y="3799"/>
                    <a:pt x="0" y="8485"/>
                  </a:cubicBezTo>
                  <a:lnTo>
                    <a:pt x="0" y="21600"/>
                  </a:lnTo>
                  <a:lnTo>
                    <a:pt x="6110" y="21600"/>
                  </a:lnTo>
                  <a:lnTo>
                    <a:pt x="6110" y="8310"/>
                  </a:lnTo>
                  <a:cubicBezTo>
                    <a:pt x="6110" y="6947"/>
                    <a:pt x="7362" y="5842"/>
                    <a:pt x="8907" y="5842"/>
                  </a:cubicBezTo>
                  <a:lnTo>
                    <a:pt x="9725" y="5842"/>
                  </a:lnTo>
                  <a:cubicBezTo>
                    <a:pt x="11269" y="5842"/>
                    <a:pt x="12520" y="6947"/>
                    <a:pt x="12520" y="8310"/>
                  </a:cubicBezTo>
                  <a:lnTo>
                    <a:pt x="9725" y="8310"/>
                  </a:lnTo>
                  <a:lnTo>
                    <a:pt x="15662" y="14285"/>
                  </a:lnTo>
                  <a:close/>
                </a:path>
              </a:pathLst>
            </a:custGeom>
            <a:solidFill>
              <a:srgbClr val="663300"/>
            </a:solidFill>
            <a:ln w="12700">
              <a:solidFill>
                <a:srgbClr val="663300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endParaRPr lang="ru-RU"/>
            </a:p>
          </p:txBody>
        </p:sp>
        <p:sp>
          <p:nvSpPr>
            <p:cNvPr id="2927674" name="AutoShape 22"/>
            <p:cNvSpPr>
              <a:spLocks noChangeArrowheads="1"/>
            </p:cNvSpPr>
            <p:nvPr/>
          </p:nvSpPr>
          <p:spPr bwMode="auto">
            <a:xfrm>
              <a:off x="4299" y="2976"/>
              <a:ext cx="363" cy="137"/>
            </a:xfrm>
            <a:prstGeom prst="downArrow">
              <a:avLst>
                <a:gd name="adj1" fmla="val 49861"/>
                <a:gd name="adj2" fmla="val 38685"/>
              </a:avLst>
            </a:prstGeom>
            <a:solidFill>
              <a:srgbClr val="663300"/>
            </a:solidFill>
            <a:ln w="12700">
              <a:solidFill>
                <a:srgbClr val="663300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75" name="Rectangle 23"/>
            <p:cNvSpPr>
              <a:spLocks noChangeArrowheads="1"/>
            </p:cNvSpPr>
            <p:nvPr/>
          </p:nvSpPr>
          <p:spPr bwMode="auto">
            <a:xfrm>
              <a:off x="4345" y="2568"/>
              <a:ext cx="272" cy="136"/>
            </a:xfrm>
            <a:prstGeom prst="rect">
              <a:avLst/>
            </a:prstGeom>
            <a:solidFill>
              <a:srgbClr val="663300"/>
            </a:solidFill>
            <a:ln w="12700">
              <a:solidFill>
                <a:srgbClr val="663300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76" name="AutoShape 24"/>
            <p:cNvSpPr>
              <a:spLocks noChangeArrowheads="1"/>
            </p:cNvSpPr>
            <p:nvPr/>
          </p:nvSpPr>
          <p:spPr bwMode="auto">
            <a:xfrm>
              <a:off x="4345" y="2341"/>
              <a:ext cx="272" cy="227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76 w 21600"/>
                <a:gd name="T25" fmla="*/ 3140 h 21600"/>
                <a:gd name="T26" fmla="*/ 18424 w 21600"/>
                <a:gd name="T27" fmla="*/ 1846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7232" y="10800"/>
                  </a:moveTo>
                  <a:cubicBezTo>
                    <a:pt x="7232" y="12771"/>
                    <a:pt x="8829" y="14368"/>
                    <a:pt x="10800" y="14368"/>
                  </a:cubicBezTo>
                  <a:cubicBezTo>
                    <a:pt x="12771" y="14368"/>
                    <a:pt x="14368" y="12771"/>
                    <a:pt x="14368" y="10800"/>
                  </a:cubicBezTo>
                  <a:cubicBezTo>
                    <a:pt x="14368" y="8829"/>
                    <a:pt x="12771" y="7232"/>
                    <a:pt x="10800" y="7232"/>
                  </a:cubicBezTo>
                  <a:cubicBezTo>
                    <a:pt x="8829" y="7232"/>
                    <a:pt x="7232" y="8829"/>
                    <a:pt x="7232" y="10800"/>
                  </a:cubicBezTo>
                  <a:close/>
                </a:path>
              </a:pathLst>
            </a:custGeom>
            <a:solidFill>
              <a:srgbClr val="663300"/>
            </a:solidFill>
            <a:ln w="12700">
              <a:solidFill>
                <a:srgbClr val="663300"/>
              </a:solidFill>
              <a:round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endParaRPr lang="ru-RU"/>
            </a:p>
          </p:txBody>
        </p:sp>
      </p:grpSp>
      <p:grpSp>
        <p:nvGrpSpPr>
          <p:cNvPr id="2927626" name="Group 25"/>
          <p:cNvGrpSpPr>
            <a:grpSpLocks/>
          </p:cNvGrpSpPr>
          <p:nvPr/>
        </p:nvGrpSpPr>
        <p:grpSpPr bwMode="auto">
          <a:xfrm>
            <a:off x="784225" y="2133600"/>
            <a:ext cx="2657475" cy="2232025"/>
            <a:chOff x="1442" y="1026"/>
            <a:chExt cx="1814" cy="1406"/>
          </a:xfrm>
        </p:grpSpPr>
        <p:sp>
          <p:nvSpPr>
            <p:cNvPr id="2927657" name="Freeform 26"/>
            <p:cNvSpPr>
              <a:spLocks/>
            </p:cNvSpPr>
            <p:nvPr/>
          </p:nvSpPr>
          <p:spPr bwMode="auto">
            <a:xfrm>
              <a:off x="1442" y="1026"/>
              <a:ext cx="1814" cy="1406"/>
            </a:xfrm>
            <a:custGeom>
              <a:avLst/>
              <a:gdLst>
                <a:gd name="T0" fmla="*/ 3 w 2102"/>
                <a:gd name="T1" fmla="*/ 3 h 1663"/>
                <a:gd name="T2" fmla="*/ 3 w 2102"/>
                <a:gd name="T3" fmla="*/ 7 h 1663"/>
                <a:gd name="T4" fmla="*/ 3 w 2102"/>
                <a:gd name="T5" fmla="*/ 11 h 1663"/>
                <a:gd name="T6" fmla="*/ 6 w 2102"/>
                <a:gd name="T7" fmla="*/ 13 h 1663"/>
                <a:gd name="T8" fmla="*/ 7 w 2102"/>
                <a:gd name="T9" fmla="*/ 16 h 1663"/>
                <a:gd name="T10" fmla="*/ 19 w 2102"/>
                <a:gd name="T11" fmla="*/ 18 h 1663"/>
                <a:gd name="T12" fmla="*/ 35 w 2102"/>
                <a:gd name="T13" fmla="*/ 16 h 1663"/>
                <a:gd name="T14" fmla="*/ 38 w 2102"/>
                <a:gd name="T15" fmla="*/ 9 h 1663"/>
                <a:gd name="T16" fmla="*/ 37 w 2102"/>
                <a:gd name="T17" fmla="*/ 4 h 1663"/>
                <a:gd name="T18" fmla="*/ 26 w 2102"/>
                <a:gd name="T19" fmla="*/ 3 h 1663"/>
                <a:gd name="T20" fmla="*/ 16 w 2102"/>
                <a:gd name="T21" fmla="*/ 3 h 1663"/>
                <a:gd name="T22" fmla="*/ 9 w 2102"/>
                <a:gd name="T23" fmla="*/ 3 h 1663"/>
                <a:gd name="T24" fmla="*/ 3 w 2102"/>
                <a:gd name="T25" fmla="*/ 3 h 166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102"/>
                <a:gd name="T40" fmla="*/ 0 h 1663"/>
                <a:gd name="T41" fmla="*/ 2102 w 2102"/>
                <a:gd name="T42" fmla="*/ 1663 h 166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102" h="1663">
                  <a:moveTo>
                    <a:pt x="136" y="250"/>
                  </a:moveTo>
                  <a:cubicBezTo>
                    <a:pt x="68" y="318"/>
                    <a:pt x="60" y="492"/>
                    <a:pt x="45" y="613"/>
                  </a:cubicBezTo>
                  <a:cubicBezTo>
                    <a:pt x="30" y="734"/>
                    <a:pt x="0" y="885"/>
                    <a:pt x="45" y="976"/>
                  </a:cubicBezTo>
                  <a:cubicBezTo>
                    <a:pt x="90" y="1067"/>
                    <a:pt x="264" y="1066"/>
                    <a:pt x="317" y="1157"/>
                  </a:cubicBezTo>
                  <a:cubicBezTo>
                    <a:pt x="370" y="1248"/>
                    <a:pt x="242" y="1437"/>
                    <a:pt x="363" y="1520"/>
                  </a:cubicBezTo>
                  <a:cubicBezTo>
                    <a:pt x="484" y="1603"/>
                    <a:pt x="794" y="1663"/>
                    <a:pt x="1043" y="1656"/>
                  </a:cubicBezTo>
                  <a:cubicBezTo>
                    <a:pt x="1292" y="1649"/>
                    <a:pt x="1694" y="1611"/>
                    <a:pt x="1860" y="1475"/>
                  </a:cubicBezTo>
                  <a:cubicBezTo>
                    <a:pt x="2026" y="1339"/>
                    <a:pt x="2018" y="1021"/>
                    <a:pt x="2041" y="840"/>
                  </a:cubicBezTo>
                  <a:cubicBezTo>
                    <a:pt x="2064" y="659"/>
                    <a:pt x="2102" y="514"/>
                    <a:pt x="1996" y="386"/>
                  </a:cubicBezTo>
                  <a:cubicBezTo>
                    <a:pt x="1890" y="258"/>
                    <a:pt x="1603" y="129"/>
                    <a:pt x="1406" y="69"/>
                  </a:cubicBezTo>
                  <a:cubicBezTo>
                    <a:pt x="1209" y="9"/>
                    <a:pt x="975" y="0"/>
                    <a:pt x="816" y="23"/>
                  </a:cubicBezTo>
                  <a:cubicBezTo>
                    <a:pt x="657" y="46"/>
                    <a:pt x="567" y="167"/>
                    <a:pt x="454" y="205"/>
                  </a:cubicBezTo>
                  <a:cubicBezTo>
                    <a:pt x="341" y="243"/>
                    <a:pt x="204" y="182"/>
                    <a:pt x="136" y="250"/>
                  </a:cubicBezTo>
                  <a:close/>
                </a:path>
              </a:pathLst>
            </a:custGeom>
            <a:solidFill>
              <a:srgbClr val="CCFF66"/>
            </a:solidFill>
            <a:ln w="28575">
              <a:solidFill>
                <a:srgbClr val="00CC00"/>
              </a:solidFill>
              <a:round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endParaRPr lang="ru-RU"/>
            </a:p>
          </p:txBody>
        </p:sp>
        <p:sp>
          <p:nvSpPr>
            <p:cNvPr id="2927658" name="Oval 27"/>
            <p:cNvSpPr>
              <a:spLocks noChangeArrowheads="1"/>
            </p:cNvSpPr>
            <p:nvPr/>
          </p:nvSpPr>
          <p:spPr bwMode="auto">
            <a:xfrm>
              <a:off x="2802" y="2115"/>
              <a:ext cx="91" cy="92"/>
            </a:xfrm>
            <a:prstGeom prst="ellipse">
              <a:avLst/>
            </a:prstGeom>
            <a:solidFill>
              <a:srgbClr val="FDD48B"/>
            </a:solidFill>
            <a:ln w="12700">
              <a:solidFill>
                <a:srgbClr val="744B02"/>
              </a:solidFill>
              <a:round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59" name="Oval 28"/>
            <p:cNvSpPr>
              <a:spLocks noChangeArrowheads="1"/>
            </p:cNvSpPr>
            <p:nvPr/>
          </p:nvSpPr>
          <p:spPr bwMode="auto">
            <a:xfrm>
              <a:off x="2530" y="2251"/>
              <a:ext cx="91" cy="92"/>
            </a:xfrm>
            <a:prstGeom prst="ellipse">
              <a:avLst/>
            </a:prstGeom>
            <a:solidFill>
              <a:srgbClr val="FDD48B"/>
            </a:solidFill>
            <a:ln w="12700">
              <a:solidFill>
                <a:srgbClr val="744B02"/>
              </a:solidFill>
              <a:round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60" name="Oval 29"/>
            <p:cNvSpPr>
              <a:spLocks noChangeArrowheads="1"/>
            </p:cNvSpPr>
            <p:nvPr/>
          </p:nvSpPr>
          <p:spPr bwMode="auto">
            <a:xfrm>
              <a:off x="2712" y="1752"/>
              <a:ext cx="91" cy="92"/>
            </a:xfrm>
            <a:prstGeom prst="ellipse">
              <a:avLst/>
            </a:prstGeom>
            <a:solidFill>
              <a:srgbClr val="FDD48B"/>
            </a:solidFill>
            <a:ln w="12700">
              <a:solidFill>
                <a:srgbClr val="744B02"/>
              </a:solidFill>
              <a:round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61" name="Oval 30"/>
            <p:cNvSpPr>
              <a:spLocks noChangeArrowheads="1"/>
            </p:cNvSpPr>
            <p:nvPr/>
          </p:nvSpPr>
          <p:spPr bwMode="auto">
            <a:xfrm>
              <a:off x="2848" y="2024"/>
              <a:ext cx="91" cy="91"/>
            </a:xfrm>
            <a:prstGeom prst="ellipse">
              <a:avLst/>
            </a:prstGeom>
            <a:solidFill>
              <a:srgbClr val="FDD48B"/>
            </a:solidFill>
            <a:ln w="12700">
              <a:solidFill>
                <a:srgbClr val="744B02"/>
              </a:solidFill>
              <a:round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62" name="Oval 31"/>
            <p:cNvSpPr>
              <a:spLocks noChangeArrowheads="1"/>
            </p:cNvSpPr>
            <p:nvPr/>
          </p:nvSpPr>
          <p:spPr bwMode="auto">
            <a:xfrm>
              <a:off x="2984" y="1706"/>
              <a:ext cx="91" cy="92"/>
            </a:xfrm>
            <a:prstGeom prst="ellipse">
              <a:avLst/>
            </a:prstGeom>
            <a:solidFill>
              <a:srgbClr val="FDD48B"/>
            </a:solidFill>
            <a:ln w="12700">
              <a:solidFill>
                <a:srgbClr val="744B02"/>
              </a:solidFill>
              <a:round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63" name="Oval 32"/>
            <p:cNvSpPr>
              <a:spLocks noChangeArrowheads="1"/>
            </p:cNvSpPr>
            <p:nvPr/>
          </p:nvSpPr>
          <p:spPr bwMode="auto">
            <a:xfrm>
              <a:off x="1601" y="1599"/>
              <a:ext cx="91" cy="92"/>
            </a:xfrm>
            <a:prstGeom prst="ellipse">
              <a:avLst/>
            </a:prstGeom>
            <a:solidFill>
              <a:srgbClr val="FDD48B"/>
            </a:solidFill>
            <a:ln w="12700">
              <a:solidFill>
                <a:srgbClr val="744B02"/>
              </a:solidFill>
              <a:round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64" name="Oval 33"/>
            <p:cNvSpPr>
              <a:spLocks noChangeArrowheads="1"/>
            </p:cNvSpPr>
            <p:nvPr/>
          </p:nvSpPr>
          <p:spPr bwMode="auto">
            <a:xfrm>
              <a:off x="2077" y="1706"/>
              <a:ext cx="91" cy="92"/>
            </a:xfrm>
            <a:prstGeom prst="ellipse">
              <a:avLst/>
            </a:prstGeom>
            <a:solidFill>
              <a:srgbClr val="FDD48B"/>
            </a:solidFill>
            <a:ln w="12700">
              <a:solidFill>
                <a:srgbClr val="744B02"/>
              </a:solidFill>
              <a:round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65" name="Oval 34"/>
            <p:cNvSpPr>
              <a:spLocks noChangeArrowheads="1"/>
            </p:cNvSpPr>
            <p:nvPr/>
          </p:nvSpPr>
          <p:spPr bwMode="auto">
            <a:xfrm>
              <a:off x="2666" y="1434"/>
              <a:ext cx="91" cy="92"/>
            </a:xfrm>
            <a:prstGeom prst="ellipse">
              <a:avLst/>
            </a:prstGeom>
            <a:solidFill>
              <a:srgbClr val="FDD48B"/>
            </a:solidFill>
            <a:ln w="12700">
              <a:solidFill>
                <a:srgbClr val="744B02"/>
              </a:solidFill>
              <a:round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66" name="Oval 35"/>
            <p:cNvSpPr>
              <a:spLocks noChangeArrowheads="1"/>
            </p:cNvSpPr>
            <p:nvPr/>
          </p:nvSpPr>
          <p:spPr bwMode="auto">
            <a:xfrm>
              <a:off x="2258" y="2160"/>
              <a:ext cx="91" cy="92"/>
            </a:xfrm>
            <a:prstGeom prst="ellipse">
              <a:avLst/>
            </a:prstGeom>
            <a:solidFill>
              <a:srgbClr val="FDD48B"/>
            </a:solidFill>
            <a:ln w="12700">
              <a:solidFill>
                <a:srgbClr val="744B02"/>
              </a:solidFill>
              <a:round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67" name="Oval 36"/>
            <p:cNvSpPr>
              <a:spLocks noChangeArrowheads="1"/>
            </p:cNvSpPr>
            <p:nvPr/>
          </p:nvSpPr>
          <p:spPr bwMode="auto">
            <a:xfrm>
              <a:off x="2258" y="1480"/>
              <a:ext cx="91" cy="92"/>
            </a:xfrm>
            <a:prstGeom prst="ellipse">
              <a:avLst/>
            </a:prstGeom>
            <a:solidFill>
              <a:srgbClr val="FDD48B"/>
            </a:solidFill>
            <a:ln w="12700">
              <a:solidFill>
                <a:srgbClr val="744B02"/>
              </a:solidFill>
              <a:round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68" name="Oval 37"/>
            <p:cNvSpPr>
              <a:spLocks noChangeArrowheads="1"/>
            </p:cNvSpPr>
            <p:nvPr/>
          </p:nvSpPr>
          <p:spPr bwMode="auto">
            <a:xfrm>
              <a:off x="2372" y="1278"/>
              <a:ext cx="91" cy="92"/>
            </a:xfrm>
            <a:prstGeom prst="ellipse">
              <a:avLst/>
            </a:prstGeom>
            <a:solidFill>
              <a:srgbClr val="FDD48B"/>
            </a:solidFill>
            <a:ln w="12700">
              <a:solidFill>
                <a:srgbClr val="744B02"/>
              </a:solidFill>
              <a:round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69" name="Oval 38"/>
            <p:cNvSpPr>
              <a:spLocks noChangeArrowheads="1"/>
            </p:cNvSpPr>
            <p:nvPr/>
          </p:nvSpPr>
          <p:spPr bwMode="auto">
            <a:xfrm>
              <a:off x="2554" y="1186"/>
              <a:ext cx="91" cy="92"/>
            </a:xfrm>
            <a:prstGeom prst="ellipse">
              <a:avLst/>
            </a:prstGeom>
            <a:solidFill>
              <a:srgbClr val="FDD48B"/>
            </a:solidFill>
            <a:ln w="12700">
              <a:solidFill>
                <a:srgbClr val="744B02"/>
              </a:solidFill>
              <a:round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70" name="Oval 39"/>
            <p:cNvSpPr>
              <a:spLocks noChangeArrowheads="1"/>
            </p:cNvSpPr>
            <p:nvPr/>
          </p:nvSpPr>
          <p:spPr bwMode="auto">
            <a:xfrm>
              <a:off x="1919" y="1370"/>
              <a:ext cx="91" cy="92"/>
            </a:xfrm>
            <a:prstGeom prst="ellipse">
              <a:avLst/>
            </a:prstGeom>
            <a:solidFill>
              <a:srgbClr val="FDD48B"/>
            </a:solidFill>
            <a:ln w="12700">
              <a:solidFill>
                <a:srgbClr val="744B02"/>
              </a:solidFill>
              <a:round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621608" name="Text Box 40"/>
            <p:cNvSpPr txBox="1">
              <a:spLocks noChangeArrowheads="1"/>
            </p:cNvSpPr>
            <p:nvPr/>
          </p:nvSpPr>
          <p:spPr bwMode="auto">
            <a:xfrm>
              <a:off x="1851" y="1933"/>
              <a:ext cx="441" cy="23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>
              <a:spAutoFit/>
            </a:bodyPr>
            <a:lstStyle/>
            <a:p>
              <a:pPr eaLnBrk="0" hangingPunct="0">
                <a:defRPr/>
              </a:pPr>
              <a:r>
                <a:rPr lang="ru-RU" b="1">
                  <a:solidFill>
                    <a:srgbClr val="00CC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МСП</a:t>
              </a:r>
            </a:p>
          </p:txBody>
        </p:sp>
      </p:grpSp>
      <p:sp>
        <p:nvSpPr>
          <p:cNvPr id="621609" name="Text Box 41"/>
          <p:cNvSpPr txBox="1">
            <a:spLocks noChangeArrowheads="1"/>
          </p:cNvSpPr>
          <p:nvPr/>
        </p:nvSpPr>
        <p:spPr bwMode="auto">
          <a:xfrm>
            <a:off x="6869113" y="3524250"/>
            <a:ext cx="1462087" cy="825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eaLnBrk="0" hangingPunct="0">
              <a:defRPr/>
            </a:pPr>
            <a:r>
              <a:rPr lang="ru-RU" sz="1600" b="1">
                <a:solidFill>
                  <a:srgbClr val="3399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бразование,</a:t>
            </a:r>
          </a:p>
          <a:p>
            <a:pPr eaLnBrk="0" hangingPunct="0">
              <a:defRPr/>
            </a:pPr>
            <a:r>
              <a:rPr lang="ru-RU" sz="1600" b="1">
                <a:solidFill>
                  <a:srgbClr val="3399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подготовка</a:t>
            </a:r>
          </a:p>
          <a:p>
            <a:pPr eaLnBrk="0" hangingPunct="0">
              <a:defRPr/>
            </a:pPr>
            <a:r>
              <a:rPr lang="ru-RU" sz="1600" b="1">
                <a:solidFill>
                  <a:srgbClr val="3399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кадров</a:t>
            </a:r>
          </a:p>
        </p:txBody>
      </p:sp>
      <p:sp>
        <p:nvSpPr>
          <p:cNvPr id="2927628" name="Text Box 42"/>
          <p:cNvSpPr txBox="1">
            <a:spLocks noChangeArrowheads="1"/>
          </p:cNvSpPr>
          <p:nvPr/>
        </p:nvSpPr>
        <p:spPr bwMode="auto">
          <a:xfrm>
            <a:off x="4572000" y="1916113"/>
            <a:ext cx="1017588" cy="3365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eaLnBrk="0" hangingPunct="0"/>
            <a:r>
              <a:rPr lang="ru-RU" sz="1600" b="1">
                <a:solidFill>
                  <a:srgbClr val="FF3300"/>
                </a:solidFill>
              </a:rPr>
              <a:t>автаркия</a:t>
            </a:r>
          </a:p>
        </p:txBody>
      </p:sp>
      <p:sp>
        <p:nvSpPr>
          <p:cNvPr id="2927629" name="Text Box 43"/>
          <p:cNvSpPr txBox="1">
            <a:spLocks noChangeArrowheads="1"/>
          </p:cNvSpPr>
          <p:nvPr/>
        </p:nvSpPr>
        <p:spPr bwMode="auto">
          <a:xfrm>
            <a:off x="7877175" y="4437063"/>
            <a:ext cx="1266825" cy="825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eaLnBrk="0" hangingPunct="0"/>
            <a:r>
              <a:rPr lang="ru-RU" sz="1600" b="1">
                <a:solidFill>
                  <a:srgbClr val="FF3300"/>
                </a:solidFill>
              </a:rPr>
              <a:t>Нет четких</a:t>
            </a:r>
          </a:p>
          <a:p>
            <a:pPr eaLnBrk="0" hangingPunct="0"/>
            <a:r>
              <a:rPr lang="ru-RU" sz="1600" b="1">
                <a:solidFill>
                  <a:srgbClr val="FF3300"/>
                </a:solidFill>
              </a:rPr>
              <a:t>целевых</a:t>
            </a:r>
          </a:p>
          <a:p>
            <a:pPr eaLnBrk="0" hangingPunct="0"/>
            <a:r>
              <a:rPr lang="ru-RU" sz="1600" b="1">
                <a:solidFill>
                  <a:srgbClr val="FF3300"/>
                </a:solidFill>
              </a:rPr>
              <a:t>установок</a:t>
            </a:r>
          </a:p>
        </p:txBody>
      </p:sp>
      <p:grpSp>
        <p:nvGrpSpPr>
          <p:cNvPr id="2927630" name="Group 44"/>
          <p:cNvGrpSpPr>
            <a:grpSpLocks/>
          </p:cNvGrpSpPr>
          <p:nvPr/>
        </p:nvGrpSpPr>
        <p:grpSpPr bwMode="auto">
          <a:xfrm rot="-1765736">
            <a:off x="3175000" y="2060575"/>
            <a:ext cx="1397000" cy="360363"/>
            <a:chOff x="2122" y="2251"/>
            <a:chExt cx="953" cy="227"/>
          </a:xfrm>
        </p:grpSpPr>
        <p:sp>
          <p:nvSpPr>
            <p:cNvPr id="2927654" name="AutoShape 45"/>
            <p:cNvSpPr>
              <a:spLocks noChangeArrowheads="1"/>
            </p:cNvSpPr>
            <p:nvPr/>
          </p:nvSpPr>
          <p:spPr bwMode="auto">
            <a:xfrm>
              <a:off x="2666" y="2296"/>
              <a:ext cx="409" cy="136"/>
            </a:xfrm>
            <a:prstGeom prst="rightArrow">
              <a:avLst>
                <a:gd name="adj1" fmla="val 50000"/>
                <a:gd name="adj2" fmla="val 75184"/>
              </a:avLst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55" name="AutoShape 46"/>
            <p:cNvSpPr>
              <a:spLocks noChangeArrowheads="1"/>
            </p:cNvSpPr>
            <p:nvPr/>
          </p:nvSpPr>
          <p:spPr bwMode="auto">
            <a:xfrm flipH="1">
              <a:off x="2122" y="2296"/>
              <a:ext cx="409" cy="136"/>
            </a:xfrm>
            <a:prstGeom prst="rightArrow">
              <a:avLst>
                <a:gd name="adj1" fmla="val 50000"/>
                <a:gd name="adj2" fmla="val 75184"/>
              </a:avLst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56" name="AutoShape 47"/>
            <p:cNvSpPr>
              <a:spLocks noChangeArrowheads="1"/>
            </p:cNvSpPr>
            <p:nvPr/>
          </p:nvSpPr>
          <p:spPr bwMode="auto">
            <a:xfrm rot="2815020">
              <a:off x="2485" y="2251"/>
              <a:ext cx="227" cy="227"/>
            </a:xfrm>
            <a:prstGeom prst="plus">
              <a:avLst>
                <a:gd name="adj" fmla="val 41852"/>
              </a:avLst>
            </a:prstGeom>
            <a:solidFill>
              <a:srgbClr val="FF3300"/>
            </a:solidFill>
            <a:ln w="12700">
              <a:solidFill>
                <a:srgbClr val="FF3300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</p:grpSp>
      <p:sp>
        <p:nvSpPr>
          <p:cNvPr id="2927631" name="Oval 48"/>
          <p:cNvSpPr>
            <a:spLocks noChangeArrowheads="1"/>
          </p:cNvSpPr>
          <p:nvPr/>
        </p:nvSpPr>
        <p:spPr bwMode="auto">
          <a:xfrm>
            <a:off x="5568950" y="4076700"/>
            <a:ext cx="133350" cy="146050"/>
          </a:xfrm>
          <a:prstGeom prst="ellipse">
            <a:avLst/>
          </a:prstGeom>
          <a:solidFill>
            <a:srgbClr val="FDD48B"/>
          </a:solidFill>
          <a:ln w="12700">
            <a:solidFill>
              <a:srgbClr val="744B02"/>
            </a:solidFill>
            <a:round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pPr eaLnBrk="0" hangingPunct="0"/>
            <a:endParaRPr lang="ru-RU" b="1"/>
          </a:p>
        </p:txBody>
      </p:sp>
      <p:sp>
        <p:nvSpPr>
          <p:cNvPr id="2927632" name="Oval 49"/>
          <p:cNvSpPr>
            <a:spLocks noChangeArrowheads="1"/>
          </p:cNvSpPr>
          <p:nvPr/>
        </p:nvSpPr>
        <p:spPr bwMode="auto">
          <a:xfrm>
            <a:off x="3906838" y="1412875"/>
            <a:ext cx="133350" cy="146050"/>
          </a:xfrm>
          <a:prstGeom prst="ellipse">
            <a:avLst/>
          </a:prstGeom>
          <a:solidFill>
            <a:srgbClr val="FDD48B"/>
          </a:solidFill>
          <a:ln w="12700">
            <a:solidFill>
              <a:srgbClr val="744B02"/>
            </a:solidFill>
            <a:round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pPr eaLnBrk="0" hangingPunct="0"/>
            <a:endParaRPr lang="ru-RU" b="1"/>
          </a:p>
        </p:txBody>
      </p:sp>
      <p:sp>
        <p:nvSpPr>
          <p:cNvPr id="2927633" name="Line 50"/>
          <p:cNvSpPr>
            <a:spLocks noChangeShapeType="1"/>
          </p:cNvSpPr>
          <p:nvPr/>
        </p:nvSpPr>
        <p:spPr bwMode="auto">
          <a:xfrm>
            <a:off x="4105275" y="1557338"/>
            <a:ext cx="201613" cy="7143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wrap="none" lIns="90000" tIns="46800" rIns="90000" bIns="46800">
            <a:spAutoFit/>
          </a:bodyPr>
          <a:lstStyle/>
          <a:p>
            <a:endParaRPr lang="ru-RU"/>
          </a:p>
        </p:txBody>
      </p:sp>
      <p:grpSp>
        <p:nvGrpSpPr>
          <p:cNvPr id="2927634" name="Group 51"/>
          <p:cNvGrpSpPr>
            <a:grpSpLocks/>
          </p:cNvGrpSpPr>
          <p:nvPr/>
        </p:nvGrpSpPr>
        <p:grpSpPr bwMode="auto">
          <a:xfrm rot="-667470">
            <a:off x="3441700" y="2852738"/>
            <a:ext cx="1397000" cy="360362"/>
            <a:chOff x="2122" y="2251"/>
            <a:chExt cx="953" cy="227"/>
          </a:xfrm>
        </p:grpSpPr>
        <p:sp>
          <p:nvSpPr>
            <p:cNvPr id="2927651" name="AutoShape 52"/>
            <p:cNvSpPr>
              <a:spLocks noChangeArrowheads="1"/>
            </p:cNvSpPr>
            <p:nvPr/>
          </p:nvSpPr>
          <p:spPr bwMode="auto">
            <a:xfrm>
              <a:off x="2666" y="2296"/>
              <a:ext cx="409" cy="136"/>
            </a:xfrm>
            <a:prstGeom prst="rightArrow">
              <a:avLst>
                <a:gd name="adj1" fmla="val 50000"/>
                <a:gd name="adj2" fmla="val 75184"/>
              </a:avLst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52" name="AutoShape 53"/>
            <p:cNvSpPr>
              <a:spLocks noChangeArrowheads="1"/>
            </p:cNvSpPr>
            <p:nvPr/>
          </p:nvSpPr>
          <p:spPr bwMode="auto">
            <a:xfrm flipH="1">
              <a:off x="2122" y="2296"/>
              <a:ext cx="409" cy="136"/>
            </a:xfrm>
            <a:prstGeom prst="rightArrow">
              <a:avLst>
                <a:gd name="adj1" fmla="val 50000"/>
                <a:gd name="adj2" fmla="val 75184"/>
              </a:avLst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53" name="AutoShape 54"/>
            <p:cNvSpPr>
              <a:spLocks noChangeArrowheads="1"/>
            </p:cNvSpPr>
            <p:nvPr/>
          </p:nvSpPr>
          <p:spPr bwMode="auto">
            <a:xfrm rot="2815020">
              <a:off x="2485" y="2251"/>
              <a:ext cx="227" cy="227"/>
            </a:xfrm>
            <a:prstGeom prst="plus">
              <a:avLst>
                <a:gd name="adj" fmla="val 41852"/>
              </a:avLst>
            </a:prstGeom>
            <a:solidFill>
              <a:srgbClr val="FF3300"/>
            </a:solidFill>
            <a:ln w="12700">
              <a:solidFill>
                <a:srgbClr val="FF3300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</p:grpSp>
      <p:grpSp>
        <p:nvGrpSpPr>
          <p:cNvPr id="2927635" name="Group 55"/>
          <p:cNvGrpSpPr>
            <a:grpSpLocks/>
          </p:cNvGrpSpPr>
          <p:nvPr/>
        </p:nvGrpSpPr>
        <p:grpSpPr bwMode="auto">
          <a:xfrm rot="182964">
            <a:off x="3376613" y="3644900"/>
            <a:ext cx="1395412" cy="360363"/>
            <a:chOff x="2122" y="2251"/>
            <a:chExt cx="953" cy="227"/>
          </a:xfrm>
        </p:grpSpPr>
        <p:sp>
          <p:nvSpPr>
            <p:cNvPr id="2927648" name="AutoShape 56"/>
            <p:cNvSpPr>
              <a:spLocks noChangeArrowheads="1"/>
            </p:cNvSpPr>
            <p:nvPr/>
          </p:nvSpPr>
          <p:spPr bwMode="auto">
            <a:xfrm>
              <a:off x="2666" y="2296"/>
              <a:ext cx="409" cy="136"/>
            </a:xfrm>
            <a:prstGeom prst="rightArrow">
              <a:avLst>
                <a:gd name="adj1" fmla="val 50000"/>
                <a:gd name="adj2" fmla="val 75184"/>
              </a:avLst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49" name="AutoShape 57"/>
            <p:cNvSpPr>
              <a:spLocks noChangeArrowheads="1"/>
            </p:cNvSpPr>
            <p:nvPr/>
          </p:nvSpPr>
          <p:spPr bwMode="auto">
            <a:xfrm flipH="1">
              <a:off x="2122" y="2296"/>
              <a:ext cx="409" cy="136"/>
            </a:xfrm>
            <a:prstGeom prst="rightArrow">
              <a:avLst>
                <a:gd name="adj1" fmla="val 50000"/>
                <a:gd name="adj2" fmla="val 75184"/>
              </a:avLst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  <p:sp>
          <p:nvSpPr>
            <p:cNvPr id="2927650" name="AutoShape 58"/>
            <p:cNvSpPr>
              <a:spLocks noChangeArrowheads="1"/>
            </p:cNvSpPr>
            <p:nvPr/>
          </p:nvSpPr>
          <p:spPr bwMode="auto">
            <a:xfrm rot="2815020">
              <a:off x="2485" y="2251"/>
              <a:ext cx="227" cy="227"/>
            </a:xfrm>
            <a:prstGeom prst="plus">
              <a:avLst>
                <a:gd name="adj" fmla="val 41852"/>
              </a:avLst>
            </a:prstGeom>
            <a:solidFill>
              <a:srgbClr val="FF3300"/>
            </a:solidFill>
            <a:ln w="12700">
              <a:solidFill>
                <a:srgbClr val="FF3300"/>
              </a:solidFill>
              <a:miter lim="800000"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pPr eaLnBrk="0" hangingPunct="0"/>
              <a:endParaRPr lang="ru-RU" b="1"/>
            </a:p>
          </p:txBody>
        </p:sp>
      </p:grpSp>
      <p:sp>
        <p:nvSpPr>
          <p:cNvPr id="2927636" name="Line 59"/>
          <p:cNvSpPr>
            <a:spLocks noChangeShapeType="1"/>
          </p:cNvSpPr>
          <p:nvPr/>
        </p:nvSpPr>
        <p:spPr bwMode="auto">
          <a:xfrm>
            <a:off x="5303838" y="4005263"/>
            <a:ext cx="200025" cy="7143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wrap="none" lIns="90000" tIns="46800" rIns="90000" bIns="46800">
            <a:spAutoFit/>
          </a:bodyPr>
          <a:lstStyle/>
          <a:p>
            <a:endParaRPr lang="ru-RU"/>
          </a:p>
        </p:txBody>
      </p:sp>
      <p:sp>
        <p:nvSpPr>
          <p:cNvPr id="2927637" name="Text Box 60"/>
          <p:cNvSpPr txBox="1">
            <a:spLocks noChangeArrowheads="1"/>
          </p:cNvSpPr>
          <p:nvPr/>
        </p:nvSpPr>
        <p:spPr bwMode="auto">
          <a:xfrm>
            <a:off x="4705350" y="3068638"/>
            <a:ext cx="1017588" cy="3365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eaLnBrk="0" hangingPunct="0"/>
            <a:r>
              <a:rPr lang="ru-RU" sz="1600" b="1">
                <a:solidFill>
                  <a:srgbClr val="FF3300"/>
                </a:solidFill>
              </a:rPr>
              <a:t>автаркия</a:t>
            </a:r>
          </a:p>
        </p:txBody>
      </p:sp>
      <p:sp>
        <p:nvSpPr>
          <p:cNvPr id="2927638" name="Text Box 61"/>
          <p:cNvSpPr txBox="1">
            <a:spLocks noChangeArrowheads="1"/>
          </p:cNvSpPr>
          <p:nvPr/>
        </p:nvSpPr>
        <p:spPr bwMode="auto">
          <a:xfrm>
            <a:off x="4306888" y="4149725"/>
            <a:ext cx="1017587" cy="3365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eaLnBrk="0" hangingPunct="0"/>
            <a:r>
              <a:rPr lang="ru-RU" sz="1600" b="1">
                <a:solidFill>
                  <a:srgbClr val="FF3300"/>
                </a:solidFill>
              </a:rPr>
              <a:t>автаркия</a:t>
            </a:r>
          </a:p>
        </p:txBody>
      </p:sp>
      <p:sp>
        <p:nvSpPr>
          <p:cNvPr id="2927639" name="AutoShape 62"/>
          <p:cNvSpPr>
            <a:spLocks noChangeArrowheads="1"/>
          </p:cNvSpPr>
          <p:nvPr/>
        </p:nvSpPr>
        <p:spPr bwMode="auto">
          <a:xfrm>
            <a:off x="1581150" y="836613"/>
            <a:ext cx="1860550" cy="576262"/>
          </a:xfrm>
          <a:prstGeom prst="wedgeRoundRectCallout">
            <a:avLst>
              <a:gd name="adj1" fmla="val 111023"/>
              <a:gd name="adj2" fmla="val 55509"/>
              <a:gd name="adj3" fmla="val 16667"/>
            </a:avLst>
          </a:prstGeom>
          <a:noFill/>
          <a:ln w="12700">
            <a:solidFill>
              <a:srgbClr val="006600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hangingPunct="0"/>
            <a:r>
              <a:rPr lang="ru-RU" sz="1600" b="1"/>
              <a:t>Крупные</a:t>
            </a:r>
          </a:p>
          <a:p>
            <a:pPr algn="ctr" eaLnBrk="0" hangingPunct="0"/>
            <a:r>
              <a:rPr lang="ru-RU" sz="1600" b="1"/>
              <a:t>предприятия</a:t>
            </a:r>
          </a:p>
        </p:txBody>
      </p:sp>
      <p:sp>
        <p:nvSpPr>
          <p:cNvPr id="2927640" name="AutoShape 63"/>
          <p:cNvSpPr>
            <a:spLocks noChangeArrowheads="1"/>
          </p:cNvSpPr>
          <p:nvPr/>
        </p:nvSpPr>
        <p:spPr bwMode="auto">
          <a:xfrm>
            <a:off x="539750" y="1484313"/>
            <a:ext cx="1862138" cy="576262"/>
          </a:xfrm>
          <a:prstGeom prst="wedgeRoundRectCallout">
            <a:avLst>
              <a:gd name="adj1" fmla="val 46458"/>
              <a:gd name="adj2" fmla="val 137329"/>
              <a:gd name="adj3" fmla="val 16667"/>
            </a:avLst>
          </a:prstGeom>
          <a:noFill/>
          <a:ln w="12700">
            <a:solidFill>
              <a:srgbClr val="006600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algn="ctr" eaLnBrk="0" hangingPunct="0"/>
            <a:r>
              <a:rPr lang="ru-RU" sz="1600" b="1"/>
              <a:t>Малые</a:t>
            </a:r>
          </a:p>
          <a:p>
            <a:pPr algn="ctr" eaLnBrk="0" hangingPunct="0"/>
            <a:r>
              <a:rPr lang="ru-RU" sz="1600" b="1"/>
              <a:t>предприятия</a:t>
            </a:r>
          </a:p>
        </p:txBody>
      </p:sp>
      <p:sp>
        <p:nvSpPr>
          <p:cNvPr id="2927641" name="Freeform 64"/>
          <p:cNvSpPr>
            <a:spLocks/>
          </p:cNvSpPr>
          <p:nvPr/>
        </p:nvSpPr>
        <p:spPr bwMode="auto">
          <a:xfrm>
            <a:off x="1846263" y="4868863"/>
            <a:ext cx="1397000" cy="1081087"/>
          </a:xfrm>
          <a:custGeom>
            <a:avLst/>
            <a:gdLst>
              <a:gd name="T0" fmla="*/ 2147483647 w 1111"/>
              <a:gd name="T1" fmla="*/ 2147483647 h 832"/>
              <a:gd name="T2" fmla="*/ 2147483647 w 1111"/>
              <a:gd name="T3" fmla="*/ 2147483647 h 832"/>
              <a:gd name="T4" fmla="*/ 2147483647 w 1111"/>
              <a:gd name="T5" fmla="*/ 2147483647 h 832"/>
              <a:gd name="T6" fmla="*/ 2147483647 w 1111"/>
              <a:gd name="T7" fmla="*/ 2147483647 h 832"/>
              <a:gd name="T8" fmla="*/ 2147483647 w 1111"/>
              <a:gd name="T9" fmla="*/ 2147483647 h 832"/>
              <a:gd name="T10" fmla="*/ 2147483647 w 1111"/>
              <a:gd name="T11" fmla="*/ 2147483647 h 832"/>
              <a:gd name="T12" fmla="*/ 2147483647 w 1111"/>
              <a:gd name="T13" fmla="*/ 2147483647 h 832"/>
              <a:gd name="T14" fmla="*/ 2147483647 w 1111"/>
              <a:gd name="T15" fmla="*/ 2147483647 h 832"/>
              <a:gd name="T16" fmla="*/ 2147483647 w 1111"/>
              <a:gd name="T17" fmla="*/ 2147483647 h 832"/>
              <a:gd name="T18" fmla="*/ 2147483647 w 1111"/>
              <a:gd name="T19" fmla="*/ 2147483647 h 83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111"/>
              <a:gd name="T31" fmla="*/ 0 h 832"/>
              <a:gd name="T32" fmla="*/ 1111 w 1111"/>
              <a:gd name="T33" fmla="*/ 832 h 83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111" h="832">
                <a:moveTo>
                  <a:pt x="136" y="144"/>
                </a:moveTo>
                <a:cubicBezTo>
                  <a:pt x="98" y="235"/>
                  <a:pt x="0" y="461"/>
                  <a:pt x="45" y="552"/>
                </a:cubicBezTo>
                <a:cubicBezTo>
                  <a:pt x="90" y="643"/>
                  <a:pt x="317" y="643"/>
                  <a:pt x="408" y="688"/>
                </a:cubicBezTo>
                <a:cubicBezTo>
                  <a:pt x="499" y="733"/>
                  <a:pt x="499" y="832"/>
                  <a:pt x="590" y="824"/>
                </a:cubicBezTo>
                <a:cubicBezTo>
                  <a:pt x="681" y="816"/>
                  <a:pt x="869" y="718"/>
                  <a:pt x="952" y="643"/>
                </a:cubicBezTo>
                <a:cubicBezTo>
                  <a:pt x="1035" y="568"/>
                  <a:pt x="1111" y="469"/>
                  <a:pt x="1088" y="371"/>
                </a:cubicBezTo>
                <a:cubicBezTo>
                  <a:pt x="1065" y="273"/>
                  <a:pt x="899" y="98"/>
                  <a:pt x="816" y="53"/>
                </a:cubicBezTo>
                <a:cubicBezTo>
                  <a:pt x="733" y="8"/>
                  <a:pt x="681" y="106"/>
                  <a:pt x="590" y="98"/>
                </a:cubicBezTo>
                <a:cubicBezTo>
                  <a:pt x="499" y="90"/>
                  <a:pt x="348" y="0"/>
                  <a:pt x="272" y="8"/>
                </a:cubicBezTo>
                <a:cubicBezTo>
                  <a:pt x="196" y="16"/>
                  <a:pt x="174" y="53"/>
                  <a:pt x="136" y="144"/>
                </a:cubicBezTo>
                <a:close/>
              </a:path>
            </a:pathLst>
          </a:custGeom>
          <a:solidFill>
            <a:srgbClr val="BEFCB6"/>
          </a:solidFill>
          <a:ln w="28575">
            <a:solidFill>
              <a:srgbClr val="00CC00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ru-RU"/>
          </a:p>
        </p:txBody>
      </p:sp>
      <p:sp>
        <p:nvSpPr>
          <p:cNvPr id="621633" name="Text Box 65"/>
          <p:cNvSpPr txBox="1">
            <a:spLocks noChangeArrowheads="1"/>
          </p:cNvSpPr>
          <p:nvPr/>
        </p:nvSpPr>
        <p:spPr bwMode="auto">
          <a:xfrm>
            <a:off x="2136775" y="5180013"/>
            <a:ext cx="708025" cy="3365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eaLnBrk="0" hangingPunct="0">
              <a:defRPr/>
            </a:pPr>
            <a:r>
              <a:rPr lang="ru-RU" sz="1600" b="1">
                <a:solidFill>
                  <a:srgbClr val="3399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Наука</a:t>
            </a:r>
          </a:p>
        </p:txBody>
      </p:sp>
      <p:sp>
        <p:nvSpPr>
          <p:cNvPr id="2927643" name="Text Box 66"/>
          <p:cNvSpPr txBox="1">
            <a:spLocks noChangeArrowheads="1"/>
          </p:cNvSpPr>
          <p:nvPr/>
        </p:nvSpPr>
        <p:spPr bwMode="auto">
          <a:xfrm>
            <a:off x="1116013" y="5949950"/>
            <a:ext cx="1946275" cy="3365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eaLnBrk="0" hangingPunct="0"/>
            <a:r>
              <a:rPr lang="ru-RU" sz="1600" b="1">
                <a:solidFill>
                  <a:srgbClr val="FF3300"/>
                </a:solidFill>
              </a:rPr>
              <a:t>Наука ради науки</a:t>
            </a:r>
          </a:p>
        </p:txBody>
      </p:sp>
      <p:sp>
        <p:nvSpPr>
          <p:cNvPr id="2927644" name="Freeform 67"/>
          <p:cNvSpPr>
            <a:spLocks/>
          </p:cNvSpPr>
          <p:nvPr/>
        </p:nvSpPr>
        <p:spPr bwMode="auto">
          <a:xfrm>
            <a:off x="5502275" y="4868863"/>
            <a:ext cx="1397000" cy="1081087"/>
          </a:xfrm>
          <a:custGeom>
            <a:avLst/>
            <a:gdLst>
              <a:gd name="T0" fmla="*/ 2147483647 w 1111"/>
              <a:gd name="T1" fmla="*/ 2147483647 h 832"/>
              <a:gd name="T2" fmla="*/ 2147483647 w 1111"/>
              <a:gd name="T3" fmla="*/ 2147483647 h 832"/>
              <a:gd name="T4" fmla="*/ 2147483647 w 1111"/>
              <a:gd name="T5" fmla="*/ 2147483647 h 832"/>
              <a:gd name="T6" fmla="*/ 2147483647 w 1111"/>
              <a:gd name="T7" fmla="*/ 2147483647 h 832"/>
              <a:gd name="T8" fmla="*/ 2147483647 w 1111"/>
              <a:gd name="T9" fmla="*/ 2147483647 h 832"/>
              <a:gd name="T10" fmla="*/ 2147483647 w 1111"/>
              <a:gd name="T11" fmla="*/ 2147483647 h 832"/>
              <a:gd name="T12" fmla="*/ 2147483647 w 1111"/>
              <a:gd name="T13" fmla="*/ 2147483647 h 832"/>
              <a:gd name="T14" fmla="*/ 2147483647 w 1111"/>
              <a:gd name="T15" fmla="*/ 2147483647 h 832"/>
              <a:gd name="T16" fmla="*/ 2147483647 w 1111"/>
              <a:gd name="T17" fmla="*/ 2147483647 h 832"/>
              <a:gd name="T18" fmla="*/ 2147483647 w 1111"/>
              <a:gd name="T19" fmla="*/ 2147483647 h 83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111"/>
              <a:gd name="T31" fmla="*/ 0 h 832"/>
              <a:gd name="T32" fmla="*/ 1111 w 1111"/>
              <a:gd name="T33" fmla="*/ 832 h 83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111" h="832">
                <a:moveTo>
                  <a:pt x="136" y="144"/>
                </a:moveTo>
                <a:cubicBezTo>
                  <a:pt x="98" y="235"/>
                  <a:pt x="0" y="461"/>
                  <a:pt x="45" y="552"/>
                </a:cubicBezTo>
                <a:cubicBezTo>
                  <a:pt x="90" y="643"/>
                  <a:pt x="317" y="643"/>
                  <a:pt x="408" y="688"/>
                </a:cubicBezTo>
                <a:cubicBezTo>
                  <a:pt x="499" y="733"/>
                  <a:pt x="499" y="832"/>
                  <a:pt x="590" y="824"/>
                </a:cubicBezTo>
                <a:cubicBezTo>
                  <a:pt x="681" y="816"/>
                  <a:pt x="869" y="718"/>
                  <a:pt x="952" y="643"/>
                </a:cubicBezTo>
                <a:cubicBezTo>
                  <a:pt x="1035" y="568"/>
                  <a:pt x="1111" y="469"/>
                  <a:pt x="1088" y="371"/>
                </a:cubicBezTo>
                <a:cubicBezTo>
                  <a:pt x="1065" y="273"/>
                  <a:pt x="899" y="98"/>
                  <a:pt x="816" y="53"/>
                </a:cubicBezTo>
                <a:cubicBezTo>
                  <a:pt x="733" y="8"/>
                  <a:pt x="681" y="106"/>
                  <a:pt x="590" y="98"/>
                </a:cubicBezTo>
                <a:cubicBezTo>
                  <a:pt x="499" y="90"/>
                  <a:pt x="348" y="0"/>
                  <a:pt x="272" y="8"/>
                </a:cubicBezTo>
                <a:cubicBezTo>
                  <a:pt x="196" y="16"/>
                  <a:pt x="174" y="53"/>
                  <a:pt x="136" y="144"/>
                </a:cubicBezTo>
                <a:close/>
              </a:path>
            </a:pathLst>
          </a:custGeom>
          <a:solidFill>
            <a:srgbClr val="BEFCB6"/>
          </a:solidFill>
          <a:ln w="28575">
            <a:solidFill>
              <a:srgbClr val="00CC00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ru-RU"/>
          </a:p>
        </p:txBody>
      </p:sp>
      <p:sp>
        <p:nvSpPr>
          <p:cNvPr id="621636" name="Text Box 68"/>
          <p:cNvSpPr txBox="1">
            <a:spLocks noChangeArrowheads="1"/>
          </p:cNvSpPr>
          <p:nvPr/>
        </p:nvSpPr>
        <p:spPr bwMode="auto">
          <a:xfrm>
            <a:off x="5568950" y="5084763"/>
            <a:ext cx="1401763" cy="5810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eaLnBrk="0" hangingPunct="0">
              <a:defRPr/>
            </a:pPr>
            <a:r>
              <a:rPr lang="ru-RU" sz="1600" b="1">
                <a:solidFill>
                  <a:srgbClr val="3399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Бизнес-</a:t>
            </a:r>
          </a:p>
          <a:p>
            <a:pPr eaLnBrk="0" hangingPunct="0">
              <a:defRPr/>
            </a:pPr>
            <a:r>
              <a:rPr lang="ru-RU" sz="1600" b="1">
                <a:solidFill>
                  <a:srgbClr val="3399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инкубаторы</a:t>
            </a:r>
          </a:p>
        </p:txBody>
      </p:sp>
      <p:sp>
        <p:nvSpPr>
          <p:cNvPr id="2927646" name="Text Box 69"/>
          <p:cNvSpPr txBox="1">
            <a:spLocks noChangeArrowheads="1"/>
          </p:cNvSpPr>
          <p:nvPr/>
        </p:nvSpPr>
        <p:spPr bwMode="auto">
          <a:xfrm>
            <a:off x="4572000" y="5949950"/>
            <a:ext cx="3043238" cy="3365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eaLnBrk="0" hangingPunct="0"/>
            <a:r>
              <a:rPr lang="ru-RU" sz="1600" b="1">
                <a:solidFill>
                  <a:srgbClr val="FF3300"/>
                </a:solidFill>
              </a:rPr>
              <a:t>Перспективы роста не ясны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AD23508-3E27-4D08-9D84-482E4FB8B8E6}" type="slidenum">
              <a:rPr lang="ru-RU" smtClean="0"/>
              <a:pPr>
                <a:defRPr/>
              </a:pPr>
              <a:t>18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8641" name="Rectangle 2"/>
          <p:cNvSpPr>
            <a:spLocks noGrp="1"/>
          </p:cNvSpPr>
          <p:nvPr>
            <p:ph type="title"/>
          </p:nvPr>
        </p:nvSpPr>
        <p:spPr>
          <a:xfrm>
            <a:off x="457200" y="-315913"/>
            <a:ext cx="8229600" cy="1143001"/>
          </a:xfrm>
        </p:spPr>
        <p:txBody>
          <a:bodyPr/>
          <a:lstStyle/>
          <a:p>
            <a:r>
              <a:rPr lang="ru-RU" smtClean="0"/>
              <a:t> </a:t>
            </a:r>
            <a:r>
              <a:rPr lang="ru-RU" sz="3600" b="1" smtClean="0"/>
              <a:t>Кластерный подход</a:t>
            </a:r>
          </a:p>
        </p:txBody>
      </p:sp>
      <p:sp>
        <p:nvSpPr>
          <p:cNvPr id="2928642" name="Rectangle 3"/>
          <p:cNvSpPr>
            <a:spLocks noGrp="1"/>
          </p:cNvSpPr>
          <p:nvPr>
            <p:ph type="body" idx="1"/>
          </p:nvPr>
        </p:nvSpPr>
        <p:spPr>
          <a:xfrm>
            <a:off x="971550" y="1196975"/>
            <a:ext cx="7715250" cy="4425950"/>
          </a:xfrm>
        </p:spPr>
        <p:txBody>
          <a:bodyPr/>
          <a:lstStyle/>
          <a:p>
            <a:pPr>
              <a:buFont typeface="Arial" charset="0"/>
              <a:buNone/>
            </a:pPr>
            <a:r>
              <a:rPr lang="ru-RU" sz="2800" smtClean="0"/>
              <a:t>	</a:t>
            </a:r>
            <a:r>
              <a:rPr lang="ru-RU" sz="2800" b="1" i="1" smtClean="0">
                <a:solidFill>
                  <a:srgbClr val="FF0000"/>
                </a:solidFill>
                <a:latin typeface="Arial" charset="0"/>
                <a:cs typeface="Arial" charset="0"/>
              </a:rPr>
              <a:t>Территориальные кластеры </a:t>
            </a:r>
            <a:r>
              <a:rPr lang="ru-RU" sz="2800" b="1" i="1" smtClean="0">
                <a:latin typeface="Arial" charset="0"/>
                <a:cs typeface="Arial" charset="0"/>
              </a:rPr>
              <a:t>- </a:t>
            </a:r>
            <a:r>
              <a:rPr lang="ru-RU" sz="2800" i="1" smtClean="0">
                <a:latin typeface="Arial" charset="0"/>
                <a:cs typeface="Arial" charset="0"/>
              </a:rPr>
              <a:t>объединение предприятий, поставщиков оборудования, комплектующих, специализированных производственных и сервисных услуг, научно-исследовательских и образовательных организаций, связанных отношениями территориальной близости и функциональной зависимости в сфере производства и реализации товаров и услуг.</a:t>
            </a:r>
          </a:p>
        </p:txBody>
      </p:sp>
      <p:grpSp>
        <p:nvGrpSpPr>
          <p:cNvPr id="2928643" name="Группа 1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7" name="Овал 26"/>
            <p:cNvSpPr/>
            <p:nvPr/>
          </p:nvSpPr>
          <p:spPr>
            <a:xfrm>
              <a:off x="322263" y="500063"/>
              <a:ext cx="785812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723900" y="357188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9" name="Овал 28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0" name="Полилиния 29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pic>
        <p:nvPicPr>
          <p:cNvPr id="30525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6237312"/>
            <a:ext cx="21336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7400875" y="6419873"/>
            <a:ext cx="1296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                      </a:t>
            </a:r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19</a:t>
            </a:r>
            <a:endParaRPr lang="ru-RU" sz="10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07137" name="Группа 10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3" name="Овал 12"/>
            <p:cNvSpPr/>
            <p:nvPr/>
          </p:nvSpPr>
          <p:spPr>
            <a:xfrm>
              <a:off x="322263" y="500063"/>
              <a:ext cx="785812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714375" y="357188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Овал 14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Полилиния 15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2907138" name="Rectangle 2"/>
          <p:cNvSpPr>
            <a:spLocks noGrp="1"/>
          </p:cNvSpPr>
          <p:nvPr>
            <p:ph type="title" idx="4294967295"/>
          </p:nvPr>
        </p:nvSpPr>
        <p:spPr>
          <a:xfrm>
            <a:off x="457200" y="-26988"/>
            <a:ext cx="8229600" cy="649288"/>
          </a:xfrm>
        </p:spPr>
        <p:txBody>
          <a:bodyPr/>
          <a:lstStyle/>
          <a:p>
            <a:r>
              <a:rPr lang="ru-RU" sz="2800" b="1" dirty="0" smtClean="0">
                <a:latin typeface="Arial" charset="0"/>
                <a:cs typeface="Arial" charset="0"/>
              </a:rPr>
              <a:t>Малый бизнес в России и в мире</a:t>
            </a:r>
          </a:p>
        </p:txBody>
      </p:sp>
      <p:sp>
        <p:nvSpPr>
          <p:cNvPr id="2907139" name="TextBox 23"/>
          <p:cNvSpPr txBox="1">
            <a:spLocks noChangeArrowheads="1"/>
          </p:cNvSpPr>
          <p:nvPr/>
        </p:nvSpPr>
        <p:spPr bwMode="auto">
          <a:xfrm>
            <a:off x="1116013" y="1484313"/>
            <a:ext cx="7632700" cy="435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>
                <a:solidFill>
                  <a:schemeClr val="accent1"/>
                </a:solidFill>
              </a:rPr>
              <a:t>Почему малый бизнес во всем мире считается мощной экономической и социальной силой?</a:t>
            </a:r>
          </a:p>
          <a:p>
            <a:pPr algn="ctr"/>
            <a:endParaRPr lang="ru-RU" sz="4000" b="1">
              <a:solidFill>
                <a:schemeClr val="accent1"/>
              </a:solidFill>
            </a:endParaRPr>
          </a:p>
          <a:p>
            <a:pPr algn="ctr"/>
            <a:endParaRPr lang="ru-RU" sz="4000" b="1">
              <a:solidFill>
                <a:schemeClr val="accent1"/>
              </a:solidFill>
            </a:endParaRPr>
          </a:p>
          <a:p>
            <a:pPr algn="ctr"/>
            <a:r>
              <a:rPr lang="ru-RU" sz="4000" b="1">
                <a:solidFill>
                  <a:schemeClr val="tx2"/>
                </a:solidFill>
              </a:rPr>
              <a:t>Какова его миссия в России?</a:t>
            </a:r>
            <a:r>
              <a:rPr lang="ru-RU" sz="3600" b="1"/>
              <a:t>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459788" y="6356350"/>
            <a:ext cx="227012" cy="365125"/>
          </a:xfrm>
        </p:spPr>
        <p:txBody>
          <a:bodyPr/>
          <a:lstStyle/>
          <a:p>
            <a:pPr>
              <a:defRPr/>
            </a:pPr>
            <a:fld id="{17016003-02F5-482A-8AA6-5921A6C391BC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723900" y="357188"/>
            <a:ext cx="601663" cy="1143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929666" name="TextBox 9"/>
          <p:cNvSpPr txBox="1">
            <a:spLocks noChangeArrowheads="1"/>
          </p:cNvSpPr>
          <p:nvPr/>
        </p:nvSpPr>
        <p:spPr bwMode="auto">
          <a:xfrm>
            <a:off x="1285875" y="44450"/>
            <a:ext cx="72866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800" b="1"/>
              <a:t>Структура кластера</a:t>
            </a:r>
          </a:p>
        </p:txBody>
      </p:sp>
      <p:pic>
        <p:nvPicPr>
          <p:cNvPr id="292966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28688" y="642938"/>
            <a:ext cx="8215312" cy="616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>
          <a:xfrm>
            <a:off x="6588125" y="6381750"/>
            <a:ext cx="2133600" cy="365125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mtClean="0">
              <a:solidFill>
                <a:srgbClr val="898989"/>
              </a:solidFill>
              <a:cs typeface="Arial" charset="0"/>
            </a:endParaRPr>
          </a:p>
        </p:txBody>
      </p:sp>
      <p:pic>
        <p:nvPicPr>
          <p:cNvPr id="292966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28688" y="696913"/>
            <a:ext cx="8215312" cy="616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6"/>
          <p:cNvSpPr/>
          <p:nvPr/>
        </p:nvSpPr>
        <p:spPr>
          <a:xfrm>
            <a:off x="755650" y="333375"/>
            <a:ext cx="601663" cy="1143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" name="Прямоугольник 6"/>
          <p:cNvSpPr/>
          <p:nvPr/>
        </p:nvSpPr>
        <p:spPr>
          <a:xfrm>
            <a:off x="730250" y="333375"/>
            <a:ext cx="601663" cy="1143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" name="Прямоугольник 6"/>
          <p:cNvSpPr/>
          <p:nvPr/>
        </p:nvSpPr>
        <p:spPr>
          <a:xfrm>
            <a:off x="731838" y="309563"/>
            <a:ext cx="601662" cy="1143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pSp>
        <p:nvGrpSpPr>
          <p:cNvPr id="2929673" name="Группа 1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5" name="Прямоугольник 4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6" name="Овал 5"/>
            <p:cNvSpPr/>
            <p:nvPr/>
          </p:nvSpPr>
          <p:spPr>
            <a:xfrm>
              <a:off x="322263" y="500063"/>
              <a:ext cx="785812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0" name="Прямоугольник 6"/>
            <p:cNvSpPr/>
            <p:nvPr/>
          </p:nvSpPr>
          <p:spPr>
            <a:xfrm>
              <a:off x="723900" y="357188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8" name="Овал 7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9" name="Полилиния 8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12" name="Нижний колонтитул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13" name="Номер слайда 2"/>
          <p:cNvSpPr txBox="1">
            <a:spLocks noGrp="1"/>
          </p:cNvSpPr>
          <p:nvPr/>
        </p:nvSpPr>
        <p:spPr>
          <a:xfrm>
            <a:off x="8459788" y="6356350"/>
            <a:ext cx="433387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77137535-7057-494C-85F4-BC63001CBFBE}" type="slidenum">
              <a:rPr lang="ru-RU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0</a:t>
            </a:fld>
            <a:endParaRPr lang="ru-RU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5957888" y="5910263"/>
            <a:ext cx="2133600" cy="365125"/>
          </a:xfrm>
        </p:spPr>
        <p:txBody>
          <a:bodyPr/>
          <a:lstStyle/>
          <a:p>
            <a:pPr>
              <a:defRPr/>
            </a:pPr>
            <a:fld id="{28AD6024-3877-464C-B6F9-503A2989F467}" type="slidenum">
              <a:rPr lang="ru-RU" smtClean="0"/>
              <a:pPr>
                <a:defRPr/>
              </a:pPr>
              <a:t>21</a:t>
            </a:fld>
            <a:endParaRPr lang="ru-RU" dirty="0"/>
          </a:p>
        </p:txBody>
      </p:sp>
      <p:grpSp>
        <p:nvGrpSpPr>
          <p:cNvPr id="2931714" name="Группа 36"/>
          <p:cNvGrpSpPr>
            <a:grpSpLocks/>
          </p:cNvGrpSpPr>
          <p:nvPr/>
        </p:nvGrpSpPr>
        <p:grpSpPr bwMode="auto">
          <a:xfrm>
            <a:off x="2025650" y="5083175"/>
            <a:ext cx="6010275" cy="1323975"/>
            <a:chOff x="3133714" y="1643050"/>
            <a:chExt cx="6010285" cy="1000132"/>
          </a:xfrm>
        </p:grpSpPr>
        <p:sp>
          <p:nvSpPr>
            <p:cNvPr id="5" name="Прямоугольник с одним скругленным углом 4"/>
            <p:cNvSpPr/>
            <p:nvPr/>
          </p:nvSpPr>
          <p:spPr>
            <a:xfrm>
              <a:off x="3143239" y="1643050"/>
              <a:ext cx="3286130" cy="214657"/>
            </a:xfrm>
            <a:prstGeom prst="round1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3133714" y="1814536"/>
              <a:ext cx="6010285" cy="828646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grpSp>
        <p:nvGrpSpPr>
          <p:cNvPr id="2931715" name="Группа 30"/>
          <p:cNvGrpSpPr>
            <a:grpSpLocks/>
          </p:cNvGrpSpPr>
          <p:nvPr/>
        </p:nvGrpSpPr>
        <p:grpSpPr bwMode="auto">
          <a:xfrm>
            <a:off x="2025650" y="3827463"/>
            <a:ext cx="6010275" cy="1041400"/>
            <a:chOff x="3133714" y="1643050"/>
            <a:chExt cx="6010285" cy="1042542"/>
          </a:xfrm>
        </p:grpSpPr>
        <p:sp>
          <p:nvSpPr>
            <p:cNvPr id="8" name="Прямоугольник с одним скругленным углом 7"/>
            <p:cNvSpPr/>
            <p:nvPr/>
          </p:nvSpPr>
          <p:spPr>
            <a:xfrm>
              <a:off x="3143239" y="1643050"/>
              <a:ext cx="3286130" cy="214547"/>
            </a:xfrm>
            <a:prstGeom prst="round1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3133714" y="1814688"/>
              <a:ext cx="6010285" cy="87090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grpSp>
        <p:nvGrpSpPr>
          <p:cNvPr id="2931716" name="Группа 24"/>
          <p:cNvGrpSpPr>
            <a:grpSpLocks/>
          </p:cNvGrpSpPr>
          <p:nvPr/>
        </p:nvGrpSpPr>
        <p:grpSpPr bwMode="auto">
          <a:xfrm>
            <a:off x="2025650" y="2511425"/>
            <a:ext cx="6010275" cy="1173163"/>
            <a:chOff x="3133714" y="1643050"/>
            <a:chExt cx="6010285" cy="1172036"/>
          </a:xfrm>
        </p:grpSpPr>
        <p:sp>
          <p:nvSpPr>
            <p:cNvPr id="11" name="Прямоугольник с одним скругленным углом 10"/>
            <p:cNvSpPr/>
            <p:nvPr/>
          </p:nvSpPr>
          <p:spPr>
            <a:xfrm>
              <a:off x="3143239" y="1643050"/>
              <a:ext cx="3286130" cy="214107"/>
            </a:xfrm>
            <a:prstGeom prst="round1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3133714" y="1814335"/>
              <a:ext cx="6010285" cy="1000751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grpSp>
        <p:nvGrpSpPr>
          <p:cNvPr id="2931717" name="Группа 17"/>
          <p:cNvGrpSpPr>
            <a:grpSpLocks/>
          </p:cNvGrpSpPr>
          <p:nvPr/>
        </p:nvGrpSpPr>
        <p:grpSpPr bwMode="auto">
          <a:xfrm>
            <a:off x="2051050" y="1196975"/>
            <a:ext cx="6010275" cy="1171575"/>
            <a:chOff x="3133714" y="1643050"/>
            <a:chExt cx="6010285" cy="1172036"/>
          </a:xfrm>
        </p:grpSpPr>
        <p:sp>
          <p:nvSpPr>
            <p:cNvPr id="14" name="Прямоугольник с одним скругленным углом 13"/>
            <p:cNvSpPr/>
            <p:nvPr/>
          </p:nvSpPr>
          <p:spPr>
            <a:xfrm>
              <a:off x="3143239" y="1643050"/>
              <a:ext cx="3286130" cy="214397"/>
            </a:xfrm>
            <a:prstGeom prst="round1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3133714" y="1814567"/>
              <a:ext cx="6010285" cy="100051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2931718" name="Прямоугольник 11"/>
          <p:cNvSpPr>
            <a:spLocks noChangeArrowheads="1"/>
          </p:cNvSpPr>
          <p:nvPr/>
        </p:nvSpPr>
        <p:spPr bwMode="auto">
          <a:xfrm>
            <a:off x="2119313" y="1427163"/>
            <a:ext cx="5929312" cy="922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>
                <a:latin typeface="Calibri" pitchFamily="34" charset="0"/>
              </a:rPr>
              <a:t>устойчивая система распространения новых технологий, знаний, продукции, так называемая технологическая сеть, которая опирается на совместную научную базу.</a:t>
            </a:r>
          </a:p>
        </p:txBody>
      </p:sp>
      <p:sp>
        <p:nvSpPr>
          <p:cNvPr id="2931719" name="Прямоугольник 12"/>
          <p:cNvSpPr>
            <a:spLocks noChangeArrowheads="1"/>
          </p:cNvSpPr>
          <p:nvPr/>
        </p:nvSpPr>
        <p:spPr bwMode="auto">
          <a:xfrm>
            <a:off x="2119313" y="2644775"/>
            <a:ext cx="5929312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>
                <a:latin typeface="Calibri" pitchFamily="34" charset="0"/>
              </a:rPr>
              <a:t>дополнительные конкурентные преимущества за счет возможности осуществлять внутреннюю специализацию и стандартизацию, минимизировать затраты на внедрение инноваций</a:t>
            </a:r>
          </a:p>
        </p:txBody>
      </p:sp>
      <p:sp>
        <p:nvSpPr>
          <p:cNvPr id="2931720" name="Прямоугольник 13"/>
          <p:cNvSpPr>
            <a:spLocks noChangeArrowheads="1"/>
          </p:cNvSpPr>
          <p:nvPr/>
        </p:nvSpPr>
        <p:spPr bwMode="auto">
          <a:xfrm>
            <a:off x="2047875" y="4006850"/>
            <a:ext cx="5929313" cy="92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>
                <a:latin typeface="Calibri" pitchFamily="34" charset="0"/>
              </a:rPr>
              <a:t>конкуренция в процессе производства креативных идей, позволяет нащупывать инновационные точки роста экономики региона.</a:t>
            </a:r>
          </a:p>
        </p:txBody>
      </p:sp>
      <p:sp>
        <p:nvSpPr>
          <p:cNvPr id="2931721" name="Прямоугольник 14"/>
          <p:cNvSpPr>
            <a:spLocks noChangeArrowheads="1"/>
          </p:cNvSpPr>
          <p:nvPr/>
        </p:nvSpPr>
        <p:spPr bwMode="auto">
          <a:xfrm>
            <a:off x="2047875" y="5207000"/>
            <a:ext cx="5929313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>
                <a:latin typeface="Calibri" pitchFamily="34" charset="0"/>
              </a:rPr>
              <a:t>региональные промышленные кластеры обеспечивают малым и средним предприятиям высокую степень специализации при обслуживании конкретной предпринимательской ниши</a:t>
            </a:r>
          </a:p>
        </p:txBody>
      </p:sp>
      <p:sp>
        <p:nvSpPr>
          <p:cNvPr id="20" name="Нашивка 19"/>
          <p:cNvSpPr/>
          <p:nvPr/>
        </p:nvSpPr>
        <p:spPr>
          <a:xfrm>
            <a:off x="1398588" y="1576388"/>
            <a:ext cx="285750" cy="357187"/>
          </a:xfrm>
          <a:prstGeom prst="chevron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21" name="Нашивка 20"/>
          <p:cNvSpPr/>
          <p:nvPr/>
        </p:nvSpPr>
        <p:spPr>
          <a:xfrm>
            <a:off x="1619250" y="2824163"/>
            <a:ext cx="285750" cy="357187"/>
          </a:xfrm>
          <a:prstGeom prst="chevron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22" name="Нашивка 21"/>
          <p:cNvSpPr/>
          <p:nvPr/>
        </p:nvSpPr>
        <p:spPr>
          <a:xfrm>
            <a:off x="1619250" y="4125913"/>
            <a:ext cx="285750" cy="357187"/>
          </a:xfrm>
          <a:prstGeom prst="chevron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23" name="Нашивка 22"/>
          <p:cNvSpPr/>
          <p:nvPr/>
        </p:nvSpPr>
        <p:spPr>
          <a:xfrm>
            <a:off x="1619250" y="5411788"/>
            <a:ext cx="285750" cy="357187"/>
          </a:xfrm>
          <a:prstGeom prst="chevron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2931726" name="TextBox 23"/>
          <p:cNvSpPr txBox="1">
            <a:spLocks noChangeArrowheads="1"/>
          </p:cNvSpPr>
          <p:nvPr/>
        </p:nvSpPr>
        <p:spPr bwMode="auto">
          <a:xfrm>
            <a:off x="1501775" y="44450"/>
            <a:ext cx="775017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800" b="1"/>
              <a:t>Преимущества кластерного подхода</a:t>
            </a:r>
          </a:p>
        </p:txBody>
      </p:sp>
      <p:grpSp>
        <p:nvGrpSpPr>
          <p:cNvPr id="2931727" name="Группа 1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7" name="Овал 26"/>
            <p:cNvSpPr/>
            <p:nvPr/>
          </p:nvSpPr>
          <p:spPr>
            <a:xfrm>
              <a:off x="322263" y="500063"/>
              <a:ext cx="785812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723900" y="357188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9" name="Овал 28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0" name="Полилиния 29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32" name="Нашивка 31"/>
          <p:cNvSpPr/>
          <p:nvPr/>
        </p:nvSpPr>
        <p:spPr>
          <a:xfrm>
            <a:off x="1509713" y="2835275"/>
            <a:ext cx="285750" cy="357188"/>
          </a:xfrm>
          <a:prstGeom prst="chevron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33" name="Нашивка 32"/>
          <p:cNvSpPr/>
          <p:nvPr/>
        </p:nvSpPr>
        <p:spPr>
          <a:xfrm>
            <a:off x="1509713" y="4121150"/>
            <a:ext cx="285750" cy="357188"/>
          </a:xfrm>
          <a:prstGeom prst="chevron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34" name="Нашивка 33"/>
          <p:cNvSpPr/>
          <p:nvPr/>
        </p:nvSpPr>
        <p:spPr>
          <a:xfrm>
            <a:off x="1509713" y="5407025"/>
            <a:ext cx="285750" cy="357188"/>
          </a:xfrm>
          <a:prstGeom prst="chevron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35" name="Нашивка 34"/>
          <p:cNvSpPr/>
          <p:nvPr/>
        </p:nvSpPr>
        <p:spPr>
          <a:xfrm>
            <a:off x="1541463" y="1576388"/>
            <a:ext cx="285750" cy="357187"/>
          </a:xfrm>
          <a:prstGeom prst="chevron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2931732" name="Номер слайда 2"/>
          <p:cNvSpPr txBox="1">
            <a:spLocks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5350CF31-9E04-49EE-BDD6-F27E9C086620}" type="slidenum">
              <a:rPr lang="ru-RU" sz="1200">
                <a:solidFill>
                  <a:srgbClr val="898989"/>
                </a:solidFill>
                <a:latin typeface="Calibri" pitchFamily="34" charset="0"/>
              </a:rPr>
              <a:pPr algn="r"/>
              <a:t>21</a:t>
            </a:fld>
            <a:endParaRPr lang="ru-RU" sz="1200">
              <a:solidFill>
                <a:srgbClr val="898989"/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2737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0825" y="333375"/>
            <a:ext cx="8423275" cy="431800"/>
          </a:xfrm>
        </p:spPr>
        <p:txBody>
          <a:bodyPr/>
          <a:lstStyle/>
          <a:p>
            <a:r>
              <a:rPr lang="ru-RU" sz="2400" b="1" smtClean="0"/>
              <a:t>ПОТЕНЦИАЛЬНЫЕ КЛАСТЕРЫ</a:t>
            </a:r>
          </a:p>
        </p:txBody>
      </p:sp>
      <p:sp>
        <p:nvSpPr>
          <p:cNvPr id="2932738" name="Freeform 3"/>
          <p:cNvSpPr>
            <a:spLocks/>
          </p:cNvSpPr>
          <p:nvPr/>
        </p:nvSpPr>
        <p:spPr bwMode="auto">
          <a:xfrm>
            <a:off x="5581650" y="3959225"/>
            <a:ext cx="936625" cy="1081088"/>
          </a:xfrm>
          <a:custGeom>
            <a:avLst/>
            <a:gdLst>
              <a:gd name="T0" fmla="*/ 2147483647 w 2359"/>
              <a:gd name="T1" fmla="*/ 2147483647 h 2720"/>
              <a:gd name="T2" fmla="*/ 2147483647 w 2359"/>
              <a:gd name="T3" fmla="*/ 2147483647 h 2720"/>
              <a:gd name="T4" fmla="*/ 2147483647 w 2359"/>
              <a:gd name="T5" fmla="*/ 2147483647 h 2720"/>
              <a:gd name="T6" fmla="*/ 2147483647 w 2359"/>
              <a:gd name="T7" fmla="*/ 2147483647 h 2720"/>
              <a:gd name="T8" fmla="*/ 2147483647 w 2359"/>
              <a:gd name="T9" fmla="*/ 2147483647 h 2720"/>
              <a:gd name="T10" fmla="*/ 2147483647 w 2359"/>
              <a:gd name="T11" fmla="*/ 2147483647 h 2720"/>
              <a:gd name="T12" fmla="*/ 2147483647 w 2359"/>
              <a:gd name="T13" fmla="*/ 2147483647 h 2720"/>
              <a:gd name="T14" fmla="*/ 2147483647 w 2359"/>
              <a:gd name="T15" fmla="*/ 2147483647 h 2720"/>
              <a:gd name="T16" fmla="*/ 2147483647 w 2359"/>
              <a:gd name="T17" fmla="*/ 2147483647 h 2720"/>
              <a:gd name="T18" fmla="*/ 2147483647 w 2359"/>
              <a:gd name="T19" fmla="*/ 2147483647 h 2720"/>
              <a:gd name="T20" fmla="*/ 2147483647 w 2359"/>
              <a:gd name="T21" fmla="*/ 2147483647 h 2720"/>
              <a:gd name="T22" fmla="*/ 2147483647 w 2359"/>
              <a:gd name="T23" fmla="*/ 2147483647 h 2720"/>
              <a:gd name="T24" fmla="*/ 2147483647 w 2359"/>
              <a:gd name="T25" fmla="*/ 2147483647 h 2720"/>
              <a:gd name="T26" fmla="*/ 2147483647 w 2359"/>
              <a:gd name="T27" fmla="*/ 2147483647 h 2720"/>
              <a:gd name="T28" fmla="*/ 2147483647 w 2359"/>
              <a:gd name="T29" fmla="*/ 2147483647 h 2720"/>
              <a:gd name="T30" fmla="*/ 2147483647 w 2359"/>
              <a:gd name="T31" fmla="*/ 2147483647 h 2720"/>
              <a:gd name="T32" fmla="*/ 2147483647 w 2359"/>
              <a:gd name="T33" fmla="*/ 2147483647 h 2720"/>
              <a:gd name="T34" fmla="*/ 2147483647 w 2359"/>
              <a:gd name="T35" fmla="*/ 2147483647 h 2720"/>
              <a:gd name="T36" fmla="*/ 2147483647 w 2359"/>
              <a:gd name="T37" fmla="*/ 2147483647 h 2720"/>
              <a:gd name="T38" fmla="*/ 2147483647 w 2359"/>
              <a:gd name="T39" fmla="*/ 2147483647 h 2720"/>
              <a:gd name="T40" fmla="*/ 2147483647 w 2359"/>
              <a:gd name="T41" fmla="*/ 2147483647 h 2720"/>
              <a:gd name="T42" fmla="*/ 2147483647 w 2359"/>
              <a:gd name="T43" fmla="*/ 2147483647 h 2720"/>
              <a:gd name="T44" fmla="*/ 2147483647 w 2359"/>
              <a:gd name="T45" fmla="*/ 2147483647 h 2720"/>
              <a:gd name="T46" fmla="*/ 2147483647 w 2359"/>
              <a:gd name="T47" fmla="*/ 2147483647 h 2720"/>
              <a:gd name="T48" fmla="*/ 2147483647 w 2359"/>
              <a:gd name="T49" fmla="*/ 2147483647 h 2720"/>
              <a:gd name="T50" fmla="*/ 2147483647 w 2359"/>
              <a:gd name="T51" fmla="*/ 2147483647 h 2720"/>
              <a:gd name="T52" fmla="*/ 2147483647 w 2359"/>
              <a:gd name="T53" fmla="*/ 2147483647 h 2720"/>
              <a:gd name="T54" fmla="*/ 2147483647 w 2359"/>
              <a:gd name="T55" fmla="*/ 2147483647 h 2720"/>
              <a:gd name="T56" fmla="*/ 2147483647 w 2359"/>
              <a:gd name="T57" fmla="*/ 2147483647 h 2720"/>
              <a:gd name="T58" fmla="*/ 2147483647 w 2359"/>
              <a:gd name="T59" fmla="*/ 2147483647 h 2720"/>
              <a:gd name="T60" fmla="*/ 2147483647 w 2359"/>
              <a:gd name="T61" fmla="*/ 2147483647 h 2720"/>
              <a:gd name="T62" fmla="*/ 2147483647 w 2359"/>
              <a:gd name="T63" fmla="*/ 2147483647 h 2720"/>
              <a:gd name="T64" fmla="*/ 2147483647 w 2359"/>
              <a:gd name="T65" fmla="*/ 2147483647 h 2720"/>
              <a:gd name="T66" fmla="*/ 2147483647 w 2359"/>
              <a:gd name="T67" fmla="*/ 2147483647 h 2720"/>
              <a:gd name="T68" fmla="*/ 2147483647 w 2359"/>
              <a:gd name="T69" fmla="*/ 2147483647 h 2720"/>
              <a:gd name="T70" fmla="*/ 2147483647 w 2359"/>
              <a:gd name="T71" fmla="*/ 2147483647 h 2720"/>
              <a:gd name="T72" fmla="*/ 2147483647 w 2359"/>
              <a:gd name="T73" fmla="*/ 2147483647 h 2720"/>
              <a:gd name="T74" fmla="*/ 2147483647 w 2359"/>
              <a:gd name="T75" fmla="*/ 2147483647 h 2720"/>
              <a:gd name="T76" fmla="*/ 2147483647 w 2359"/>
              <a:gd name="T77" fmla="*/ 2147483647 h 2720"/>
              <a:gd name="T78" fmla="*/ 2147483647 w 2359"/>
              <a:gd name="T79" fmla="*/ 2147483647 h 2720"/>
              <a:gd name="T80" fmla="*/ 2147483647 w 2359"/>
              <a:gd name="T81" fmla="*/ 2147483647 h 2720"/>
              <a:gd name="T82" fmla="*/ 2147483647 w 2359"/>
              <a:gd name="T83" fmla="*/ 2147483647 h 2720"/>
              <a:gd name="T84" fmla="*/ 2147483647 w 2359"/>
              <a:gd name="T85" fmla="*/ 2147483647 h 2720"/>
              <a:gd name="T86" fmla="*/ 2147483647 w 2359"/>
              <a:gd name="T87" fmla="*/ 2147483647 h 2720"/>
              <a:gd name="T88" fmla="*/ 2147483647 w 2359"/>
              <a:gd name="T89" fmla="*/ 2147483647 h 2720"/>
              <a:gd name="T90" fmla="*/ 2147483647 w 2359"/>
              <a:gd name="T91" fmla="*/ 2147483647 h 2720"/>
              <a:gd name="T92" fmla="*/ 2147483647 w 2359"/>
              <a:gd name="T93" fmla="*/ 2147483647 h 2720"/>
              <a:gd name="T94" fmla="*/ 2147483647 w 2359"/>
              <a:gd name="T95" fmla="*/ 2147483647 h 2720"/>
              <a:gd name="T96" fmla="*/ 2147483647 w 2359"/>
              <a:gd name="T97" fmla="*/ 2147483647 h 2720"/>
              <a:gd name="T98" fmla="*/ 2147483647 w 2359"/>
              <a:gd name="T99" fmla="*/ 2147483647 h 2720"/>
              <a:gd name="T100" fmla="*/ 2147483647 w 2359"/>
              <a:gd name="T101" fmla="*/ 2147483647 h 2720"/>
              <a:gd name="T102" fmla="*/ 2147483647 w 2359"/>
              <a:gd name="T103" fmla="*/ 2147483647 h 2720"/>
              <a:gd name="T104" fmla="*/ 2147483647 w 2359"/>
              <a:gd name="T105" fmla="*/ 2147483647 h 2720"/>
              <a:gd name="T106" fmla="*/ 2147483647 w 2359"/>
              <a:gd name="T107" fmla="*/ 2147483647 h 2720"/>
              <a:gd name="T108" fmla="*/ 2147483647 w 2359"/>
              <a:gd name="T109" fmla="*/ 2147483647 h 2720"/>
              <a:gd name="T110" fmla="*/ 2147483647 w 2359"/>
              <a:gd name="T111" fmla="*/ 2147483647 h 2720"/>
              <a:gd name="T112" fmla="*/ 2147483647 w 2359"/>
              <a:gd name="T113" fmla="*/ 2147483647 h 2720"/>
              <a:gd name="T114" fmla="*/ 2147483647 w 2359"/>
              <a:gd name="T115" fmla="*/ 2147483647 h 2720"/>
              <a:gd name="T116" fmla="*/ 2147483647 w 2359"/>
              <a:gd name="T117" fmla="*/ 2147483647 h 2720"/>
              <a:gd name="T118" fmla="*/ 2147483647 w 2359"/>
              <a:gd name="T119" fmla="*/ 2147483647 h 2720"/>
              <a:gd name="T120" fmla="*/ 2147483647 w 2359"/>
              <a:gd name="T121" fmla="*/ 2147483647 h 272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359"/>
              <a:gd name="T184" fmla="*/ 0 h 2720"/>
              <a:gd name="T185" fmla="*/ 2359 w 2359"/>
              <a:gd name="T186" fmla="*/ 2720 h 272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359" h="2720">
                <a:moveTo>
                  <a:pt x="523" y="2720"/>
                </a:moveTo>
                <a:lnTo>
                  <a:pt x="509" y="2712"/>
                </a:lnTo>
                <a:lnTo>
                  <a:pt x="493" y="2706"/>
                </a:lnTo>
                <a:lnTo>
                  <a:pt x="476" y="2701"/>
                </a:lnTo>
                <a:lnTo>
                  <a:pt x="459" y="2697"/>
                </a:lnTo>
                <a:lnTo>
                  <a:pt x="440" y="2693"/>
                </a:lnTo>
                <a:lnTo>
                  <a:pt x="420" y="2690"/>
                </a:lnTo>
                <a:lnTo>
                  <a:pt x="401" y="2689"/>
                </a:lnTo>
                <a:lnTo>
                  <a:pt x="380" y="2688"/>
                </a:lnTo>
                <a:lnTo>
                  <a:pt x="339" y="2688"/>
                </a:lnTo>
                <a:lnTo>
                  <a:pt x="298" y="2688"/>
                </a:lnTo>
                <a:lnTo>
                  <a:pt x="262" y="2688"/>
                </a:lnTo>
                <a:lnTo>
                  <a:pt x="228" y="2686"/>
                </a:lnTo>
                <a:lnTo>
                  <a:pt x="197" y="2677"/>
                </a:lnTo>
                <a:lnTo>
                  <a:pt x="168" y="2667"/>
                </a:lnTo>
                <a:lnTo>
                  <a:pt x="126" y="2650"/>
                </a:lnTo>
                <a:lnTo>
                  <a:pt x="55" y="2619"/>
                </a:lnTo>
                <a:lnTo>
                  <a:pt x="51" y="2603"/>
                </a:lnTo>
                <a:lnTo>
                  <a:pt x="48" y="2587"/>
                </a:lnTo>
                <a:lnTo>
                  <a:pt x="44" y="2573"/>
                </a:lnTo>
                <a:lnTo>
                  <a:pt x="42" y="2559"/>
                </a:lnTo>
                <a:lnTo>
                  <a:pt x="30" y="2554"/>
                </a:lnTo>
                <a:lnTo>
                  <a:pt x="20" y="2548"/>
                </a:lnTo>
                <a:lnTo>
                  <a:pt x="9" y="2545"/>
                </a:lnTo>
                <a:lnTo>
                  <a:pt x="0" y="2539"/>
                </a:lnTo>
                <a:lnTo>
                  <a:pt x="17" y="2513"/>
                </a:lnTo>
                <a:lnTo>
                  <a:pt x="33" y="2486"/>
                </a:lnTo>
                <a:lnTo>
                  <a:pt x="46" y="2459"/>
                </a:lnTo>
                <a:lnTo>
                  <a:pt x="59" y="2429"/>
                </a:lnTo>
                <a:lnTo>
                  <a:pt x="95" y="2412"/>
                </a:lnTo>
                <a:lnTo>
                  <a:pt x="115" y="2401"/>
                </a:lnTo>
                <a:lnTo>
                  <a:pt x="125" y="2395"/>
                </a:lnTo>
                <a:lnTo>
                  <a:pt x="133" y="2388"/>
                </a:lnTo>
                <a:lnTo>
                  <a:pt x="129" y="2374"/>
                </a:lnTo>
                <a:lnTo>
                  <a:pt x="126" y="2361"/>
                </a:lnTo>
                <a:lnTo>
                  <a:pt x="111" y="2355"/>
                </a:lnTo>
                <a:lnTo>
                  <a:pt x="98" y="2347"/>
                </a:lnTo>
                <a:lnTo>
                  <a:pt x="87" y="2340"/>
                </a:lnTo>
                <a:lnTo>
                  <a:pt x="78" y="2334"/>
                </a:lnTo>
                <a:lnTo>
                  <a:pt x="72" y="2326"/>
                </a:lnTo>
                <a:lnTo>
                  <a:pt x="67" y="2319"/>
                </a:lnTo>
                <a:lnTo>
                  <a:pt x="64" y="2313"/>
                </a:lnTo>
                <a:lnTo>
                  <a:pt x="63" y="2306"/>
                </a:lnTo>
                <a:lnTo>
                  <a:pt x="64" y="2300"/>
                </a:lnTo>
                <a:lnTo>
                  <a:pt x="68" y="2293"/>
                </a:lnTo>
                <a:lnTo>
                  <a:pt x="73" y="2288"/>
                </a:lnTo>
                <a:lnTo>
                  <a:pt x="80" y="2282"/>
                </a:lnTo>
                <a:lnTo>
                  <a:pt x="89" y="2277"/>
                </a:lnTo>
                <a:lnTo>
                  <a:pt x="99" y="2271"/>
                </a:lnTo>
                <a:lnTo>
                  <a:pt x="112" y="2266"/>
                </a:lnTo>
                <a:lnTo>
                  <a:pt x="126" y="2261"/>
                </a:lnTo>
                <a:lnTo>
                  <a:pt x="129" y="2247"/>
                </a:lnTo>
                <a:lnTo>
                  <a:pt x="134" y="2234"/>
                </a:lnTo>
                <a:lnTo>
                  <a:pt x="125" y="2219"/>
                </a:lnTo>
                <a:lnTo>
                  <a:pt x="120" y="2206"/>
                </a:lnTo>
                <a:lnTo>
                  <a:pt x="116" y="2193"/>
                </a:lnTo>
                <a:lnTo>
                  <a:pt x="116" y="2180"/>
                </a:lnTo>
                <a:lnTo>
                  <a:pt x="117" y="2167"/>
                </a:lnTo>
                <a:lnTo>
                  <a:pt x="121" y="2154"/>
                </a:lnTo>
                <a:lnTo>
                  <a:pt x="126" y="2140"/>
                </a:lnTo>
                <a:lnTo>
                  <a:pt x="133" y="2124"/>
                </a:lnTo>
                <a:lnTo>
                  <a:pt x="147" y="2123"/>
                </a:lnTo>
                <a:lnTo>
                  <a:pt x="162" y="2122"/>
                </a:lnTo>
                <a:lnTo>
                  <a:pt x="175" y="2118"/>
                </a:lnTo>
                <a:lnTo>
                  <a:pt x="188" y="2115"/>
                </a:lnTo>
                <a:lnTo>
                  <a:pt x="212" y="2106"/>
                </a:lnTo>
                <a:lnTo>
                  <a:pt x="240" y="2100"/>
                </a:lnTo>
                <a:lnTo>
                  <a:pt x="246" y="2109"/>
                </a:lnTo>
                <a:lnTo>
                  <a:pt x="254" y="2115"/>
                </a:lnTo>
                <a:lnTo>
                  <a:pt x="262" y="2120"/>
                </a:lnTo>
                <a:lnTo>
                  <a:pt x="270" y="2122"/>
                </a:lnTo>
                <a:lnTo>
                  <a:pt x="279" y="2122"/>
                </a:lnTo>
                <a:lnTo>
                  <a:pt x="286" y="2120"/>
                </a:lnTo>
                <a:lnTo>
                  <a:pt x="296" y="2118"/>
                </a:lnTo>
                <a:lnTo>
                  <a:pt x="305" y="2114"/>
                </a:lnTo>
                <a:lnTo>
                  <a:pt x="341" y="2089"/>
                </a:lnTo>
                <a:lnTo>
                  <a:pt x="375" y="2063"/>
                </a:lnTo>
                <a:lnTo>
                  <a:pt x="441" y="2063"/>
                </a:lnTo>
                <a:lnTo>
                  <a:pt x="479" y="2062"/>
                </a:lnTo>
                <a:lnTo>
                  <a:pt x="491" y="2061"/>
                </a:lnTo>
                <a:lnTo>
                  <a:pt x="500" y="2059"/>
                </a:lnTo>
                <a:lnTo>
                  <a:pt x="508" y="2058"/>
                </a:lnTo>
                <a:lnTo>
                  <a:pt x="517" y="2055"/>
                </a:lnTo>
                <a:lnTo>
                  <a:pt x="525" y="2033"/>
                </a:lnTo>
                <a:lnTo>
                  <a:pt x="532" y="2016"/>
                </a:lnTo>
                <a:lnTo>
                  <a:pt x="540" y="2001"/>
                </a:lnTo>
                <a:lnTo>
                  <a:pt x="548" y="1986"/>
                </a:lnTo>
                <a:lnTo>
                  <a:pt x="558" y="1975"/>
                </a:lnTo>
                <a:lnTo>
                  <a:pt x="570" y="1963"/>
                </a:lnTo>
                <a:lnTo>
                  <a:pt x="586" y="1953"/>
                </a:lnTo>
                <a:lnTo>
                  <a:pt x="605" y="1942"/>
                </a:lnTo>
                <a:lnTo>
                  <a:pt x="614" y="1940"/>
                </a:lnTo>
                <a:lnTo>
                  <a:pt x="623" y="1937"/>
                </a:lnTo>
                <a:lnTo>
                  <a:pt x="631" y="1933"/>
                </a:lnTo>
                <a:lnTo>
                  <a:pt x="639" y="1929"/>
                </a:lnTo>
                <a:lnTo>
                  <a:pt x="646" y="1924"/>
                </a:lnTo>
                <a:lnTo>
                  <a:pt x="652" y="1919"/>
                </a:lnTo>
                <a:lnTo>
                  <a:pt x="659" y="1912"/>
                </a:lnTo>
                <a:lnTo>
                  <a:pt x="664" y="1906"/>
                </a:lnTo>
                <a:lnTo>
                  <a:pt x="674" y="1891"/>
                </a:lnTo>
                <a:lnTo>
                  <a:pt x="683" y="1876"/>
                </a:lnTo>
                <a:lnTo>
                  <a:pt x="692" y="1859"/>
                </a:lnTo>
                <a:lnTo>
                  <a:pt x="700" y="1842"/>
                </a:lnTo>
                <a:lnTo>
                  <a:pt x="725" y="1839"/>
                </a:lnTo>
                <a:lnTo>
                  <a:pt x="752" y="1834"/>
                </a:lnTo>
                <a:lnTo>
                  <a:pt x="781" y="1829"/>
                </a:lnTo>
                <a:lnTo>
                  <a:pt x="809" y="1820"/>
                </a:lnTo>
                <a:lnTo>
                  <a:pt x="837" y="1811"/>
                </a:lnTo>
                <a:lnTo>
                  <a:pt x="863" y="1799"/>
                </a:lnTo>
                <a:lnTo>
                  <a:pt x="876" y="1793"/>
                </a:lnTo>
                <a:lnTo>
                  <a:pt x="888" y="1786"/>
                </a:lnTo>
                <a:lnTo>
                  <a:pt x="899" y="1778"/>
                </a:lnTo>
                <a:lnTo>
                  <a:pt x="910" y="1771"/>
                </a:lnTo>
                <a:lnTo>
                  <a:pt x="929" y="1765"/>
                </a:lnTo>
                <a:lnTo>
                  <a:pt x="946" y="1759"/>
                </a:lnTo>
                <a:lnTo>
                  <a:pt x="964" y="1752"/>
                </a:lnTo>
                <a:lnTo>
                  <a:pt x="980" y="1746"/>
                </a:lnTo>
                <a:lnTo>
                  <a:pt x="997" y="1738"/>
                </a:lnTo>
                <a:lnTo>
                  <a:pt x="1012" y="1731"/>
                </a:lnTo>
                <a:lnTo>
                  <a:pt x="1029" y="1725"/>
                </a:lnTo>
                <a:lnTo>
                  <a:pt x="1048" y="1721"/>
                </a:lnTo>
                <a:lnTo>
                  <a:pt x="1057" y="1691"/>
                </a:lnTo>
                <a:lnTo>
                  <a:pt x="1066" y="1666"/>
                </a:lnTo>
                <a:lnTo>
                  <a:pt x="1070" y="1656"/>
                </a:lnTo>
                <a:lnTo>
                  <a:pt x="1072" y="1647"/>
                </a:lnTo>
                <a:lnTo>
                  <a:pt x="1074" y="1638"/>
                </a:lnTo>
                <a:lnTo>
                  <a:pt x="1075" y="1629"/>
                </a:lnTo>
                <a:lnTo>
                  <a:pt x="1074" y="1621"/>
                </a:lnTo>
                <a:lnTo>
                  <a:pt x="1072" y="1614"/>
                </a:lnTo>
                <a:lnTo>
                  <a:pt x="1070" y="1607"/>
                </a:lnTo>
                <a:lnTo>
                  <a:pt x="1064" y="1600"/>
                </a:lnTo>
                <a:lnTo>
                  <a:pt x="1058" y="1594"/>
                </a:lnTo>
                <a:lnTo>
                  <a:pt x="1049" y="1586"/>
                </a:lnTo>
                <a:lnTo>
                  <a:pt x="1038" y="1579"/>
                </a:lnTo>
                <a:lnTo>
                  <a:pt x="1025" y="1573"/>
                </a:lnTo>
                <a:lnTo>
                  <a:pt x="1011" y="1552"/>
                </a:lnTo>
                <a:lnTo>
                  <a:pt x="1001" y="1534"/>
                </a:lnTo>
                <a:lnTo>
                  <a:pt x="993" y="1518"/>
                </a:lnTo>
                <a:lnTo>
                  <a:pt x="989" y="1504"/>
                </a:lnTo>
                <a:lnTo>
                  <a:pt x="988" y="1497"/>
                </a:lnTo>
                <a:lnTo>
                  <a:pt x="988" y="1491"/>
                </a:lnTo>
                <a:lnTo>
                  <a:pt x="988" y="1486"/>
                </a:lnTo>
                <a:lnTo>
                  <a:pt x="989" y="1479"/>
                </a:lnTo>
                <a:lnTo>
                  <a:pt x="993" y="1470"/>
                </a:lnTo>
                <a:lnTo>
                  <a:pt x="999" y="1461"/>
                </a:lnTo>
                <a:lnTo>
                  <a:pt x="1007" y="1453"/>
                </a:lnTo>
                <a:lnTo>
                  <a:pt x="1018" y="1447"/>
                </a:lnTo>
                <a:lnTo>
                  <a:pt x="1029" y="1440"/>
                </a:lnTo>
                <a:lnTo>
                  <a:pt x="1042" y="1434"/>
                </a:lnTo>
                <a:lnTo>
                  <a:pt x="1072" y="1423"/>
                </a:lnTo>
                <a:lnTo>
                  <a:pt x="1106" y="1413"/>
                </a:lnTo>
                <a:lnTo>
                  <a:pt x="1110" y="1396"/>
                </a:lnTo>
                <a:lnTo>
                  <a:pt x="1114" y="1383"/>
                </a:lnTo>
                <a:lnTo>
                  <a:pt x="1119" y="1371"/>
                </a:lnTo>
                <a:lnTo>
                  <a:pt x="1124" y="1362"/>
                </a:lnTo>
                <a:lnTo>
                  <a:pt x="1132" y="1353"/>
                </a:lnTo>
                <a:lnTo>
                  <a:pt x="1140" y="1344"/>
                </a:lnTo>
                <a:lnTo>
                  <a:pt x="1152" y="1335"/>
                </a:lnTo>
                <a:lnTo>
                  <a:pt x="1165" y="1324"/>
                </a:lnTo>
                <a:lnTo>
                  <a:pt x="1180" y="1298"/>
                </a:lnTo>
                <a:lnTo>
                  <a:pt x="1195" y="1275"/>
                </a:lnTo>
                <a:lnTo>
                  <a:pt x="1210" y="1255"/>
                </a:lnTo>
                <a:lnTo>
                  <a:pt x="1224" y="1237"/>
                </a:lnTo>
                <a:lnTo>
                  <a:pt x="1241" y="1222"/>
                </a:lnTo>
                <a:lnTo>
                  <a:pt x="1261" y="1206"/>
                </a:lnTo>
                <a:lnTo>
                  <a:pt x="1282" y="1190"/>
                </a:lnTo>
                <a:lnTo>
                  <a:pt x="1308" y="1175"/>
                </a:lnTo>
                <a:lnTo>
                  <a:pt x="1347" y="1169"/>
                </a:lnTo>
                <a:lnTo>
                  <a:pt x="1373" y="1166"/>
                </a:lnTo>
                <a:lnTo>
                  <a:pt x="1394" y="1160"/>
                </a:lnTo>
                <a:lnTo>
                  <a:pt x="1421" y="1151"/>
                </a:lnTo>
                <a:lnTo>
                  <a:pt x="1427" y="1125"/>
                </a:lnTo>
                <a:lnTo>
                  <a:pt x="1433" y="1103"/>
                </a:lnTo>
                <a:lnTo>
                  <a:pt x="1437" y="1082"/>
                </a:lnTo>
                <a:lnTo>
                  <a:pt x="1438" y="1063"/>
                </a:lnTo>
                <a:lnTo>
                  <a:pt x="1438" y="1045"/>
                </a:lnTo>
                <a:lnTo>
                  <a:pt x="1435" y="1024"/>
                </a:lnTo>
                <a:lnTo>
                  <a:pt x="1431" y="1000"/>
                </a:lnTo>
                <a:lnTo>
                  <a:pt x="1425" y="974"/>
                </a:lnTo>
                <a:lnTo>
                  <a:pt x="1386" y="948"/>
                </a:lnTo>
                <a:lnTo>
                  <a:pt x="1353" y="928"/>
                </a:lnTo>
                <a:lnTo>
                  <a:pt x="1338" y="917"/>
                </a:lnTo>
                <a:lnTo>
                  <a:pt x="1319" y="909"/>
                </a:lnTo>
                <a:lnTo>
                  <a:pt x="1300" y="902"/>
                </a:lnTo>
                <a:lnTo>
                  <a:pt x="1277" y="895"/>
                </a:lnTo>
                <a:lnTo>
                  <a:pt x="1271" y="869"/>
                </a:lnTo>
                <a:lnTo>
                  <a:pt x="1265" y="842"/>
                </a:lnTo>
                <a:lnTo>
                  <a:pt x="1257" y="814"/>
                </a:lnTo>
                <a:lnTo>
                  <a:pt x="1251" y="788"/>
                </a:lnTo>
                <a:lnTo>
                  <a:pt x="1244" y="761"/>
                </a:lnTo>
                <a:lnTo>
                  <a:pt x="1237" y="734"/>
                </a:lnTo>
                <a:lnTo>
                  <a:pt x="1232" y="706"/>
                </a:lnTo>
                <a:lnTo>
                  <a:pt x="1228" y="680"/>
                </a:lnTo>
                <a:lnTo>
                  <a:pt x="1222" y="675"/>
                </a:lnTo>
                <a:lnTo>
                  <a:pt x="1217" y="670"/>
                </a:lnTo>
                <a:lnTo>
                  <a:pt x="1211" y="663"/>
                </a:lnTo>
                <a:lnTo>
                  <a:pt x="1208" y="657"/>
                </a:lnTo>
                <a:lnTo>
                  <a:pt x="1201" y="643"/>
                </a:lnTo>
                <a:lnTo>
                  <a:pt x="1196" y="627"/>
                </a:lnTo>
                <a:lnTo>
                  <a:pt x="1191" y="610"/>
                </a:lnTo>
                <a:lnTo>
                  <a:pt x="1183" y="594"/>
                </a:lnTo>
                <a:lnTo>
                  <a:pt x="1179" y="587"/>
                </a:lnTo>
                <a:lnTo>
                  <a:pt x="1174" y="579"/>
                </a:lnTo>
                <a:lnTo>
                  <a:pt x="1167" y="571"/>
                </a:lnTo>
                <a:lnTo>
                  <a:pt x="1159" y="565"/>
                </a:lnTo>
                <a:lnTo>
                  <a:pt x="1174" y="545"/>
                </a:lnTo>
                <a:lnTo>
                  <a:pt x="1184" y="526"/>
                </a:lnTo>
                <a:lnTo>
                  <a:pt x="1192" y="506"/>
                </a:lnTo>
                <a:lnTo>
                  <a:pt x="1200" y="481"/>
                </a:lnTo>
                <a:lnTo>
                  <a:pt x="1240" y="484"/>
                </a:lnTo>
                <a:lnTo>
                  <a:pt x="1282" y="488"/>
                </a:lnTo>
                <a:lnTo>
                  <a:pt x="1301" y="488"/>
                </a:lnTo>
                <a:lnTo>
                  <a:pt x="1321" y="487"/>
                </a:lnTo>
                <a:lnTo>
                  <a:pt x="1330" y="484"/>
                </a:lnTo>
                <a:lnTo>
                  <a:pt x="1339" y="481"/>
                </a:lnTo>
                <a:lnTo>
                  <a:pt x="1348" y="477"/>
                </a:lnTo>
                <a:lnTo>
                  <a:pt x="1356" y="472"/>
                </a:lnTo>
                <a:lnTo>
                  <a:pt x="1378" y="466"/>
                </a:lnTo>
                <a:lnTo>
                  <a:pt x="1400" y="458"/>
                </a:lnTo>
                <a:lnTo>
                  <a:pt x="1424" y="451"/>
                </a:lnTo>
                <a:lnTo>
                  <a:pt x="1446" y="445"/>
                </a:lnTo>
                <a:lnTo>
                  <a:pt x="1455" y="412"/>
                </a:lnTo>
                <a:lnTo>
                  <a:pt x="1461" y="385"/>
                </a:lnTo>
                <a:lnTo>
                  <a:pt x="1465" y="375"/>
                </a:lnTo>
                <a:lnTo>
                  <a:pt x="1466" y="364"/>
                </a:lnTo>
                <a:lnTo>
                  <a:pt x="1468" y="356"/>
                </a:lnTo>
                <a:lnTo>
                  <a:pt x="1468" y="349"/>
                </a:lnTo>
                <a:lnTo>
                  <a:pt x="1466" y="342"/>
                </a:lnTo>
                <a:lnTo>
                  <a:pt x="1464" y="336"/>
                </a:lnTo>
                <a:lnTo>
                  <a:pt x="1459" y="332"/>
                </a:lnTo>
                <a:lnTo>
                  <a:pt x="1452" y="327"/>
                </a:lnTo>
                <a:lnTo>
                  <a:pt x="1443" y="323"/>
                </a:lnTo>
                <a:lnTo>
                  <a:pt x="1431" y="319"/>
                </a:lnTo>
                <a:lnTo>
                  <a:pt x="1417" y="315"/>
                </a:lnTo>
                <a:lnTo>
                  <a:pt x="1400" y="311"/>
                </a:lnTo>
                <a:lnTo>
                  <a:pt x="1395" y="299"/>
                </a:lnTo>
                <a:lnTo>
                  <a:pt x="1390" y="287"/>
                </a:lnTo>
                <a:lnTo>
                  <a:pt x="1394" y="277"/>
                </a:lnTo>
                <a:lnTo>
                  <a:pt x="1396" y="267"/>
                </a:lnTo>
                <a:lnTo>
                  <a:pt x="1398" y="255"/>
                </a:lnTo>
                <a:lnTo>
                  <a:pt x="1399" y="243"/>
                </a:lnTo>
                <a:lnTo>
                  <a:pt x="1399" y="220"/>
                </a:lnTo>
                <a:lnTo>
                  <a:pt x="1399" y="196"/>
                </a:lnTo>
                <a:lnTo>
                  <a:pt x="1398" y="173"/>
                </a:lnTo>
                <a:lnTo>
                  <a:pt x="1398" y="148"/>
                </a:lnTo>
                <a:lnTo>
                  <a:pt x="1399" y="137"/>
                </a:lnTo>
                <a:lnTo>
                  <a:pt x="1400" y="125"/>
                </a:lnTo>
                <a:lnTo>
                  <a:pt x="1403" y="113"/>
                </a:lnTo>
                <a:lnTo>
                  <a:pt x="1405" y="101"/>
                </a:lnTo>
                <a:lnTo>
                  <a:pt x="1413" y="90"/>
                </a:lnTo>
                <a:lnTo>
                  <a:pt x="1418" y="79"/>
                </a:lnTo>
                <a:lnTo>
                  <a:pt x="1422" y="69"/>
                </a:lnTo>
                <a:lnTo>
                  <a:pt x="1425" y="60"/>
                </a:lnTo>
                <a:lnTo>
                  <a:pt x="1426" y="49"/>
                </a:lnTo>
                <a:lnTo>
                  <a:pt x="1426" y="38"/>
                </a:lnTo>
                <a:lnTo>
                  <a:pt x="1426" y="26"/>
                </a:lnTo>
                <a:lnTo>
                  <a:pt x="1425" y="10"/>
                </a:lnTo>
                <a:lnTo>
                  <a:pt x="1448" y="4"/>
                </a:lnTo>
                <a:lnTo>
                  <a:pt x="1465" y="1"/>
                </a:lnTo>
                <a:lnTo>
                  <a:pt x="1482" y="0"/>
                </a:lnTo>
                <a:lnTo>
                  <a:pt x="1506" y="1"/>
                </a:lnTo>
                <a:lnTo>
                  <a:pt x="1513" y="10"/>
                </a:lnTo>
                <a:lnTo>
                  <a:pt x="1521" y="17"/>
                </a:lnTo>
                <a:lnTo>
                  <a:pt x="1529" y="22"/>
                </a:lnTo>
                <a:lnTo>
                  <a:pt x="1537" y="26"/>
                </a:lnTo>
                <a:lnTo>
                  <a:pt x="1545" y="29"/>
                </a:lnTo>
                <a:lnTo>
                  <a:pt x="1552" y="30"/>
                </a:lnTo>
                <a:lnTo>
                  <a:pt x="1561" y="31"/>
                </a:lnTo>
                <a:lnTo>
                  <a:pt x="1569" y="32"/>
                </a:lnTo>
                <a:lnTo>
                  <a:pt x="1585" y="32"/>
                </a:lnTo>
                <a:lnTo>
                  <a:pt x="1600" y="35"/>
                </a:lnTo>
                <a:lnTo>
                  <a:pt x="1608" y="36"/>
                </a:lnTo>
                <a:lnTo>
                  <a:pt x="1616" y="40"/>
                </a:lnTo>
                <a:lnTo>
                  <a:pt x="1624" y="44"/>
                </a:lnTo>
                <a:lnTo>
                  <a:pt x="1630" y="51"/>
                </a:lnTo>
                <a:lnTo>
                  <a:pt x="1628" y="66"/>
                </a:lnTo>
                <a:lnTo>
                  <a:pt x="1625" y="81"/>
                </a:lnTo>
                <a:lnTo>
                  <a:pt x="1624" y="95"/>
                </a:lnTo>
                <a:lnTo>
                  <a:pt x="1624" y="109"/>
                </a:lnTo>
                <a:lnTo>
                  <a:pt x="1624" y="124"/>
                </a:lnTo>
                <a:lnTo>
                  <a:pt x="1625" y="137"/>
                </a:lnTo>
                <a:lnTo>
                  <a:pt x="1628" y="150"/>
                </a:lnTo>
                <a:lnTo>
                  <a:pt x="1632" y="161"/>
                </a:lnTo>
                <a:lnTo>
                  <a:pt x="1636" y="172"/>
                </a:lnTo>
                <a:lnTo>
                  <a:pt x="1642" y="182"/>
                </a:lnTo>
                <a:lnTo>
                  <a:pt x="1650" y="191"/>
                </a:lnTo>
                <a:lnTo>
                  <a:pt x="1658" y="200"/>
                </a:lnTo>
                <a:lnTo>
                  <a:pt x="1668" y="207"/>
                </a:lnTo>
                <a:lnTo>
                  <a:pt x="1681" y="213"/>
                </a:lnTo>
                <a:lnTo>
                  <a:pt x="1694" y="217"/>
                </a:lnTo>
                <a:lnTo>
                  <a:pt x="1710" y="220"/>
                </a:lnTo>
                <a:lnTo>
                  <a:pt x="1710" y="235"/>
                </a:lnTo>
                <a:lnTo>
                  <a:pt x="1712" y="250"/>
                </a:lnTo>
                <a:lnTo>
                  <a:pt x="1715" y="263"/>
                </a:lnTo>
                <a:lnTo>
                  <a:pt x="1720" y="276"/>
                </a:lnTo>
                <a:lnTo>
                  <a:pt x="1732" y="299"/>
                </a:lnTo>
                <a:lnTo>
                  <a:pt x="1746" y="327"/>
                </a:lnTo>
                <a:lnTo>
                  <a:pt x="1759" y="328"/>
                </a:lnTo>
                <a:lnTo>
                  <a:pt x="1772" y="330"/>
                </a:lnTo>
                <a:lnTo>
                  <a:pt x="1785" y="333"/>
                </a:lnTo>
                <a:lnTo>
                  <a:pt x="1798" y="336"/>
                </a:lnTo>
                <a:lnTo>
                  <a:pt x="1800" y="346"/>
                </a:lnTo>
                <a:lnTo>
                  <a:pt x="1801" y="358"/>
                </a:lnTo>
                <a:lnTo>
                  <a:pt x="1803" y="368"/>
                </a:lnTo>
                <a:lnTo>
                  <a:pt x="1806" y="380"/>
                </a:lnTo>
                <a:lnTo>
                  <a:pt x="1796" y="384"/>
                </a:lnTo>
                <a:lnTo>
                  <a:pt x="1787" y="389"/>
                </a:lnTo>
                <a:lnTo>
                  <a:pt x="1780" y="393"/>
                </a:lnTo>
                <a:lnTo>
                  <a:pt x="1775" y="398"/>
                </a:lnTo>
                <a:lnTo>
                  <a:pt x="1770" y="403"/>
                </a:lnTo>
                <a:lnTo>
                  <a:pt x="1767" y="408"/>
                </a:lnTo>
                <a:lnTo>
                  <a:pt x="1766" y="415"/>
                </a:lnTo>
                <a:lnTo>
                  <a:pt x="1764" y="421"/>
                </a:lnTo>
                <a:lnTo>
                  <a:pt x="1764" y="427"/>
                </a:lnTo>
                <a:lnTo>
                  <a:pt x="1766" y="433"/>
                </a:lnTo>
                <a:lnTo>
                  <a:pt x="1768" y="440"/>
                </a:lnTo>
                <a:lnTo>
                  <a:pt x="1772" y="447"/>
                </a:lnTo>
                <a:lnTo>
                  <a:pt x="1780" y="462"/>
                </a:lnTo>
                <a:lnTo>
                  <a:pt x="1792" y="476"/>
                </a:lnTo>
                <a:lnTo>
                  <a:pt x="1811" y="479"/>
                </a:lnTo>
                <a:lnTo>
                  <a:pt x="1829" y="481"/>
                </a:lnTo>
                <a:lnTo>
                  <a:pt x="1849" y="485"/>
                </a:lnTo>
                <a:lnTo>
                  <a:pt x="1870" y="488"/>
                </a:lnTo>
                <a:lnTo>
                  <a:pt x="1870" y="500"/>
                </a:lnTo>
                <a:lnTo>
                  <a:pt x="1870" y="511"/>
                </a:lnTo>
                <a:lnTo>
                  <a:pt x="1870" y="522"/>
                </a:lnTo>
                <a:lnTo>
                  <a:pt x="1871" y="533"/>
                </a:lnTo>
                <a:lnTo>
                  <a:pt x="1878" y="539"/>
                </a:lnTo>
                <a:lnTo>
                  <a:pt x="1884" y="541"/>
                </a:lnTo>
                <a:lnTo>
                  <a:pt x="1897" y="544"/>
                </a:lnTo>
                <a:lnTo>
                  <a:pt x="1921" y="548"/>
                </a:lnTo>
                <a:lnTo>
                  <a:pt x="1919" y="561"/>
                </a:lnTo>
                <a:lnTo>
                  <a:pt x="1917" y="571"/>
                </a:lnTo>
                <a:lnTo>
                  <a:pt x="1913" y="581"/>
                </a:lnTo>
                <a:lnTo>
                  <a:pt x="1908" y="589"/>
                </a:lnTo>
                <a:lnTo>
                  <a:pt x="1901" y="597"/>
                </a:lnTo>
                <a:lnTo>
                  <a:pt x="1893" y="605"/>
                </a:lnTo>
                <a:lnTo>
                  <a:pt x="1884" y="614"/>
                </a:lnTo>
                <a:lnTo>
                  <a:pt x="1872" y="622"/>
                </a:lnTo>
                <a:lnTo>
                  <a:pt x="1874" y="632"/>
                </a:lnTo>
                <a:lnTo>
                  <a:pt x="1875" y="643"/>
                </a:lnTo>
                <a:lnTo>
                  <a:pt x="1878" y="650"/>
                </a:lnTo>
                <a:lnTo>
                  <a:pt x="1880" y="657"/>
                </a:lnTo>
                <a:lnTo>
                  <a:pt x="1884" y="662"/>
                </a:lnTo>
                <a:lnTo>
                  <a:pt x="1889" y="667"/>
                </a:lnTo>
                <a:lnTo>
                  <a:pt x="1895" y="671"/>
                </a:lnTo>
                <a:lnTo>
                  <a:pt x="1901" y="674"/>
                </a:lnTo>
                <a:lnTo>
                  <a:pt x="1908" y="675"/>
                </a:lnTo>
                <a:lnTo>
                  <a:pt x="1915" y="675"/>
                </a:lnTo>
                <a:lnTo>
                  <a:pt x="1923" y="675"/>
                </a:lnTo>
                <a:lnTo>
                  <a:pt x="1931" y="674"/>
                </a:lnTo>
                <a:lnTo>
                  <a:pt x="1948" y="670"/>
                </a:lnTo>
                <a:lnTo>
                  <a:pt x="1965" y="662"/>
                </a:lnTo>
                <a:lnTo>
                  <a:pt x="1969" y="653"/>
                </a:lnTo>
                <a:lnTo>
                  <a:pt x="1974" y="644"/>
                </a:lnTo>
                <a:lnTo>
                  <a:pt x="1979" y="637"/>
                </a:lnTo>
                <a:lnTo>
                  <a:pt x="1986" y="631"/>
                </a:lnTo>
                <a:lnTo>
                  <a:pt x="1993" y="626"/>
                </a:lnTo>
                <a:lnTo>
                  <a:pt x="2001" y="622"/>
                </a:lnTo>
                <a:lnTo>
                  <a:pt x="2009" y="619"/>
                </a:lnTo>
                <a:lnTo>
                  <a:pt x="2018" y="617"/>
                </a:lnTo>
                <a:lnTo>
                  <a:pt x="2036" y="613"/>
                </a:lnTo>
                <a:lnTo>
                  <a:pt x="2056" y="611"/>
                </a:lnTo>
                <a:lnTo>
                  <a:pt x="2075" y="611"/>
                </a:lnTo>
                <a:lnTo>
                  <a:pt x="2094" y="610"/>
                </a:lnTo>
                <a:lnTo>
                  <a:pt x="2100" y="626"/>
                </a:lnTo>
                <a:lnTo>
                  <a:pt x="2104" y="643"/>
                </a:lnTo>
                <a:lnTo>
                  <a:pt x="2109" y="661"/>
                </a:lnTo>
                <a:lnTo>
                  <a:pt x="2113" y="678"/>
                </a:lnTo>
                <a:lnTo>
                  <a:pt x="2120" y="708"/>
                </a:lnTo>
                <a:lnTo>
                  <a:pt x="2125" y="728"/>
                </a:lnTo>
                <a:lnTo>
                  <a:pt x="2140" y="734"/>
                </a:lnTo>
                <a:lnTo>
                  <a:pt x="2157" y="740"/>
                </a:lnTo>
                <a:lnTo>
                  <a:pt x="2173" y="745"/>
                </a:lnTo>
                <a:lnTo>
                  <a:pt x="2190" y="751"/>
                </a:lnTo>
                <a:lnTo>
                  <a:pt x="2198" y="768"/>
                </a:lnTo>
                <a:lnTo>
                  <a:pt x="2202" y="784"/>
                </a:lnTo>
                <a:lnTo>
                  <a:pt x="2204" y="800"/>
                </a:lnTo>
                <a:lnTo>
                  <a:pt x="2205" y="816"/>
                </a:lnTo>
                <a:lnTo>
                  <a:pt x="2204" y="844"/>
                </a:lnTo>
                <a:lnTo>
                  <a:pt x="2202" y="870"/>
                </a:lnTo>
                <a:lnTo>
                  <a:pt x="2202" y="883"/>
                </a:lnTo>
                <a:lnTo>
                  <a:pt x="2203" y="895"/>
                </a:lnTo>
                <a:lnTo>
                  <a:pt x="2205" y="905"/>
                </a:lnTo>
                <a:lnTo>
                  <a:pt x="2211" y="916"/>
                </a:lnTo>
                <a:lnTo>
                  <a:pt x="2213" y="921"/>
                </a:lnTo>
                <a:lnTo>
                  <a:pt x="2217" y="926"/>
                </a:lnTo>
                <a:lnTo>
                  <a:pt x="2222" y="931"/>
                </a:lnTo>
                <a:lnTo>
                  <a:pt x="2228" y="935"/>
                </a:lnTo>
                <a:lnTo>
                  <a:pt x="2242" y="943"/>
                </a:lnTo>
                <a:lnTo>
                  <a:pt x="2260" y="951"/>
                </a:lnTo>
                <a:lnTo>
                  <a:pt x="2260" y="965"/>
                </a:lnTo>
                <a:lnTo>
                  <a:pt x="2261" y="980"/>
                </a:lnTo>
                <a:lnTo>
                  <a:pt x="2261" y="994"/>
                </a:lnTo>
                <a:lnTo>
                  <a:pt x="2264" y="1009"/>
                </a:lnTo>
                <a:lnTo>
                  <a:pt x="2251" y="1022"/>
                </a:lnTo>
                <a:lnTo>
                  <a:pt x="2242" y="1034"/>
                </a:lnTo>
                <a:lnTo>
                  <a:pt x="2234" y="1046"/>
                </a:lnTo>
                <a:lnTo>
                  <a:pt x="2228" y="1056"/>
                </a:lnTo>
                <a:lnTo>
                  <a:pt x="2222" y="1068"/>
                </a:lnTo>
                <a:lnTo>
                  <a:pt x="2220" y="1080"/>
                </a:lnTo>
                <a:lnTo>
                  <a:pt x="2218" y="1095"/>
                </a:lnTo>
                <a:lnTo>
                  <a:pt x="2217" y="1112"/>
                </a:lnTo>
                <a:lnTo>
                  <a:pt x="2234" y="1130"/>
                </a:lnTo>
                <a:lnTo>
                  <a:pt x="2250" y="1149"/>
                </a:lnTo>
                <a:lnTo>
                  <a:pt x="2256" y="1158"/>
                </a:lnTo>
                <a:lnTo>
                  <a:pt x="2261" y="1168"/>
                </a:lnTo>
                <a:lnTo>
                  <a:pt x="2267" y="1180"/>
                </a:lnTo>
                <a:lnTo>
                  <a:pt x="2272" y="1192"/>
                </a:lnTo>
                <a:lnTo>
                  <a:pt x="2300" y="1209"/>
                </a:lnTo>
                <a:lnTo>
                  <a:pt x="2330" y="1228"/>
                </a:lnTo>
                <a:lnTo>
                  <a:pt x="2337" y="1235"/>
                </a:lnTo>
                <a:lnTo>
                  <a:pt x="2343" y="1241"/>
                </a:lnTo>
                <a:lnTo>
                  <a:pt x="2349" y="1248"/>
                </a:lnTo>
                <a:lnTo>
                  <a:pt x="2352" y="1254"/>
                </a:lnTo>
                <a:lnTo>
                  <a:pt x="2356" y="1261"/>
                </a:lnTo>
                <a:lnTo>
                  <a:pt x="2358" y="1268"/>
                </a:lnTo>
                <a:lnTo>
                  <a:pt x="2359" y="1277"/>
                </a:lnTo>
                <a:lnTo>
                  <a:pt x="2358" y="1285"/>
                </a:lnTo>
                <a:lnTo>
                  <a:pt x="2319" y="1302"/>
                </a:lnTo>
                <a:lnTo>
                  <a:pt x="2294" y="1314"/>
                </a:lnTo>
                <a:lnTo>
                  <a:pt x="2269" y="1326"/>
                </a:lnTo>
                <a:lnTo>
                  <a:pt x="2234" y="1345"/>
                </a:lnTo>
                <a:lnTo>
                  <a:pt x="2226" y="1346"/>
                </a:lnTo>
                <a:lnTo>
                  <a:pt x="2218" y="1349"/>
                </a:lnTo>
                <a:lnTo>
                  <a:pt x="2211" y="1352"/>
                </a:lnTo>
                <a:lnTo>
                  <a:pt x="2202" y="1354"/>
                </a:lnTo>
                <a:lnTo>
                  <a:pt x="2185" y="1363"/>
                </a:lnTo>
                <a:lnTo>
                  <a:pt x="2168" y="1374"/>
                </a:lnTo>
                <a:lnTo>
                  <a:pt x="2151" y="1387"/>
                </a:lnTo>
                <a:lnTo>
                  <a:pt x="2135" y="1401"/>
                </a:lnTo>
                <a:lnTo>
                  <a:pt x="2120" y="1418"/>
                </a:lnTo>
                <a:lnTo>
                  <a:pt x="2105" y="1436"/>
                </a:lnTo>
                <a:lnTo>
                  <a:pt x="2091" y="1454"/>
                </a:lnTo>
                <a:lnTo>
                  <a:pt x="2079" y="1474"/>
                </a:lnTo>
                <a:lnTo>
                  <a:pt x="2069" y="1493"/>
                </a:lnTo>
                <a:lnTo>
                  <a:pt x="2060" y="1513"/>
                </a:lnTo>
                <a:lnTo>
                  <a:pt x="2053" y="1532"/>
                </a:lnTo>
                <a:lnTo>
                  <a:pt x="2048" y="1552"/>
                </a:lnTo>
                <a:lnTo>
                  <a:pt x="2047" y="1561"/>
                </a:lnTo>
                <a:lnTo>
                  <a:pt x="2045" y="1570"/>
                </a:lnTo>
                <a:lnTo>
                  <a:pt x="2045" y="1579"/>
                </a:lnTo>
                <a:lnTo>
                  <a:pt x="2047" y="1588"/>
                </a:lnTo>
                <a:lnTo>
                  <a:pt x="2066" y="1594"/>
                </a:lnTo>
                <a:lnTo>
                  <a:pt x="2087" y="1597"/>
                </a:lnTo>
                <a:lnTo>
                  <a:pt x="2096" y="1597"/>
                </a:lnTo>
                <a:lnTo>
                  <a:pt x="2107" y="1599"/>
                </a:lnTo>
                <a:lnTo>
                  <a:pt x="2117" y="1599"/>
                </a:lnTo>
                <a:lnTo>
                  <a:pt x="2129" y="1597"/>
                </a:lnTo>
                <a:lnTo>
                  <a:pt x="2134" y="1608"/>
                </a:lnTo>
                <a:lnTo>
                  <a:pt x="2140" y="1616"/>
                </a:lnTo>
                <a:lnTo>
                  <a:pt x="2147" y="1624"/>
                </a:lnTo>
                <a:lnTo>
                  <a:pt x="2155" y="1629"/>
                </a:lnTo>
                <a:lnTo>
                  <a:pt x="2172" y="1640"/>
                </a:lnTo>
                <a:lnTo>
                  <a:pt x="2190" y="1651"/>
                </a:lnTo>
                <a:lnTo>
                  <a:pt x="2189" y="1668"/>
                </a:lnTo>
                <a:lnTo>
                  <a:pt x="2187" y="1682"/>
                </a:lnTo>
                <a:lnTo>
                  <a:pt x="2185" y="1696"/>
                </a:lnTo>
                <a:lnTo>
                  <a:pt x="2181" y="1708"/>
                </a:lnTo>
                <a:lnTo>
                  <a:pt x="2177" y="1721"/>
                </a:lnTo>
                <a:lnTo>
                  <a:pt x="2172" y="1733"/>
                </a:lnTo>
                <a:lnTo>
                  <a:pt x="2166" y="1743"/>
                </a:lnTo>
                <a:lnTo>
                  <a:pt x="2161" y="1754"/>
                </a:lnTo>
                <a:lnTo>
                  <a:pt x="2148" y="1774"/>
                </a:lnTo>
                <a:lnTo>
                  <a:pt x="2133" y="1797"/>
                </a:lnTo>
                <a:lnTo>
                  <a:pt x="2116" y="1819"/>
                </a:lnTo>
                <a:lnTo>
                  <a:pt x="2096" y="1843"/>
                </a:lnTo>
                <a:lnTo>
                  <a:pt x="2083" y="1889"/>
                </a:lnTo>
                <a:lnTo>
                  <a:pt x="2070" y="1933"/>
                </a:lnTo>
                <a:lnTo>
                  <a:pt x="2057" y="1977"/>
                </a:lnTo>
                <a:lnTo>
                  <a:pt x="2044" y="2023"/>
                </a:lnTo>
                <a:lnTo>
                  <a:pt x="2031" y="2067"/>
                </a:lnTo>
                <a:lnTo>
                  <a:pt x="2019" y="2111"/>
                </a:lnTo>
                <a:lnTo>
                  <a:pt x="2006" y="2157"/>
                </a:lnTo>
                <a:lnTo>
                  <a:pt x="1995" y="2201"/>
                </a:lnTo>
                <a:lnTo>
                  <a:pt x="1996" y="2208"/>
                </a:lnTo>
                <a:lnTo>
                  <a:pt x="1999" y="2213"/>
                </a:lnTo>
                <a:lnTo>
                  <a:pt x="2001" y="2218"/>
                </a:lnTo>
                <a:lnTo>
                  <a:pt x="2005" y="2222"/>
                </a:lnTo>
                <a:lnTo>
                  <a:pt x="2013" y="2230"/>
                </a:lnTo>
                <a:lnTo>
                  <a:pt x="2023" y="2238"/>
                </a:lnTo>
                <a:lnTo>
                  <a:pt x="2022" y="2249"/>
                </a:lnTo>
                <a:lnTo>
                  <a:pt x="2021" y="2261"/>
                </a:lnTo>
                <a:lnTo>
                  <a:pt x="2018" y="2270"/>
                </a:lnTo>
                <a:lnTo>
                  <a:pt x="2014" y="2279"/>
                </a:lnTo>
                <a:lnTo>
                  <a:pt x="2009" y="2288"/>
                </a:lnTo>
                <a:lnTo>
                  <a:pt x="2004" y="2295"/>
                </a:lnTo>
                <a:lnTo>
                  <a:pt x="1997" y="2303"/>
                </a:lnTo>
                <a:lnTo>
                  <a:pt x="1991" y="2309"/>
                </a:lnTo>
                <a:lnTo>
                  <a:pt x="1983" y="2314"/>
                </a:lnTo>
                <a:lnTo>
                  <a:pt x="1974" y="2319"/>
                </a:lnTo>
                <a:lnTo>
                  <a:pt x="1966" y="2323"/>
                </a:lnTo>
                <a:lnTo>
                  <a:pt x="1957" y="2329"/>
                </a:lnTo>
                <a:lnTo>
                  <a:pt x="1937" y="2335"/>
                </a:lnTo>
                <a:lnTo>
                  <a:pt x="1917" y="2342"/>
                </a:lnTo>
                <a:lnTo>
                  <a:pt x="1885" y="2375"/>
                </a:lnTo>
                <a:lnTo>
                  <a:pt x="1854" y="2409"/>
                </a:lnTo>
                <a:lnTo>
                  <a:pt x="1823" y="2443"/>
                </a:lnTo>
                <a:lnTo>
                  <a:pt x="1792" y="2478"/>
                </a:lnTo>
                <a:lnTo>
                  <a:pt x="1762" y="2477"/>
                </a:lnTo>
                <a:lnTo>
                  <a:pt x="1731" y="2473"/>
                </a:lnTo>
                <a:lnTo>
                  <a:pt x="1699" y="2466"/>
                </a:lnTo>
                <a:lnTo>
                  <a:pt x="1668" y="2459"/>
                </a:lnTo>
                <a:lnTo>
                  <a:pt x="1653" y="2453"/>
                </a:lnTo>
                <a:lnTo>
                  <a:pt x="1638" y="2447"/>
                </a:lnTo>
                <a:lnTo>
                  <a:pt x="1624" y="2440"/>
                </a:lnTo>
                <a:lnTo>
                  <a:pt x="1610" y="2434"/>
                </a:lnTo>
                <a:lnTo>
                  <a:pt x="1595" y="2426"/>
                </a:lnTo>
                <a:lnTo>
                  <a:pt x="1582" y="2417"/>
                </a:lnTo>
                <a:lnTo>
                  <a:pt x="1569" y="2409"/>
                </a:lnTo>
                <a:lnTo>
                  <a:pt x="1558" y="2399"/>
                </a:lnTo>
                <a:lnTo>
                  <a:pt x="1533" y="2396"/>
                </a:lnTo>
                <a:lnTo>
                  <a:pt x="1508" y="2394"/>
                </a:lnTo>
                <a:lnTo>
                  <a:pt x="1483" y="2391"/>
                </a:lnTo>
                <a:lnTo>
                  <a:pt x="1460" y="2390"/>
                </a:lnTo>
                <a:lnTo>
                  <a:pt x="1439" y="2399"/>
                </a:lnTo>
                <a:lnTo>
                  <a:pt x="1420" y="2408"/>
                </a:lnTo>
                <a:lnTo>
                  <a:pt x="1401" y="2418"/>
                </a:lnTo>
                <a:lnTo>
                  <a:pt x="1382" y="2429"/>
                </a:lnTo>
                <a:lnTo>
                  <a:pt x="1344" y="2408"/>
                </a:lnTo>
                <a:lnTo>
                  <a:pt x="1305" y="2388"/>
                </a:lnTo>
                <a:lnTo>
                  <a:pt x="1266" y="2370"/>
                </a:lnTo>
                <a:lnTo>
                  <a:pt x="1228" y="2351"/>
                </a:lnTo>
                <a:lnTo>
                  <a:pt x="1202" y="2355"/>
                </a:lnTo>
                <a:lnTo>
                  <a:pt x="1178" y="2359"/>
                </a:lnTo>
                <a:lnTo>
                  <a:pt x="1154" y="2365"/>
                </a:lnTo>
                <a:lnTo>
                  <a:pt x="1132" y="2373"/>
                </a:lnTo>
                <a:lnTo>
                  <a:pt x="1113" y="2383"/>
                </a:lnTo>
                <a:lnTo>
                  <a:pt x="1093" y="2394"/>
                </a:lnTo>
                <a:lnTo>
                  <a:pt x="1074" y="2407"/>
                </a:lnTo>
                <a:lnTo>
                  <a:pt x="1057" y="2420"/>
                </a:lnTo>
                <a:lnTo>
                  <a:pt x="1040" y="2435"/>
                </a:lnTo>
                <a:lnTo>
                  <a:pt x="1023" y="2452"/>
                </a:lnTo>
                <a:lnTo>
                  <a:pt x="1007" y="2469"/>
                </a:lnTo>
                <a:lnTo>
                  <a:pt x="993" y="2487"/>
                </a:lnTo>
                <a:lnTo>
                  <a:pt x="963" y="2526"/>
                </a:lnTo>
                <a:lnTo>
                  <a:pt x="934" y="2568"/>
                </a:lnTo>
                <a:lnTo>
                  <a:pt x="895" y="2582"/>
                </a:lnTo>
                <a:lnTo>
                  <a:pt x="856" y="2594"/>
                </a:lnTo>
                <a:lnTo>
                  <a:pt x="817" y="2607"/>
                </a:lnTo>
                <a:lnTo>
                  <a:pt x="780" y="2619"/>
                </a:lnTo>
                <a:lnTo>
                  <a:pt x="741" y="2633"/>
                </a:lnTo>
                <a:lnTo>
                  <a:pt x="703" y="2649"/>
                </a:lnTo>
                <a:lnTo>
                  <a:pt x="685" y="2656"/>
                </a:lnTo>
                <a:lnTo>
                  <a:pt x="668" y="2666"/>
                </a:lnTo>
                <a:lnTo>
                  <a:pt x="649" y="2676"/>
                </a:lnTo>
                <a:lnTo>
                  <a:pt x="633" y="2686"/>
                </a:lnTo>
                <a:lnTo>
                  <a:pt x="605" y="2694"/>
                </a:lnTo>
                <a:lnTo>
                  <a:pt x="578" y="2703"/>
                </a:lnTo>
                <a:lnTo>
                  <a:pt x="551" y="2712"/>
                </a:lnTo>
                <a:lnTo>
                  <a:pt x="523" y="2720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39" name="Freeform 4"/>
          <p:cNvSpPr>
            <a:spLocks/>
          </p:cNvSpPr>
          <p:nvPr/>
        </p:nvSpPr>
        <p:spPr bwMode="auto">
          <a:xfrm>
            <a:off x="4267200" y="4532313"/>
            <a:ext cx="719138" cy="419100"/>
          </a:xfrm>
          <a:custGeom>
            <a:avLst/>
            <a:gdLst>
              <a:gd name="T0" fmla="*/ 2147483647 w 1814"/>
              <a:gd name="T1" fmla="*/ 2147483647 h 1057"/>
              <a:gd name="T2" fmla="*/ 2147483647 w 1814"/>
              <a:gd name="T3" fmla="*/ 2147483647 h 1057"/>
              <a:gd name="T4" fmla="*/ 2147483647 w 1814"/>
              <a:gd name="T5" fmla="*/ 2147483647 h 1057"/>
              <a:gd name="T6" fmla="*/ 2147483647 w 1814"/>
              <a:gd name="T7" fmla="*/ 2147483647 h 1057"/>
              <a:gd name="T8" fmla="*/ 2147483647 w 1814"/>
              <a:gd name="T9" fmla="*/ 2147483647 h 1057"/>
              <a:gd name="T10" fmla="*/ 2147483647 w 1814"/>
              <a:gd name="T11" fmla="*/ 2147483647 h 1057"/>
              <a:gd name="T12" fmla="*/ 2147483647 w 1814"/>
              <a:gd name="T13" fmla="*/ 2147483647 h 1057"/>
              <a:gd name="T14" fmla="*/ 2147483647 w 1814"/>
              <a:gd name="T15" fmla="*/ 2147483647 h 1057"/>
              <a:gd name="T16" fmla="*/ 2147483647 w 1814"/>
              <a:gd name="T17" fmla="*/ 2147483647 h 1057"/>
              <a:gd name="T18" fmla="*/ 2147483647 w 1814"/>
              <a:gd name="T19" fmla="*/ 2147483647 h 1057"/>
              <a:gd name="T20" fmla="*/ 2147483647 w 1814"/>
              <a:gd name="T21" fmla="*/ 2147483647 h 1057"/>
              <a:gd name="T22" fmla="*/ 2147483647 w 1814"/>
              <a:gd name="T23" fmla="*/ 2147483647 h 1057"/>
              <a:gd name="T24" fmla="*/ 2147483647 w 1814"/>
              <a:gd name="T25" fmla="*/ 2147483647 h 1057"/>
              <a:gd name="T26" fmla="*/ 2147483647 w 1814"/>
              <a:gd name="T27" fmla="*/ 2147483647 h 1057"/>
              <a:gd name="T28" fmla="*/ 2147483647 w 1814"/>
              <a:gd name="T29" fmla="*/ 2147483647 h 1057"/>
              <a:gd name="T30" fmla="*/ 2147483647 w 1814"/>
              <a:gd name="T31" fmla="*/ 2147483647 h 1057"/>
              <a:gd name="T32" fmla="*/ 2147483647 w 1814"/>
              <a:gd name="T33" fmla="*/ 2147483647 h 1057"/>
              <a:gd name="T34" fmla="*/ 2147483647 w 1814"/>
              <a:gd name="T35" fmla="*/ 2147483647 h 1057"/>
              <a:gd name="T36" fmla="*/ 2147483647 w 1814"/>
              <a:gd name="T37" fmla="*/ 2147483647 h 1057"/>
              <a:gd name="T38" fmla="*/ 2147483647 w 1814"/>
              <a:gd name="T39" fmla="*/ 2147483647 h 1057"/>
              <a:gd name="T40" fmla="*/ 2147483647 w 1814"/>
              <a:gd name="T41" fmla="*/ 2147483647 h 1057"/>
              <a:gd name="T42" fmla="*/ 2147483647 w 1814"/>
              <a:gd name="T43" fmla="*/ 2147483647 h 1057"/>
              <a:gd name="T44" fmla="*/ 2147483647 w 1814"/>
              <a:gd name="T45" fmla="*/ 2147483647 h 1057"/>
              <a:gd name="T46" fmla="*/ 2147483647 w 1814"/>
              <a:gd name="T47" fmla="*/ 2147483647 h 1057"/>
              <a:gd name="T48" fmla="*/ 2147483647 w 1814"/>
              <a:gd name="T49" fmla="*/ 2147483647 h 1057"/>
              <a:gd name="T50" fmla="*/ 2147483647 w 1814"/>
              <a:gd name="T51" fmla="*/ 2147483647 h 1057"/>
              <a:gd name="T52" fmla="*/ 2147483647 w 1814"/>
              <a:gd name="T53" fmla="*/ 2147483647 h 1057"/>
              <a:gd name="T54" fmla="*/ 2147483647 w 1814"/>
              <a:gd name="T55" fmla="*/ 2147483647 h 1057"/>
              <a:gd name="T56" fmla="*/ 2147483647 w 1814"/>
              <a:gd name="T57" fmla="*/ 2147483647 h 1057"/>
              <a:gd name="T58" fmla="*/ 2147483647 w 1814"/>
              <a:gd name="T59" fmla="*/ 2147483647 h 1057"/>
              <a:gd name="T60" fmla="*/ 2147483647 w 1814"/>
              <a:gd name="T61" fmla="*/ 2147483647 h 1057"/>
              <a:gd name="T62" fmla="*/ 2147483647 w 1814"/>
              <a:gd name="T63" fmla="*/ 2147483647 h 1057"/>
              <a:gd name="T64" fmla="*/ 2147483647 w 1814"/>
              <a:gd name="T65" fmla="*/ 2147483647 h 1057"/>
              <a:gd name="T66" fmla="*/ 2147483647 w 1814"/>
              <a:gd name="T67" fmla="*/ 2147483647 h 1057"/>
              <a:gd name="T68" fmla="*/ 2147483647 w 1814"/>
              <a:gd name="T69" fmla="*/ 2147483647 h 1057"/>
              <a:gd name="T70" fmla="*/ 2147483647 w 1814"/>
              <a:gd name="T71" fmla="*/ 2147483647 h 1057"/>
              <a:gd name="T72" fmla="*/ 2147483647 w 1814"/>
              <a:gd name="T73" fmla="*/ 2147483647 h 1057"/>
              <a:gd name="T74" fmla="*/ 2147483647 w 1814"/>
              <a:gd name="T75" fmla="*/ 2147483647 h 1057"/>
              <a:gd name="T76" fmla="*/ 2147483647 w 1814"/>
              <a:gd name="T77" fmla="*/ 2147483647 h 1057"/>
              <a:gd name="T78" fmla="*/ 2147483647 w 1814"/>
              <a:gd name="T79" fmla="*/ 2147483647 h 1057"/>
              <a:gd name="T80" fmla="*/ 2147483647 w 1814"/>
              <a:gd name="T81" fmla="*/ 2147483647 h 1057"/>
              <a:gd name="T82" fmla="*/ 2147483647 w 1814"/>
              <a:gd name="T83" fmla="*/ 2147483647 h 1057"/>
              <a:gd name="T84" fmla="*/ 2147483647 w 1814"/>
              <a:gd name="T85" fmla="*/ 2147483647 h 1057"/>
              <a:gd name="T86" fmla="*/ 2147483647 w 1814"/>
              <a:gd name="T87" fmla="*/ 2147483647 h 1057"/>
              <a:gd name="T88" fmla="*/ 2147483647 w 1814"/>
              <a:gd name="T89" fmla="*/ 0 h 1057"/>
              <a:gd name="T90" fmla="*/ 2147483647 w 1814"/>
              <a:gd name="T91" fmla="*/ 2147483647 h 1057"/>
              <a:gd name="T92" fmla="*/ 2147483647 w 1814"/>
              <a:gd name="T93" fmla="*/ 2147483647 h 1057"/>
              <a:gd name="T94" fmla="*/ 2147483647 w 1814"/>
              <a:gd name="T95" fmla="*/ 2147483647 h 1057"/>
              <a:gd name="T96" fmla="*/ 2147483647 w 1814"/>
              <a:gd name="T97" fmla="*/ 2147483647 h 1057"/>
              <a:gd name="T98" fmla="*/ 2147483647 w 1814"/>
              <a:gd name="T99" fmla="*/ 2147483647 h 1057"/>
              <a:gd name="T100" fmla="*/ 2147483647 w 1814"/>
              <a:gd name="T101" fmla="*/ 2147483647 h 1057"/>
              <a:gd name="T102" fmla="*/ 2147483647 w 1814"/>
              <a:gd name="T103" fmla="*/ 2147483647 h 1057"/>
              <a:gd name="T104" fmla="*/ 2147483647 w 1814"/>
              <a:gd name="T105" fmla="*/ 2147483647 h 1057"/>
              <a:gd name="T106" fmla="*/ 2147483647 w 1814"/>
              <a:gd name="T107" fmla="*/ 2147483647 h 1057"/>
              <a:gd name="T108" fmla="*/ 2147483647 w 1814"/>
              <a:gd name="T109" fmla="*/ 2147483647 h 1057"/>
              <a:gd name="T110" fmla="*/ 2147483647 w 1814"/>
              <a:gd name="T111" fmla="*/ 2147483647 h 1057"/>
              <a:gd name="T112" fmla="*/ 2147483647 w 1814"/>
              <a:gd name="T113" fmla="*/ 2147483647 h 1057"/>
              <a:gd name="T114" fmla="*/ 2147483647 w 1814"/>
              <a:gd name="T115" fmla="*/ 2147483647 h 1057"/>
              <a:gd name="T116" fmla="*/ 2147483647 w 1814"/>
              <a:gd name="T117" fmla="*/ 2147483647 h 1057"/>
              <a:gd name="T118" fmla="*/ 2147483647 w 1814"/>
              <a:gd name="T119" fmla="*/ 2147483647 h 1057"/>
              <a:gd name="T120" fmla="*/ 2147483647 w 1814"/>
              <a:gd name="T121" fmla="*/ 2147483647 h 1057"/>
              <a:gd name="T122" fmla="*/ 2147483647 w 1814"/>
              <a:gd name="T123" fmla="*/ 2147483647 h 105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814"/>
              <a:gd name="T187" fmla="*/ 0 h 1057"/>
              <a:gd name="T188" fmla="*/ 1814 w 1814"/>
              <a:gd name="T189" fmla="*/ 1057 h 1057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814" h="1057">
                <a:moveTo>
                  <a:pt x="1338" y="1057"/>
                </a:moveTo>
                <a:lnTo>
                  <a:pt x="1338" y="1049"/>
                </a:lnTo>
                <a:lnTo>
                  <a:pt x="1338" y="1042"/>
                </a:lnTo>
                <a:lnTo>
                  <a:pt x="1316" y="1033"/>
                </a:lnTo>
                <a:lnTo>
                  <a:pt x="1293" y="1025"/>
                </a:lnTo>
                <a:lnTo>
                  <a:pt x="1273" y="1018"/>
                </a:lnTo>
                <a:lnTo>
                  <a:pt x="1251" y="1011"/>
                </a:lnTo>
                <a:lnTo>
                  <a:pt x="1230" y="1006"/>
                </a:lnTo>
                <a:lnTo>
                  <a:pt x="1209" y="1001"/>
                </a:lnTo>
                <a:lnTo>
                  <a:pt x="1188" y="997"/>
                </a:lnTo>
                <a:lnTo>
                  <a:pt x="1167" y="993"/>
                </a:lnTo>
                <a:lnTo>
                  <a:pt x="1126" y="988"/>
                </a:lnTo>
                <a:lnTo>
                  <a:pt x="1083" y="985"/>
                </a:lnTo>
                <a:lnTo>
                  <a:pt x="1038" y="983"/>
                </a:lnTo>
                <a:lnTo>
                  <a:pt x="992" y="981"/>
                </a:lnTo>
                <a:lnTo>
                  <a:pt x="976" y="967"/>
                </a:lnTo>
                <a:lnTo>
                  <a:pt x="958" y="949"/>
                </a:lnTo>
                <a:lnTo>
                  <a:pt x="947" y="938"/>
                </a:lnTo>
                <a:lnTo>
                  <a:pt x="938" y="931"/>
                </a:lnTo>
                <a:lnTo>
                  <a:pt x="933" y="928"/>
                </a:lnTo>
                <a:lnTo>
                  <a:pt x="928" y="925"/>
                </a:lnTo>
                <a:lnTo>
                  <a:pt x="924" y="924"/>
                </a:lnTo>
                <a:lnTo>
                  <a:pt x="920" y="924"/>
                </a:lnTo>
                <a:lnTo>
                  <a:pt x="908" y="897"/>
                </a:lnTo>
                <a:lnTo>
                  <a:pt x="898" y="873"/>
                </a:lnTo>
                <a:lnTo>
                  <a:pt x="889" y="852"/>
                </a:lnTo>
                <a:lnTo>
                  <a:pt x="878" y="834"/>
                </a:lnTo>
                <a:lnTo>
                  <a:pt x="869" y="820"/>
                </a:lnTo>
                <a:lnTo>
                  <a:pt x="859" y="807"/>
                </a:lnTo>
                <a:lnTo>
                  <a:pt x="847" y="797"/>
                </a:lnTo>
                <a:lnTo>
                  <a:pt x="837" y="789"/>
                </a:lnTo>
                <a:lnTo>
                  <a:pt x="824" y="781"/>
                </a:lnTo>
                <a:lnTo>
                  <a:pt x="810" y="776"/>
                </a:lnTo>
                <a:lnTo>
                  <a:pt x="794" y="771"/>
                </a:lnTo>
                <a:lnTo>
                  <a:pt x="777" y="768"/>
                </a:lnTo>
                <a:lnTo>
                  <a:pt x="735" y="761"/>
                </a:lnTo>
                <a:lnTo>
                  <a:pt x="683" y="756"/>
                </a:lnTo>
                <a:lnTo>
                  <a:pt x="655" y="742"/>
                </a:lnTo>
                <a:lnTo>
                  <a:pt x="626" y="724"/>
                </a:lnTo>
                <a:lnTo>
                  <a:pt x="613" y="715"/>
                </a:lnTo>
                <a:lnTo>
                  <a:pt x="601" y="703"/>
                </a:lnTo>
                <a:lnTo>
                  <a:pt x="591" y="691"/>
                </a:lnTo>
                <a:lnTo>
                  <a:pt x="582" y="678"/>
                </a:lnTo>
                <a:lnTo>
                  <a:pt x="538" y="682"/>
                </a:lnTo>
                <a:lnTo>
                  <a:pt x="495" y="686"/>
                </a:lnTo>
                <a:lnTo>
                  <a:pt x="453" y="691"/>
                </a:lnTo>
                <a:lnTo>
                  <a:pt x="410" y="695"/>
                </a:lnTo>
                <a:lnTo>
                  <a:pt x="401" y="703"/>
                </a:lnTo>
                <a:lnTo>
                  <a:pt x="391" y="709"/>
                </a:lnTo>
                <a:lnTo>
                  <a:pt x="380" y="715"/>
                </a:lnTo>
                <a:lnTo>
                  <a:pt x="371" y="718"/>
                </a:lnTo>
                <a:lnTo>
                  <a:pt x="350" y="724"/>
                </a:lnTo>
                <a:lnTo>
                  <a:pt x="329" y="729"/>
                </a:lnTo>
                <a:lnTo>
                  <a:pt x="307" y="731"/>
                </a:lnTo>
                <a:lnTo>
                  <a:pt x="287" y="735"/>
                </a:lnTo>
                <a:lnTo>
                  <a:pt x="275" y="738"/>
                </a:lnTo>
                <a:lnTo>
                  <a:pt x="264" y="741"/>
                </a:lnTo>
                <a:lnTo>
                  <a:pt x="253" y="744"/>
                </a:lnTo>
                <a:lnTo>
                  <a:pt x="241" y="748"/>
                </a:lnTo>
                <a:lnTo>
                  <a:pt x="241" y="755"/>
                </a:lnTo>
                <a:lnTo>
                  <a:pt x="241" y="760"/>
                </a:lnTo>
                <a:lnTo>
                  <a:pt x="219" y="774"/>
                </a:lnTo>
                <a:lnTo>
                  <a:pt x="195" y="786"/>
                </a:lnTo>
                <a:lnTo>
                  <a:pt x="172" y="797"/>
                </a:lnTo>
                <a:lnTo>
                  <a:pt x="149" y="806"/>
                </a:lnTo>
                <a:lnTo>
                  <a:pt x="124" y="813"/>
                </a:lnTo>
                <a:lnTo>
                  <a:pt x="99" y="821"/>
                </a:lnTo>
                <a:lnTo>
                  <a:pt x="74" y="826"/>
                </a:lnTo>
                <a:lnTo>
                  <a:pt x="48" y="832"/>
                </a:lnTo>
                <a:lnTo>
                  <a:pt x="46" y="820"/>
                </a:lnTo>
                <a:lnTo>
                  <a:pt x="42" y="810"/>
                </a:lnTo>
                <a:lnTo>
                  <a:pt x="38" y="800"/>
                </a:lnTo>
                <a:lnTo>
                  <a:pt x="34" y="793"/>
                </a:lnTo>
                <a:lnTo>
                  <a:pt x="29" y="786"/>
                </a:lnTo>
                <a:lnTo>
                  <a:pt x="22" y="781"/>
                </a:lnTo>
                <a:lnTo>
                  <a:pt x="15" y="777"/>
                </a:lnTo>
                <a:lnTo>
                  <a:pt x="4" y="773"/>
                </a:lnTo>
                <a:lnTo>
                  <a:pt x="7" y="763"/>
                </a:lnTo>
                <a:lnTo>
                  <a:pt x="11" y="755"/>
                </a:lnTo>
                <a:lnTo>
                  <a:pt x="16" y="747"/>
                </a:lnTo>
                <a:lnTo>
                  <a:pt x="20" y="741"/>
                </a:lnTo>
                <a:lnTo>
                  <a:pt x="26" y="734"/>
                </a:lnTo>
                <a:lnTo>
                  <a:pt x="32" y="730"/>
                </a:lnTo>
                <a:lnTo>
                  <a:pt x="38" y="726"/>
                </a:lnTo>
                <a:lnTo>
                  <a:pt x="46" y="724"/>
                </a:lnTo>
                <a:lnTo>
                  <a:pt x="78" y="716"/>
                </a:lnTo>
                <a:lnTo>
                  <a:pt x="113" y="711"/>
                </a:lnTo>
                <a:lnTo>
                  <a:pt x="113" y="696"/>
                </a:lnTo>
                <a:lnTo>
                  <a:pt x="111" y="682"/>
                </a:lnTo>
                <a:lnTo>
                  <a:pt x="107" y="666"/>
                </a:lnTo>
                <a:lnTo>
                  <a:pt x="102" y="652"/>
                </a:lnTo>
                <a:lnTo>
                  <a:pt x="95" y="637"/>
                </a:lnTo>
                <a:lnTo>
                  <a:pt x="89" y="621"/>
                </a:lnTo>
                <a:lnTo>
                  <a:pt x="81" y="605"/>
                </a:lnTo>
                <a:lnTo>
                  <a:pt x="72" y="590"/>
                </a:lnTo>
                <a:lnTo>
                  <a:pt x="54" y="560"/>
                </a:lnTo>
                <a:lnTo>
                  <a:pt x="35" y="530"/>
                </a:lnTo>
                <a:lnTo>
                  <a:pt x="17" y="504"/>
                </a:lnTo>
                <a:lnTo>
                  <a:pt x="0" y="479"/>
                </a:lnTo>
                <a:lnTo>
                  <a:pt x="2" y="469"/>
                </a:lnTo>
                <a:lnTo>
                  <a:pt x="4" y="457"/>
                </a:lnTo>
                <a:lnTo>
                  <a:pt x="8" y="447"/>
                </a:lnTo>
                <a:lnTo>
                  <a:pt x="13" y="436"/>
                </a:lnTo>
                <a:lnTo>
                  <a:pt x="26" y="415"/>
                </a:lnTo>
                <a:lnTo>
                  <a:pt x="37" y="395"/>
                </a:lnTo>
                <a:lnTo>
                  <a:pt x="61" y="404"/>
                </a:lnTo>
                <a:lnTo>
                  <a:pt x="81" y="410"/>
                </a:lnTo>
                <a:lnTo>
                  <a:pt x="98" y="414"/>
                </a:lnTo>
                <a:lnTo>
                  <a:pt x="113" y="415"/>
                </a:lnTo>
                <a:lnTo>
                  <a:pt x="120" y="415"/>
                </a:lnTo>
                <a:lnTo>
                  <a:pt x="128" y="414"/>
                </a:lnTo>
                <a:lnTo>
                  <a:pt x="136" y="411"/>
                </a:lnTo>
                <a:lnTo>
                  <a:pt x="143" y="408"/>
                </a:lnTo>
                <a:lnTo>
                  <a:pt x="162" y="398"/>
                </a:lnTo>
                <a:lnTo>
                  <a:pt x="184" y="385"/>
                </a:lnTo>
                <a:lnTo>
                  <a:pt x="212" y="383"/>
                </a:lnTo>
                <a:lnTo>
                  <a:pt x="241" y="378"/>
                </a:lnTo>
                <a:lnTo>
                  <a:pt x="268" y="371"/>
                </a:lnTo>
                <a:lnTo>
                  <a:pt x="296" y="363"/>
                </a:lnTo>
                <a:lnTo>
                  <a:pt x="323" y="357"/>
                </a:lnTo>
                <a:lnTo>
                  <a:pt x="352" y="350"/>
                </a:lnTo>
                <a:lnTo>
                  <a:pt x="379" y="344"/>
                </a:lnTo>
                <a:lnTo>
                  <a:pt x="409" y="341"/>
                </a:lnTo>
                <a:lnTo>
                  <a:pt x="445" y="353"/>
                </a:lnTo>
                <a:lnTo>
                  <a:pt x="482" y="365"/>
                </a:lnTo>
                <a:lnTo>
                  <a:pt x="519" y="375"/>
                </a:lnTo>
                <a:lnTo>
                  <a:pt x="557" y="383"/>
                </a:lnTo>
                <a:lnTo>
                  <a:pt x="595" y="389"/>
                </a:lnTo>
                <a:lnTo>
                  <a:pt x="633" y="395"/>
                </a:lnTo>
                <a:lnTo>
                  <a:pt x="672" y="397"/>
                </a:lnTo>
                <a:lnTo>
                  <a:pt x="711" y="398"/>
                </a:lnTo>
                <a:lnTo>
                  <a:pt x="743" y="378"/>
                </a:lnTo>
                <a:lnTo>
                  <a:pt x="776" y="356"/>
                </a:lnTo>
                <a:lnTo>
                  <a:pt x="791" y="344"/>
                </a:lnTo>
                <a:lnTo>
                  <a:pt x="807" y="331"/>
                </a:lnTo>
                <a:lnTo>
                  <a:pt x="820" y="318"/>
                </a:lnTo>
                <a:lnTo>
                  <a:pt x="833" y="305"/>
                </a:lnTo>
                <a:lnTo>
                  <a:pt x="868" y="289"/>
                </a:lnTo>
                <a:lnTo>
                  <a:pt x="904" y="276"/>
                </a:lnTo>
                <a:lnTo>
                  <a:pt x="944" y="263"/>
                </a:lnTo>
                <a:lnTo>
                  <a:pt x="980" y="249"/>
                </a:lnTo>
                <a:lnTo>
                  <a:pt x="980" y="241"/>
                </a:lnTo>
                <a:lnTo>
                  <a:pt x="980" y="236"/>
                </a:lnTo>
                <a:lnTo>
                  <a:pt x="985" y="236"/>
                </a:lnTo>
                <a:lnTo>
                  <a:pt x="992" y="236"/>
                </a:lnTo>
                <a:lnTo>
                  <a:pt x="999" y="222"/>
                </a:lnTo>
                <a:lnTo>
                  <a:pt x="1007" y="211"/>
                </a:lnTo>
                <a:lnTo>
                  <a:pt x="1016" y="205"/>
                </a:lnTo>
                <a:lnTo>
                  <a:pt x="1029" y="197"/>
                </a:lnTo>
                <a:lnTo>
                  <a:pt x="1029" y="189"/>
                </a:lnTo>
                <a:lnTo>
                  <a:pt x="1029" y="184"/>
                </a:lnTo>
                <a:lnTo>
                  <a:pt x="1040" y="175"/>
                </a:lnTo>
                <a:lnTo>
                  <a:pt x="1050" y="166"/>
                </a:lnTo>
                <a:lnTo>
                  <a:pt x="1059" y="156"/>
                </a:lnTo>
                <a:lnTo>
                  <a:pt x="1068" y="146"/>
                </a:lnTo>
                <a:lnTo>
                  <a:pt x="1085" y="125"/>
                </a:lnTo>
                <a:lnTo>
                  <a:pt x="1101" y="103"/>
                </a:lnTo>
                <a:lnTo>
                  <a:pt x="1117" y="81"/>
                </a:lnTo>
                <a:lnTo>
                  <a:pt x="1132" y="60"/>
                </a:lnTo>
                <a:lnTo>
                  <a:pt x="1141" y="51"/>
                </a:lnTo>
                <a:lnTo>
                  <a:pt x="1149" y="42"/>
                </a:lnTo>
                <a:lnTo>
                  <a:pt x="1158" y="33"/>
                </a:lnTo>
                <a:lnTo>
                  <a:pt x="1169" y="25"/>
                </a:lnTo>
                <a:lnTo>
                  <a:pt x="1186" y="25"/>
                </a:lnTo>
                <a:lnTo>
                  <a:pt x="1204" y="24"/>
                </a:lnTo>
                <a:lnTo>
                  <a:pt x="1222" y="24"/>
                </a:lnTo>
                <a:lnTo>
                  <a:pt x="1241" y="24"/>
                </a:lnTo>
                <a:lnTo>
                  <a:pt x="1241" y="30"/>
                </a:lnTo>
                <a:lnTo>
                  <a:pt x="1241" y="37"/>
                </a:lnTo>
                <a:lnTo>
                  <a:pt x="1254" y="39"/>
                </a:lnTo>
                <a:lnTo>
                  <a:pt x="1267" y="43"/>
                </a:lnTo>
                <a:lnTo>
                  <a:pt x="1267" y="49"/>
                </a:lnTo>
                <a:lnTo>
                  <a:pt x="1267" y="56"/>
                </a:lnTo>
                <a:lnTo>
                  <a:pt x="1308" y="45"/>
                </a:lnTo>
                <a:lnTo>
                  <a:pt x="1356" y="29"/>
                </a:lnTo>
                <a:lnTo>
                  <a:pt x="1382" y="21"/>
                </a:lnTo>
                <a:lnTo>
                  <a:pt x="1408" y="13"/>
                </a:lnTo>
                <a:lnTo>
                  <a:pt x="1435" y="8"/>
                </a:lnTo>
                <a:lnTo>
                  <a:pt x="1461" y="3"/>
                </a:lnTo>
                <a:lnTo>
                  <a:pt x="1487" y="0"/>
                </a:lnTo>
                <a:lnTo>
                  <a:pt x="1513" y="0"/>
                </a:lnTo>
                <a:lnTo>
                  <a:pt x="1525" y="2"/>
                </a:lnTo>
                <a:lnTo>
                  <a:pt x="1537" y="4"/>
                </a:lnTo>
                <a:lnTo>
                  <a:pt x="1548" y="7"/>
                </a:lnTo>
                <a:lnTo>
                  <a:pt x="1560" y="11"/>
                </a:lnTo>
                <a:lnTo>
                  <a:pt x="1571" y="16"/>
                </a:lnTo>
                <a:lnTo>
                  <a:pt x="1580" y="21"/>
                </a:lnTo>
                <a:lnTo>
                  <a:pt x="1590" y="28"/>
                </a:lnTo>
                <a:lnTo>
                  <a:pt x="1598" y="37"/>
                </a:lnTo>
                <a:lnTo>
                  <a:pt x="1607" y="46"/>
                </a:lnTo>
                <a:lnTo>
                  <a:pt x="1614" y="56"/>
                </a:lnTo>
                <a:lnTo>
                  <a:pt x="1620" y="68"/>
                </a:lnTo>
                <a:lnTo>
                  <a:pt x="1625" y="81"/>
                </a:lnTo>
                <a:lnTo>
                  <a:pt x="1643" y="89"/>
                </a:lnTo>
                <a:lnTo>
                  <a:pt x="1658" y="95"/>
                </a:lnTo>
                <a:lnTo>
                  <a:pt x="1671" y="103"/>
                </a:lnTo>
                <a:lnTo>
                  <a:pt x="1682" y="112"/>
                </a:lnTo>
                <a:lnTo>
                  <a:pt x="1705" y="130"/>
                </a:lnTo>
                <a:lnTo>
                  <a:pt x="1728" y="153"/>
                </a:lnTo>
                <a:lnTo>
                  <a:pt x="1750" y="155"/>
                </a:lnTo>
                <a:lnTo>
                  <a:pt x="1768" y="160"/>
                </a:lnTo>
                <a:lnTo>
                  <a:pt x="1783" y="164"/>
                </a:lnTo>
                <a:lnTo>
                  <a:pt x="1793" y="171"/>
                </a:lnTo>
                <a:lnTo>
                  <a:pt x="1802" y="177"/>
                </a:lnTo>
                <a:lnTo>
                  <a:pt x="1807" y="185"/>
                </a:lnTo>
                <a:lnTo>
                  <a:pt x="1811" y="193"/>
                </a:lnTo>
                <a:lnTo>
                  <a:pt x="1814" y="203"/>
                </a:lnTo>
                <a:lnTo>
                  <a:pt x="1811" y="254"/>
                </a:lnTo>
                <a:lnTo>
                  <a:pt x="1809" y="326"/>
                </a:lnTo>
                <a:lnTo>
                  <a:pt x="1803" y="332"/>
                </a:lnTo>
                <a:lnTo>
                  <a:pt x="1801" y="340"/>
                </a:lnTo>
                <a:lnTo>
                  <a:pt x="1798" y="346"/>
                </a:lnTo>
                <a:lnTo>
                  <a:pt x="1796" y="354"/>
                </a:lnTo>
                <a:lnTo>
                  <a:pt x="1794" y="369"/>
                </a:lnTo>
                <a:lnTo>
                  <a:pt x="1794" y="384"/>
                </a:lnTo>
                <a:lnTo>
                  <a:pt x="1798" y="415"/>
                </a:lnTo>
                <a:lnTo>
                  <a:pt x="1802" y="447"/>
                </a:lnTo>
                <a:lnTo>
                  <a:pt x="1787" y="469"/>
                </a:lnTo>
                <a:lnTo>
                  <a:pt x="1770" y="490"/>
                </a:lnTo>
                <a:lnTo>
                  <a:pt x="1750" y="509"/>
                </a:lnTo>
                <a:lnTo>
                  <a:pt x="1729" y="529"/>
                </a:lnTo>
                <a:lnTo>
                  <a:pt x="1688" y="568"/>
                </a:lnTo>
                <a:lnTo>
                  <a:pt x="1645" y="607"/>
                </a:lnTo>
                <a:lnTo>
                  <a:pt x="1625" y="626"/>
                </a:lnTo>
                <a:lnTo>
                  <a:pt x="1607" y="647"/>
                </a:lnTo>
                <a:lnTo>
                  <a:pt x="1591" y="668"/>
                </a:lnTo>
                <a:lnTo>
                  <a:pt x="1578" y="690"/>
                </a:lnTo>
                <a:lnTo>
                  <a:pt x="1572" y="702"/>
                </a:lnTo>
                <a:lnTo>
                  <a:pt x="1567" y="715"/>
                </a:lnTo>
                <a:lnTo>
                  <a:pt x="1563" y="726"/>
                </a:lnTo>
                <a:lnTo>
                  <a:pt x="1560" y="739"/>
                </a:lnTo>
                <a:lnTo>
                  <a:pt x="1558" y="752"/>
                </a:lnTo>
                <a:lnTo>
                  <a:pt x="1556" y="765"/>
                </a:lnTo>
                <a:lnTo>
                  <a:pt x="1556" y="778"/>
                </a:lnTo>
                <a:lnTo>
                  <a:pt x="1556" y="793"/>
                </a:lnTo>
                <a:lnTo>
                  <a:pt x="1563" y="793"/>
                </a:lnTo>
                <a:lnTo>
                  <a:pt x="1568" y="793"/>
                </a:lnTo>
                <a:lnTo>
                  <a:pt x="1567" y="826"/>
                </a:lnTo>
                <a:lnTo>
                  <a:pt x="1563" y="858"/>
                </a:lnTo>
                <a:lnTo>
                  <a:pt x="1558" y="886"/>
                </a:lnTo>
                <a:lnTo>
                  <a:pt x="1551" y="912"/>
                </a:lnTo>
                <a:lnTo>
                  <a:pt x="1542" y="938"/>
                </a:lnTo>
                <a:lnTo>
                  <a:pt x="1532" y="966"/>
                </a:lnTo>
                <a:lnTo>
                  <a:pt x="1520" y="993"/>
                </a:lnTo>
                <a:lnTo>
                  <a:pt x="1504" y="1024"/>
                </a:lnTo>
                <a:lnTo>
                  <a:pt x="1481" y="1024"/>
                </a:lnTo>
                <a:lnTo>
                  <a:pt x="1459" y="1027"/>
                </a:lnTo>
                <a:lnTo>
                  <a:pt x="1438" y="1031"/>
                </a:lnTo>
                <a:lnTo>
                  <a:pt x="1418" y="1036"/>
                </a:lnTo>
                <a:lnTo>
                  <a:pt x="1379" y="1046"/>
                </a:lnTo>
                <a:lnTo>
                  <a:pt x="1338" y="1057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40" name="Freeform 5"/>
          <p:cNvSpPr>
            <a:spLocks/>
          </p:cNvSpPr>
          <p:nvPr/>
        </p:nvSpPr>
        <p:spPr bwMode="auto">
          <a:xfrm>
            <a:off x="7200900" y="4718050"/>
            <a:ext cx="298450" cy="207963"/>
          </a:xfrm>
          <a:custGeom>
            <a:avLst/>
            <a:gdLst>
              <a:gd name="T0" fmla="*/ 2147483647 w 753"/>
              <a:gd name="T1" fmla="*/ 2147483647 h 525"/>
              <a:gd name="T2" fmla="*/ 2147483647 w 753"/>
              <a:gd name="T3" fmla="*/ 2147483647 h 525"/>
              <a:gd name="T4" fmla="*/ 2147483647 w 753"/>
              <a:gd name="T5" fmla="*/ 2147483647 h 525"/>
              <a:gd name="T6" fmla="*/ 2147483647 w 753"/>
              <a:gd name="T7" fmla="*/ 2147483647 h 525"/>
              <a:gd name="T8" fmla="*/ 2147483647 w 753"/>
              <a:gd name="T9" fmla="*/ 2147483647 h 525"/>
              <a:gd name="T10" fmla="*/ 2147483647 w 753"/>
              <a:gd name="T11" fmla="*/ 2147483647 h 525"/>
              <a:gd name="T12" fmla="*/ 2147483647 w 753"/>
              <a:gd name="T13" fmla="*/ 2147483647 h 525"/>
              <a:gd name="T14" fmla="*/ 2147483647 w 753"/>
              <a:gd name="T15" fmla="*/ 2147483647 h 525"/>
              <a:gd name="T16" fmla="*/ 2147483647 w 753"/>
              <a:gd name="T17" fmla="*/ 2147483647 h 525"/>
              <a:gd name="T18" fmla="*/ 2147483647 w 753"/>
              <a:gd name="T19" fmla="*/ 2147483647 h 525"/>
              <a:gd name="T20" fmla="*/ 2147483647 w 753"/>
              <a:gd name="T21" fmla="*/ 2147483647 h 525"/>
              <a:gd name="T22" fmla="*/ 2147483647 w 753"/>
              <a:gd name="T23" fmla="*/ 2147483647 h 525"/>
              <a:gd name="T24" fmla="*/ 2147483647 w 753"/>
              <a:gd name="T25" fmla="*/ 2147483647 h 525"/>
              <a:gd name="T26" fmla="*/ 2147483647 w 753"/>
              <a:gd name="T27" fmla="*/ 2147483647 h 525"/>
              <a:gd name="T28" fmla="*/ 2147483647 w 753"/>
              <a:gd name="T29" fmla="*/ 2147483647 h 525"/>
              <a:gd name="T30" fmla="*/ 2147483647 w 753"/>
              <a:gd name="T31" fmla="*/ 2147483647 h 525"/>
              <a:gd name="T32" fmla="*/ 2147483647 w 753"/>
              <a:gd name="T33" fmla="*/ 2147483647 h 525"/>
              <a:gd name="T34" fmla="*/ 2147483647 w 753"/>
              <a:gd name="T35" fmla="*/ 2147483647 h 525"/>
              <a:gd name="T36" fmla="*/ 2147483647 w 753"/>
              <a:gd name="T37" fmla="*/ 2147483647 h 525"/>
              <a:gd name="T38" fmla="*/ 2147483647 w 753"/>
              <a:gd name="T39" fmla="*/ 2147483647 h 525"/>
              <a:gd name="T40" fmla="*/ 2147483647 w 753"/>
              <a:gd name="T41" fmla="*/ 2147483647 h 525"/>
              <a:gd name="T42" fmla="*/ 2147483647 w 753"/>
              <a:gd name="T43" fmla="*/ 2147483647 h 525"/>
              <a:gd name="T44" fmla="*/ 2147483647 w 753"/>
              <a:gd name="T45" fmla="*/ 2147483647 h 525"/>
              <a:gd name="T46" fmla="*/ 2147483647 w 753"/>
              <a:gd name="T47" fmla="*/ 2147483647 h 525"/>
              <a:gd name="T48" fmla="*/ 2147483647 w 753"/>
              <a:gd name="T49" fmla="*/ 2147483647 h 525"/>
              <a:gd name="T50" fmla="*/ 2147483647 w 753"/>
              <a:gd name="T51" fmla="*/ 2147483647 h 525"/>
              <a:gd name="T52" fmla="*/ 2147483647 w 753"/>
              <a:gd name="T53" fmla="*/ 2147483647 h 525"/>
              <a:gd name="T54" fmla="*/ 2147483647 w 753"/>
              <a:gd name="T55" fmla="*/ 2147483647 h 525"/>
              <a:gd name="T56" fmla="*/ 2147483647 w 753"/>
              <a:gd name="T57" fmla="*/ 2147483647 h 525"/>
              <a:gd name="T58" fmla="*/ 2147483647 w 753"/>
              <a:gd name="T59" fmla="*/ 2147483647 h 525"/>
              <a:gd name="T60" fmla="*/ 2147483647 w 753"/>
              <a:gd name="T61" fmla="*/ 2147483647 h 525"/>
              <a:gd name="T62" fmla="*/ 2147483647 w 753"/>
              <a:gd name="T63" fmla="*/ 2147483647 h 525"/>
              <a:gd name="T64" fmla="*/ 2147483647 w 753"/>
              <a:gd name="T65" fmla="*/ 2147483647 h 525"/>
              <a:gd name="T66" fmla="*/ 2147483647 w 753"/>
              <a:gd name="T67" fmla="*/ 2147483647 h 525"/>
              <a:gd name="T68" fmla="*/ 2147483647 w 753"/>
              <a:gd name="T69" fmla="*/ 2147483647 h 525"/>
              <a:gd name="T70" fmla="*/ 2147483647 w 753"/>
              <a:gd name="T71" fmla="*/ 2147483647 h 525"/>
              <a:gd name="T72" fmla="*/ 2147483647 w 753"/>
              <a:gd name="T73" fmla="*/ 2147483647 h 525"/>
              <a:gd name="T74" fmla="*/ 2147483647 w 753"/>
              <a:gd name="T75" fmla="*/ 2147483647 h 525"/>
              <a:gd name="T76" fmla="*/ 2147483647 w 753"/>
              <a:gd name="T77" fmla="*/ 2147483647 h 525"/>
              <a:gd name="T78" fmla="*/ 2147483647 w 753"/>
              <a:gd name="T79" fmla="*/ 2147483647 h 525"/>
              <a:gd name="T80" fmla="*/ 2147483647 w 753"/>
              <a:gd name="T81" fmla="*/ 2147483647 h 525"/>
              <a:gd name="T82" fmla="*/ 2147483647 w 753"/>
              <a:gd name="T83" fmla="*/ 2147483647 h 525"/>
              <a:gd name="T84" fmla="*/ 2147483647 w 753"/>
              <a:gd name="T85" fmla="*/ 2147483647 h 525"/>
              <a:gd name="T86" fmla="*/ 2147483647 w 753"/>
              <a:gd name="T87" fmla="*/ 2147483647 h 525"/>
              <a:gd name="T88" fmla="*/ 2147483647 w 753"/>
              <a:gd name="T89" fmla="*/ 2147483647 h 525"/>
              <a:gd name="T90" fmla="*/ 2147483647 w 753"/>
              <a:gd name="T91" fmla="*/ 2147483647 h 525"/>
              <a:gd name="T92" fmla="*/ 2147483647 w 753"/>
              <a:gd name="T93" fmla="*/ 2147483647 h 525"/>
              <a:gd name="T94" fmla="*/ 2147483647 w 753"/>
              <a:gd name="T95" fmla="*/ 2147483647 h 525"/>
              <a:gd name="T96" fmla="*/ 2147483647 w 753"/>
              <a:gd name="T97" fmla="*/ 2147483647 h 525"/>
              <a:gd name="T98" fmla="*/ 2147483647 w 753"/>
              <a:gd name="T99" fmla="*/ 2147483647 h 525"/>
              <a:gd name="T100" fmla="*/ 2147483647 w 753"/>
              <a:gd name="T101" fmla="*/ 2147483647 h 525"/>
              <a:gd name="T102" fmla="*/ 2147483647 w 753"/>
              <a:gd name="T103" fmla="*/ 2147483647 h 525"/>
              <a:gd name="T104" fmla="*/ 2147483647 w 753"/>
              <a:gd name="T105" fmla="*/ 2147483647 h 525"/>
              <a:gd name="T106" fmla="*/ 2147483647 w 753"/>
              <a:gd name="T107" fmla="*/ 2147483647 h 525"/>
              <a:gd name="T108" fmla="*/ 2147483647 w 753"/>
              <a:gd name="T109" fmla="*/ 2147483647 h 525"/>
              <a:gd name="T110" fmla="*/ 2147483647 w 753"/>
              <a:gd name="T111" fmla="*/ 2147483647 h 525"/>
              <a:gd name="T112" fmla="*/ 2147483647 w 753"/>
              <a:gd name="T113" fmla="*/ 2147483647 h 525"/>
              <a:gd name="T114" fmla="*/ 2147483647 w 753"/>
              <a:gd name="T115" fmla="*/ 2147483647 h 52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753"/>
              <a:gd name="T175" fmla="*/ 0 h 525"/>
              <a:gd name="T176" fmla="*/ 753 w 753"/>
              <a:gd name="T177" fmla="*/ 525 h 525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753" h="525">
                <a:moveTo>
                  <a:pt x="148" y="525"/>
                </a:moveTo>
                <a:lnTo>
                  <a:pt x="140" y="519"/>
                </a:lnTo>
                <a:lnTo>
                  <a:pt x="135" y="513"/>
                </a:lnTo>
                <a:lnTo>
                  <a:pt x="129" y="504"/>
                </a:lnTo>
                <a:lnTo>
                  <a:pt x="125" y="495"/>
                </a:lnTo>
                <a:lnTo>
                  <a:pt x="117" y="475"/>
                </a:lnTo>
                <a:lnTo>
                  <a:pt x="109" y="457"/>
                </a:lnTo>
                <a:lnTo>
                  <a:pt x="96" y="444"/>
                </a:lnTo>
                <a:lnTo>
                  <a:pt x="84" y="432"/>
                </a:lnTo>
                <a:lnTo>
                  <a:pt x="75" y="422"/>
                </a:lnTo>
                <a:lnTo>
                  <a:pt x="70" y="410"/>
                </a:lnTo>
                <a:lnTo>
                  <a:pt x="66" y="398"/>
                </a:lnTo>
                <a:lnTo>
                  <a:pt x="64" y="384"/>
                </a:lnTo>
                <a:lnTo>
                  <a:pt x="62" y="369"/>
                </a:lnTo>
                <a:lnTo>
                  <a:pt x="62" y="350"/>
                </a:lnTo>
                <a:lnTo>
                  <a:pt x="43" y="332"/>
                </a:lnTo>
                <a:lnTo>
                  <a:pt x="29" y="317"/>
                </a:lnTo>
                <a:lnTo>
                  <a:pt x="18" y="304"/>
                </a:lnTo>
                <a:lnTo>
                  <a:pt x="12" y="289"/>
                </a:lnTo>
                <a:lnTo>
                  <a:pt x="6" y="275"/>
                </a:lnTo>
                <a:lnTo>
                  <a:pt x="4" y="259"/>
                </a:lnTo>
                <a:lnTo>
                  <a:pt x="1" y="238"/>
                </a:lnTo>
                <a:lnTo>
                  <a:pt x="0" y="212"/>
                </a:lnTo>
                <a:lnTo>
                  <a:pt x="21" y="199"/>
                </a:lnTo>
                <a:lnTo>
                  <a:pt x="36" y="188"/>
                </a:lnTo>
                <a:lnTo>
                  <a:pt x="49" y="177"/>
                </a:lnTo>
                <a:lnTo>
                  <a:pt x="58" y="167"/>
                </a:lnTo>
                <a:lnTo>
                  <a:pt x="65" y="155"/>
                </a:lnTo>
                <a:lnTo>
                  <a:pt x="70" y="141"/>
                </a:lnTo>
                <a:lnTo>
                  <a:pt x="75" y="123"/>
                </a:lnTo>
                <a:lnTo>
                  <a:pt x="79" y="101"/>
                </a:lnTo>
                <a:lnTo>
                  <a:pt x="95" y="97"/>
                </a:lnTo>
                <a:lnTo>
                  <a:pt x="110" y="91"/>
                </a:lnTo>
                <a:lnTo>
                  <a:pt x="125" y="85"/>
                </a:lnTo>
                <a:lnTo>
                  <a:pt x="140" y="77"/>
                </a:lnTo>
                <a:lnTo>
                  <a:pt x="169" y="60"/>
                </a:lnTo>
                <a:lnTo>
                  <a:pt x="196" y="43"/>
                </a:lnTo>
                <a:lnTo>
                  <a:pt x="205" y="28"/>
                </a:lnTo>
                <a:lnTo>
                  <a:pt x="213" y="16"/>
                </a:lnTo>
                <a:lnTo>
                  <a:pt x="217" y="12"/>
                </a:lnTo>
                <a:lnTo>
                  <a:pt x="222" y="8"/>
                </a:lnTo>
                <a:lnTo>
                  <a:pt x="226" y="6"/>
                </a:lnTo>
                <a:lnTo>
                  <a:pt x="230" y="3"/>
                </a:lnTo>
                <a:lnTo>
                  <a:pt x="235" y="2"/>
                </a:lnTo>
                <a:lnTo>
                  <a:pt x="239" y="0"/>
                </a:lnTo>
                <a:lnTo>
                  <a:pt x="244" y="2"/>
                </a:lnTo>
                <a:lnTo>
                  <a:pt x="250" y="2"/>
                </a:lnTo>
                <a:lnTo>
                  <a:pt x="263" y="7"/>
                </a:lnTo>
                <a:lnTo>
                  <a:pt x="277" y="15"/>
                </a:lnTo>
                <a:lnTo>
                  <a:pt x="307" y="17"/>
                </a:lnTo>
                <a:lnTo>
                  <a:pt x="333" y="17"/>
                </a:lnTo>
                <a:lnTo>
                  <a:pt x="358" y="16"/>
                </a:lnTo>
                <a:lnTo>
                  <a:pt x="381" y="16"/>
                </a:lnTo>
                <a:lnTo>
                  <a:pt x="390" y="34"/>
                </a:lnTo>
                <a:lnTo>
                  <a:pt x="399" y="51"/>
                </a:lnTo>
                <a:lnTo>
                  <a:pt x="410" y="65"/>
                </a:lnTo>
                <a:lnTo>
                  <a:pt x="419" y="80"/>
                </a:lnTo>
                <a:lnTo>
                  <a:pt x="429" y="93"/>
                </a:lnTo>
                <a:lnTo>
                  <a:pt x="441" y="103"/>
                </a:lnTo>
                <a:lnTo>
                  <a:pt x="451" y="111"/>
                </a:lnTo>
                <a:lnTo>
                  <a:pt x="463" y="117"/>
                </a:lnTo>
                <a:lnTo>
                  <a:pt x="476" y="123"/>
                </a:lnTo>
                <a:lnTo>
                  <a:pt x="489" y="125"/>
                </a:lnTo>
                <a:lnTo>
                  <a:pt x="502" y="125"/>
                </a:lnTo>
                <a:lnTo>
                  <a:pt x="516" y="123"/>
                </a:lnTo>
                <a:lnTo>
                  <a:pt x="531" y="117"/>
                </a:lnTo>
                <a:lnTo>
                  <a:pt x="546" y="110"/>
                </a:lnTo>
                <a:lnTo>
                  <a:pt x="562" y="99"/>
                </a:lnTo>
                <a:lnTo>
                  <a:pt x="579" y="85"/>
                </a:lnTo>
                <a:lnTo>
                  <a:pt x="631" y="85"/>
                </a:lnTo>
                <a:lnTo>
                  <a:pt x="667" y="82"/>
                </a:lnTo>
                <a:lnTo>
                  <a:pt x="700" y="81"/>
                </a:lnTo>
                <a:lnTo>
                  <a:pt x="735" y="81"/>
                </a:lnTo>
                <a:lnTo>
                  <a:pt x="744" y="102"/>
                </a:lnTo>
                <a:lnTo>
                  <a:pt x="751" y="123"/>
                </a:lnTo>
                <a:lnTo>
                  <a:pt x="752" y="133"/>
                </a:lnTo>
                <a:lnTo>
                  <a:pt x="753" y="144"/>
                </a:lnTo>
                <a:lnTo>
                  <a:pt x="753" y="154"/>
                </a:lnTo>
                <a:lnTo>
                  <a:pt x="752" y="167"/>
                </a:lnTo>
                <a:lnTo>
                  <a:pt x="732" y="175"/>
                </a:lnTo>
                <a:lnTo>
                  <a:pt x="719" y="180"/>
                </a:lnTo>
                <a:lnTo>
                  <a:pt x="706" y="184"/>
                </a:lnTo>
                <a:lnTo>
                  <a:pt x="687" y="188"/>
                </a:lnTo>
                <a:lnTo>
                  <a:pt x="676" y="185"/>
                </a:lnTo>
                <a:lnTo>
                  <a:pt x="663" y="183"/>
                </a:lnTo>
                <a:lnTo>
                  <a:pt x="650" y="181"/>
                </a:lnTo>
                <a:lnTo>
                  <a:pt x="637" y="180"/>
                </a:lnTo>
                <a:lnTo>
                  <a:pt x="623" y="180"/>
                </a:lnTo>
                <a:lnTo>
                  <a:pt x="611" y="181"/>
                </a:lnTo>
                <a:lnTo>
                  <a:pt x="598" y="185"/>
                </a:lnTo>
                <a:lnTo>
                  <a:pt x="589" y="189"/>
                </a:lnTo>
                <a:lnTo>
                  <a:pt x="574" y="212"/>
                </a:lnTo>
                <a:lnTo>
                  <a:pt x="559" y="233"/>
                </a:lnTo>
                <a:lnTo>
                  <a:pt x="545" y="251"/>
                </a:lnTo>
                <a:lnTo>
                  <a:pt x="529" y="268"/>
                </a:lnTo>
                <a:lnTo>
                  <a:pt x="512" y="283"/>
                </a:lnTo>
                <a:lnTo>
                  <a:pt x="494" y="296"/>
                </a:lnTo>
                <a:lnTo>
                  <a:pt x="473" y="307"/>
                </a:lnTo>
                <a:lnTo>
                  <a:pt x="450" y="320"/>
                </a:lnTo>
                <a:lnTo>
                  <a:pt x="450" y="326"/>
                </a:lnTo>
                <a:lnTo>
                  <a:pt x="450" y="332"/>
                </a:lnTo>
                <a:lnTo>
                  <a:pt x="442" y="336"/>
                </a:lnTo>
                <a:lnTo>
                  <a:pt x="434" y="343"/>
                </a:lnTo>
                <a:lnTo>
                  <a:pt x="427" y="348"/>
                </a:lnTo>
                <a:lnTo>
                  <a:pt x="421" y="354"/>
                </a:lnTo>
                <a:lnTo>
                  <a:pt x="410" y="367"/>
                </a:lnTo>
                <a:lnTo>
                  <a:pt x="402" y="383"/>
                </a:lnTo>
                <a:lnTo>
                  <a:pt x="388" y="415"/>
                </a:lnTo>
                <a:lnTo>
                  <a:pt x="373" y="449"/>
                </a:lnTo>
                <a:lnTo>
                  <a:pt x="346" y="460"/>
                </a:lnTo>
                <a:lnTo>
                  <a:pt x="319" y="470"/>
                </a:lnTo>
                <a:lnTo>
                  <a:pt x="291" y="480"/>
                </a:lnTo>
                <a:lnTo>
                  <a:pt x="263" y="490"/>
                </a:lnTo>
                <a:lnTo>
                  <a:pt x="235" y="499"/>
                </a:lnTo>
                <a:lnTo>
                  <a:pt x="207" y="508"/>
                </a:lnTo>
                <a:lnTo>
                  <a:pt x="178" y="516"/>
                </a:lnTo>
                <a:lnTo>
                  <a:pt x="148" y="525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41" name="Freeform 6"/>
          <p:cNvSpPr>
            <a:spLocks/>
          </p:cNvSpPr>
          <p:nvPr/>
        </p:nvSpPr>
        <p:spPr bwMode="auto">
          <a:xfrm>
            <a:off x="3932238" y="4557713"/>
            <a:ext cx="374650" cy="360362"/>
          </a:xfrm>
          <a:custGeom>
            <a:avLst/>
            <a:gdLst>
              <a:gd name="T0" fmla="*/ 2147483647 w 941"/>
              <a:gd name="T1" fmla="*/ 2147483647 h 908"/>
              <a:gd name="T2" fmla="*/ 2147483647 w 941"/>
              <a:gd name="T3" fmla="*/ 2147483647 h 908"/>
              <a:gd name="T4" fmla="*/ 2147483647 w 941"/>
              <a:gd name="T5" fmla="*/ 2147483647 h 908"/>
              <a:gd name="T6" fmla="*/ 2147483647 w 941"/>
              <a:gd name="T7" fmla="*/ 2147483647 h 908"/>
              <a:gd name="T8" fmla="*/ 2147483647 w 941"/>
              <a:gd name="T9" fmla="*/ 2147483647 h 908"/>
              <a:gd name="T10" fmla="*/ 2147483647 w 941"/>
              <a:gd name="T11" fmla="*/ 2147483647 h 908"/>
              <a:gd name="T12" fmla="*/ 2147483647 w 941"/>
              <a:gd name="T13" fmla="*/ 2147483647 h 908"/>
              <a:gd name="T14" fmla="*/ 2147483647 w 941"/>
              <a:gd name="T15" fmla="*/ 2147483647 h 908"/>
              <a:gd name="T16" fmla="*/ 2147483647 w 941"/>
              <a:gd name="T17" fmla="*/ 2147483647 h 908"/>
              <a:gd name="T18" fmla="*/ 2147483647 w 941"/>
              <a:gd name="T19" fmla="*/ 2147483647 h 908"/>
              <a:gd name="T20" fmla="*/ 2147483647 w 941"/>
              <a:gd name="T21" fmla="*/ 2147483647 h 908"/>
              <a:gd name="T22" fmla="*/ 2147483647 w 941"/>
              <a:gd name="T23" fmla="*/ 2147483647 h 908"/>
              <a:gd name="T24" fmla="*/ 2147483647 w 941"/>
              <a:gd name="T25" fmla="*/ 2147483647 h 908"/>
              <a:gd name="T26" fmla="*/ 2147483647 w 941"/>
              <a:gd name="T27" fmla="*/ 2147483647 h 908"/>
              <a:gd name="T28" fmla="*/ 2147483647 w 941"/>
              <a:gd name="T29" fmla="*/ 2147483647 h 908"/>
              <a:gd name="T30" fmla="*/ 2147483647 w 941"/>
              <a:gd name="T31" fmla="*/ 2147483647 h 908"/>
              <a:gd name="T32" fmla="*/ 2147483647 w 941"/>
              <a:gd name="T33" fmla="*/ 2147483647 h 908"/>
              <a:gd name="T34" fmla="*/ 2147483647 w 941"/>
              <a:gd name="T35" fmla="*/ 2147483647 h 908"/>
              <a:gd name="T36" fmla="*/ 2147483647 w 941"/>
              <a:gd name="T37" fmla="*/ 2147483647 h 908"/>
              <a:gd name="T38" fmla="*/ 2147483647 w 941"/>
              <a:gd name="T39" fmla="*/ 2147483647 h 908"/>
              <a:gd name="T40" fmla="*/ 2147483647 w 941"/>
              <a:gd name="T41" fmla="*/ 2147483647 h 908"/>
              <a:gd name="T42" fmla="*/ 2147483647 w 941"/>
              <a:gd name="T43" fmla="*/ 2147483647 h 908"/>
              <a:gd name="T44" fmla="*/ 2147483647 w 941"/>
              <a:gd name="T45" fmla="*/ 2147483647 h 908"/>
              <a:gd name="T46" fmla="*/ 2147483647 w 941"/>
              <a:gd name="T47" fmla="*/ 2147483647 h 908"/>
              <a:gd name="T48" fmla="*/ 2147483647 w 941"/>
              <a:gd name="T49" fmla="*/ 2147483647 h 908"/>
              <a:gd name="T50" fmla="*/ 2147483647 w 941"/>
              <a:gd name="T51" fmla="*/ 2147483647 h 908"/>
              <a:gd name="T52" fmla="*/ 2147483647 w 941"/>
              <a:gd name="T53" fmla="*/ 2147483647 h 908"/>
              <a:gd name="T54" fmla="*/ 2147483647 w 941"/>
              <a:gd name="T55" fmla="*/ 2147483647 h 908"/>
              <a:gd name="T56" fmla="*/ 2147483647 w 941"/>
              <a:gd name="T57" fmla="*/ 2147483647 h 908"/>
              <a:gd name="T58" fmla="*/ 2147483647 w 941"/>
              <a:gd name="T59" fmla="*/ 2147483647 h 908"/>
              <a:gd name="T60" fmla="*/ 2147483647 w 941"/>
              <a:gd name="T61" fmla="*/ 2147483647 h 908"/>
              <a:gd name="T62" fmla="*/ 2147483647 w 941"/>
              <a:gd name="T63" fmla="*/ 2147483647 h 908"/>
              <a:gd name="T64" fmla="*/ 2147483647 w 941"/>
              <a:gd name="T65" fmla="*/ 2147483647 h 908"/>
              <a:gd name="T66" fmla="*/ 2147483647 w 941"/>
              <a:gd name="T67" fmla="*/ 2147483647 h 908"/>
              <a:gd name="T68" fmla="*/ 2147483647 w 941"/>
              <a:gd name="T69" fmla="*/ 2147483647 h 908"/>
              <a:gd name="T70" fmla="*/ 2147483647 w 941"/>
              <a:gd name="T71" fmla="*/ 2147483647 h 908"/>
              <a:gd name="T72" fmla="*/ 2147483647 w 941"/>
              <a:gd name="T73" fmla="*/ 2147483647 h 908"/>
              <a:gd name="T74" fmla="*/ 2147483647 w 941"/>
              <a:gd name="T75" fmla="*/ 2147483647 h 908"/>
              <a:gd name="T76" fmla="*/ 2147483647 w 941"/>
              <a:gd name="T77" fmla="*/ 2147483647 h 908"/>
              <a:gd name="T78" fmla="*/ 2147483647 w 941"/>
              <a:gd name="T79" fmla="*/ 2147483647 h 908"/>
              <a:gd name="T80" fmla="*/ 2147483647 w 941"/>
              <a:gd name="T81" fmla="*/ 2147483647 h 908"/>
              <a:gd name="T82" fmla="*/ 2147483647 w 941"/>
              <a:gd name="T83" fmla="*/ 2147483647 h 908"/>
              <a:gd name="T84" fmla="*/ 2147483647 w 941"/>
              <a:gd name="T85" fmla="*/ 2147483647 h 908"/>
              <a:gd name="T86" fmla="*/ 2147483647 w 941"/>
              <a:gd name="T87" fmla="*/ 2147483647 h 908"/>
              <a:gd name="T88" fmla="*/ 2147483647 w 941"/>
              <a:gd name="T89" fmla="*/ 2147483647 h 908"/>
              <a:gd name="T90" fmla="*/ 2147483647 w 941"/>
              <a:gd name="T91" fmla="*/ 2147483647 h 908"/>
              <a:gd name="T92" fmla="*/ 2147483647 w 941"/>
              <a:gd name="T93" fmla="*/ 2147483647 h 908"/>
              <a:gd name="T94" fmla="*/ 2147483647 w 941"/>
              <a:gd name="T95" fmla="*/ 2147483647 h 908"/>
              <a:gd name="T96" fmla="*/ 2147483647 w 941"/>
              <a:gd name="T97" fmla="*/ 2147483647 h 908"/>
              <a:gd name="T98" fmla="*/ 2147483647 w 941"/>
              <a:gd name="T99" fmla="*/ 2147483647 h 908"/>
              <a:gd name="T100" fmla="*/ 2147483647 w 941"/>
              <a:gd name="T101" fmla="*/ 2147483647 h 908"/>
              <a:gd name="T102" fmla="*/ 2147483647 w 941"/>
              <a:gd name="T103" fmla="*/ 2147483647 h 908"/>
              <a:gd name="T104" fmla="*/ 2147483647 w 941"/>
              <a:gd name="T105" fmla="*/ 2147483647 h 908"/>
              <a:gd name="T106" fmla="*/ 2147483647 w 941"/>
              <a:gd name="T107" fmla="*/ 2147483647 h 908"/>
              <a:gd name="T108" fmla="*/ 2147483647 w 941"/>
              <a:gd name="T109" fmla="*/ 2147483647 h 908"/>
              <a:gd name="T110" fmla="*/ 2147483647 w 941"/>
              <a:gd name="T111" fmla="*/ 2147483647 h 908"/>
              <a:gd name="T112" fmla="*/ 2147483647 w 941"/>
              <a:gd name="T113" fmla="*/ 2147483647 h 908"/>
              <a:gd name="T114" fmla="*/ 2147483647 w 941"/>
              <a:gd name="T115" fmla="*/ 2147483647 h 908"/>
              <a:gd name="T116" fmla="*/ 2147483647 w 941"/>
              <a:gd name="T117" fmla="*/ 2147483647 h 908"/>
              <a:gd name="T118" fmla="*/ 2147483647 w 941"/>
              <a:gd name="T119" fmla="*/ 2147483647 h 90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941"/>
              <a:gd name="T181" fmla="*/ 0 h 908"/>
              <a:gd name="T182" fmla="*/ 941 w 941"/>
              <a:gd name="T183" fmla="*/ 908 h 90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941" h="908">
                <a:moveTo>
                  <a:pt x="428" y="908"/>
                </a:moveTo>
                <a:lnTo>
                  <a:pt x="425" y="893"/>
                </a:lnTo>
                <a:lnTo>
                  <a:pt x="420" y="878"/>
                </a:lnTo>
                <a:lnTo>
                  <a:pt x="413" y="865"/>
                </a:lnTo>
                <a:lnTo>
                  <a:pt x="405" y="854"/>
                </a:lnTo>
                <a:lnTo>
                  <a:pt x="387" y="830"/>
                </a:lnTo>
                <a:lnTo>
                  <a:pt x="366" y="805"/>
                </a:lnTo>
                <a:lnTo>
                  <a:pt x="365" y="785"/>
                </a:lnTo>
                <a:lnTo>
                  <a:pt x="365" y="762"/>
                </a:lnTo>
                <a:lnTo>
                  <a:pt x="365" y="742"/>
                </a:lnTo>
                <a:lnTo>
                  <a:pt x="365" y="721"/>
                </a:lnTo>
                <a:lnTo>
                  <a:pt x="356" y="716"/>
                </a:lnTo>
                <a:lnTo>
                  <a:pt x="347" y="712"/>
                </a:lnTo>
                <a:lnTo>
                  <a:pt x="317" y="725"/>
                </a:lnTo>
                <a:lnTo>
                  <a:pt x="288" y="736"/>
                </a:lnTo>
                <a:lnTo>
                  <a:pt x="274" y="742"/>
                </a:lnTo>
                <a:lnTo>
                  <a:pt x="258" y="746"/>
                </a:lnTo>
                <a:lnTo>
                  <a:pt x="242" y="748"/>
                </a:lnTo>
                <a:lnTo>
                  <a:pt x="225" y="751"/>
                </a:lnTo>
                <a:lnTo>
                  <a:pt x="201" y="735"/>
                </a:lnTo>
                <a:lnTo>
                  <a:pt x="180" y="720"/>
                </a:lnTo>
                <a:lnTo>
                  <a:pt x="148" y="691"/>
                </a:lnTo>
                <a:lnTo>
                  <a:pt x="93" y="640"/>
                </a:lnTo>
                <a:lnTo>
                  <a:pt x="84" y="609"/>
                </a:lnTo>
                <a:lnTo>
                  <a:pt x="75" y="578"/>
                </a:lnTo>
                <a:lnTo>
                  <a:pt x="66" y="548"/>
                </a:lnTo>
                <a:lnTo>
                  <a:pt x="57" y="518"/>
                </a:lnTo>
                <a:lnTo>
                  <a:pt x="37" y="506"/>
                </a:lnTo>
                <a:lnTo>
                  <a:pt x="23" y="496"/>
                </a:lnTo>
                <a:lnTo>
                  <a:pt x="18" y="491"/>
                </a:lnTo>
                <a:lnTo>
                  <a:pt x="14" y="485"/>
                </a:lnTo>
                <a:lnTo>
                  <a:pt x="10" y="480"/>
                </a:lnTo>
                <a:lnTo>
                  <a:pt x="7" y="475"/>
                </a:lnTo>
                <a:lnTo>
                  <a:pt x="3" y="462"/>
                </a:lnTo>
                <a:lnTo>
                  <a:pt x="1" y="448"/>
                </a:lnTo>
                <a:lnTo>
                  <a:pt x="1" y="429"/>
                </a:lnTo>
                <a:lnTo>
                  <a:pt x="0" y="407"/>
                </a:lnTo>
                <a:lnTo>
                  <a:pt x="15" y="405"/>
                </a:lnTo>
                <a:lnTo>
                  <a:pt x="32" y="402"/>
                </a:lnTo>
                <a:lnTo>
                  <a:pt x="32" y="379"/>
                </a:lnTo>
                <a:lnTo>
                  <a:pt x="33" y="354"/>
                </a:lnTo>
                <a:lnTo>
                  <a:pt x="35" y="329"/>
                </a:lnTo>
                <a:lnTo>
                  <a:pt x="37" y="306"/>
                </a:lnTo>
                <a:lnTo>
                  <a:pt x="41" y="282"/>
                </a:lnTo>
                <a:lnTo>
                  <a:pt x="46" y="259"/>
                </a:lnTo>
                <a:lnTo>
                  <a:pt x="54" y="237"/>
                </a:lnTo>
                <a:lnTo>
                  <a:pt x="62" y="216"/>
                </a:lnTo>
                <a:lnTo>
                  <a:pt x="83" y="215"/>
                </a:lnTo>
                <a:lnTo>
                  <a:pt x="100" y="215"/>
                </a:lnTo>
                <a:lnTo>
                  <a:pt x="108" y="215"/>
                </a:lnTo>
                <a:lnTo>
                  <a:pt x="115" y="217"/>
                </a:lnTo>
                <a:lnTo>
                  <a:pt x="124" y="220"/>
                </a:lnTo>
                <a:lnTo>
                  <a:pt x="134" y="225"/>
                </a:lnTo>
                <a:lnTo>
                  <a:pt x="152" y="223"/>
                </a:lnTo>
                <a:lnTo>
                  <a:pt x="169" y="223"/>
                </a:lnTo>
                <a:lnTo>
                  <a:pt x="186" y="223"/>
                </a:lnTo>
                <a:lnTo>
                  <a:pt x="204" y="223"/>
                </a:lnTo>
                <a:lnTo>
                  <a:pt x="236" y="224"/>
                </a:lnTo>
                <a:lnTo>
                  <a:pt x="269" y="223"/>
                </a:lnTo>
                <a:lnTo>
                  <a:pt x="284" y="223"/>
                </a:lnTo>
                <a:lnTo>
                  <a:pt x="299" y="220"/>
                </a:lnTo>
                <a:lnTo>
                  <a:pt x="313" y="216"/>
                </a:lnTo>
                <a:lnTo>
                  <a:pt x="326" y="211"/>
                </a:lnTo>
                <a:lnTo>
                  <a:pt x="338" y="204"/>
                </a:lnTo>
                <a:lnTo>
                  <a:pt x="350" y="195"/>
                </a:lnTo>
                <a:lnTo>
                  <a:pt x="360" y="184"/>
                </a:lnTo>
                <a:lnTo>
                  <a:pt x="369" y="169"/>
                </a:lnTo>
                <a:lnTo>
                  <a:pt x="378" y="165"/>
                </a:lnTo>
                <a:lnTo>
                  <a:pt x="387" y="161"/>
                </a:lnTo>
                <a:lnTo>
                  <a:pt x="396" y="156"/>
                </a:lnTo>
                <a:lnTo>
                  <a:pt x="404" y="151"/>
                </a:lnTo>
                <a:lnTo>
                  <a:pt x="418" y="139"/>
                </a:lnTo>
                <a:lnTo>
                  <a:pt x="430" y="126"/>
                </a:lnTo>
                <a:lnTo>
                  <a:pt x="443" y="113"/>
                </a:lnTo>
                <a:lnTo>
                  <a:pt x="456" y="102"/>
                </a:lnTo>
                <a:lnTo>
                  <a:pt x="469" y="90"/>
                </a:lnTo>
                <a:lnTo>
                  <a:pt x="486" y="81"/>
                </a:lnTo>
                <a:lnTo>
                  <a:pt x="489" y="94"/>
                </a:lnTo>
                <a:lnTo>
                  <a:pt x="494" y="108"/>
                </a:lnTo>
                <a:lnTo>
                  <a:pt x="524" y="111"/>
                </a:lnTo>
                <a:lnTo>
                  <a:pt x="552" y="113"/>
                </a:lnTo>
                <a:lnTo>
                  <a:pt x="565" y="115"/>
                </a:lnTo>
                <a:lnTo>
                  <a:pt x="577" y="115"/>
                </a:lnTo>
                <a:lnTo>
                  <a:pt x="589" y="115"/>
                </a:lnTo>
                <a:lnTo>
                  <a:pt x="599" y="113"/>
                </a:lnTo>
                <a:lnTo>
                  <a:pt x="608" y="111"/>
                </a:lnTo>
                <a:lnTo>
                  <a:pt x="615" y="105"/>
                </a:lnTo>
                <a:lnTo>
                  <a:pt x="619" y="103"/>
                </a:lnTo>
                <a:lnTo>
                  <a:pt x="621" y="100"/>
                </a:lnTo>
                <a:lnTo>
                  <a:pt x="623" y="96"/>
                </a:lnTo>
                <a:lnTo>
                  <a:pt x="625" y="92"/>
                </a:lnTo>
                <a:lnTo>
                  <a:pt x="627" y="82"/>
                </a:lnTo>
                <a:lnTo>
                  <a:pt x="627" y="69"/>
                </a:lnTo>
                <a:lnTo>
                  <a:pt x="624" y="53"/>
                </a:lnTo>
                <a:lnTo>
                  <a:pt x="619" y="35"/>
                </a:lnTo>
                <a:lnTo>
                  <a:pt x="642" y="22"/>
                </a:lnTo>
                <a:lnTo>
                  <a:pt x="666" y="11"/>
                </a:lnTo>
                <a:lnTo>
                  <a:pt x="677" y="7"/>
                </a:lnTo>
                <a:lnTo>
                  <a:pt x="689" y="3"/>
                </a:lnTo>
                <a:lnTo>
                  <a:pt x="702" y="1"/>
                </a:lnTo>
                <a:lnTo>
                  <a:pt x="716" y="0"/>
                </a:lnTo>
                <a:lnTo>
                  <a:pt x="723" y="9"/>
                </a:lnTo>
                <a:lnTo>
                  <a:pt x="729" y="17"/>
                </a:lnTo>
                <a:lnTo>
                  <a:pt x="736" y="22"/>
                </a:lnTo>
                <a:lnTo>
                  <a:pt x="742" y="27"/>
                </a:lnTo>
                <a:lnTo>
                  <a:pt x="757" y="34"/>
                </a:lnTo>
                <a:lnTo>
                  <a:pt x="772" y="38"/>
                </a:lnTo>
                <a:lnTo>
                  <a:pt x="788" y="42"/>
                </a:lnTo>
                <a:lnTo>
                  <a:pt x="802" y="47"/>
                </a:lnTo>
                <a:lnTo>
                  <a:pt x="810" y="51"/>
                </a:lnTo>
                <a:lnTo>
                  <a:pt x="817" y="56"/>
                </a:lnTo>
                <a:lnTo>
                  <a:pt x="823" y="61"/>
                </a:lnTo>
                <a:lnTo>
                  <a:pt x="830" y="69"/>
                </a:lnTo>
                <a:lnTo>
                  <a:pt x="844" y="69"/>
                </a:lnTo>
                <a:lnTo>
                  <a:pt x="860" y="69"/>
                </a:lnTo>
                <a:lnTo>
                  <a:pt x="874" y="69"/>
                </a:lnTo>
                <a:lnTo>
                  <a:pt x="889" y="69"/>
                </a:lnTo>
                <a:lnTo>
                  <a:pt x="888" y="86"/>
                </a:lnTo>
                <a:lnTo>
                  <a:pt x="884" y="102"/>
                </a:lnTo>
                <a:lnTo>
                  <a:pt x="880" y="116"/>
                </a:lnTo>
                <a:lnTo>
                  <a:pt x="875" y="128"/>
                </a:lnTo>
                <a:lnTo>
                  <a:pt x="867" y="139"/>
                </a:lnTo>
                <a:lnTo>
                  <a:pt x="860" y="150"/>
                </a:lnTo>
                <a:lnTo>
                  <a:pt x="850" y="158"/>
                </a:lnTo>
                <a:lnTo>
                  <a:pt x="841" y="165"/>
                </a:lnTo>
                <a:lnTo>
                  <a:pt x="830" y="172"/>
                </a:lnTo>
                <a:lnTo>
                  <a:pt x="818" y="177"/>
                </a:lnTo>
                <a:lnTo>
                  <a:pt x="805" y="181"/>
                </a:lnTo>
                <a:lnTo>
                  <a:pt x="792" y="184"/>
                </a:lnTo>
                <a:lnTo>
                  <a:pt x="778" y="186"/>
                </a:lnTo>
                <a:lnTo>
                  <a:pt x="762" y="187"/>
                </a:lnTo>
                <a:lnTo>
                  <a:pt x="746" y="187"/>
                </a:lnTo>
                <a:lnTo>
                  <a:pt x="729" y="186"/>
                </a:lnTo>
                <a:lnTo>
                  <a:pt x="723" y="190"/>
                </a:lnTo>
                <a:lnTo>
                  <a:pt x="716" y="195"/>
                </a:lnTo>
                <a:lnTo>
                  <a:pt x="710" y="200"/>
                </a:lnTo>
                <a:lnTo>
                  <a:pt x="703" y="207"/>
                </a:lnTo>
                <a:lnTo>
                  <a:pt x="698" y="213"/>
                </a:lnTo>
                <a:lnTo>
                  <a:pt x="693" y="221"/>
                </a:lnTo>
                <a:lnTo>
                  <a:pt x="688" y="229"/>
                </a:lnTo>
                <a:lnTo>
                  <a:pt x="684" y="238"/>
                </a:lnTo>
                <a:lnTo>
                  <a:pt x="680" y="246"/>
                </a:lnTo>
                <a:lnTo>
                  <a:pt x="677" y="255"/>
                </a:lnTo>
                <a:lnTo>
                  <a:pt x="675" y="264"/>
                </a:lnTo>
                <a:lnTo>
                  <a:pt x="673" y="272"/>
                </a:lnTo>
                <a:lnTo>
                  <a:pt x="672" y="281"/>
                </a:lnTo>
                <a:lnTo>
                  <a:pt x="672" y="290"/>
                </a:lnTo>
                <a:lnTo>
                  <a:pt x="673" y="298"/>
                </a:lnTo>
                <a:lnTo>
                  <a:pt x="676" y="306"/>
                </a:lnTo>
                <a:lnTo>
                  <a:pt x="693" y="320"/>
                </a:lnTo>
                <a:lnTo>
                  <a:pt x="703" y="329"/>
                </a:lnTo>
                <a:lnTo>
                  <a:pt x="712" y="341"/>
                </a:lnTo>
                <a:lnTo>
                  <a:pt x="723" y="359"/>
                </a:lnTo>
                <a:lnTo>
                  <a:pt x="737" y="359"/>
                </a:lnTo>
                <a:lnTo>
                  <a:pt x="753" y="360"/>
                </a:lnTo>
                <a:lnTo>
                  <a:pt x="768" y="360"/>
                </a:lnTo>
                <a:lnTo>
                  <a:pt x="784" y="362"/>
                </a:lnTo>
                <a:lnTo>
                  <a:pt x="793" y="350"/>
                </a:lnTo>
                <a:lnTo>
                  <a:pt x="801" y="342"/>
                </a:lnTo>
                <a:lnTo>
                  <a:pt x="809" y="336"/>
                </a:lnTo>
                <a:lnTo>
                  <a:pt x="815" y="332"/>
                </a:lnTo>
                <a:lnTo>
                  <a:pt x="823" y="329"/>
                </a:lnTo>
                <a:lnTo>
                  <a:pt x="832" y="328"/>
                </a:lnTo>
                <a:lnTo>
                  <a:pt x="844" y="327"/>
                </a:lnTo>
                <a:lnTo>
                  <a:pt x="860" y="325"/>
                </a:lnTo>
                <a:lnTo>
                  <a:pt x="856" y="338"/>
                </a:lnTo>
                <a:lnTo>
                  <a:pt x="852" y="351"/>
                </a:lnTo>
                <a:lnTo>
                  <a:pt x="848" y="363"/>
                </a:lnTo>
                <a:lnTo>
                  <a:pt x="843" y="375"/>
                </a:lnTo>
                <a:lnTo>
                  <a:pt x="837" y="388"/>
                </a:lnTo>
                <a:lnTo>
                  <a:pt x="833" y="400"/>
                </a:lnTo>
                <a:lnTo>
                  <a:pt x="830" y="413"/>
                </a:lnTo>
                <a:lnTo>
                  <a:pt x="826" y="427"/>
                </a:lnTo>
                <a:lnTo>
                  <a:pt x="832" y="427"/>
                </a:lnTo>
                <a:lnTo>
                  <a:pt x="840" y="427"/>
                </a:lnTo>
                <a:lnTo>
                  <a:pt x="850" y="450"/>
                </a:lnTo>
                <a:lnTo>
                  <a:pt x="863" y="475"/>
                </a:lnTo>
                <a:lnTo>
                  <a:pt x="879" y="501"/>
                </a:lnTo>
                <a:lnTo>
                  <a:pt x="896" y="528"/>
                </a:lnTo>
                <a:lnTo>
                  <a:pt x="912" y="554"/>
                </a:lnTo>
                <a:lnTo>
                  <a:pt x="925" y="580"/>
                </a:lnTo>
                <a:lnTo>
                  <a:pt x="931" y="592"/>
                </a:lnTo>
                <a:lnTo>
                  <a:pt x="935" y="604"/>
                </a:lnTo>
                <a:lnTo>
                  <a:pt x="939" y="615"/>
                </a:lnTo>
                <a:lnTo>
                  <a:pt x="941" y="627"/>
                </a:lnTo>
                <a:lnTo>
                  <a:pt x="922" y="632"/>
                </a:lnTo>
                <a:lnTo>
                  <a:pt x="905" y="638"/>
                </a:lnTo>
                <a:lnTo>
                  <a:pt x="889" y="644"/>
                </a:lnTo>
                <a:lnTo>
                  <a:pt x="876" y="651"/>
                </a:lnTo>
                <a:lnTo>
                  <a:pt x="865" y="658"/>
                </a:lnTo>
                <a:lnTo>
                  <a:pt x="853" y="669"/>
                </a:lnTo>
                <a:lnTo>
                  <a:pt x="841" y="682"/>
                </a:lnTo>
                <a:lnTo>
                  <a:pt x="828" y="696"/>
                </a:lnTo>
                <a:lnTo>
                  <a:pt x="831" y="704"/>
                </a:lnTo>
                <a:lnTo>
                  <a:pt x="833" y="710"/>
                </a:lnTo>
                <a:lnTo>
                  <a:pt x="836" y="716"/>
                </a:lnTo>
                <a:lnTo>
                  <a:pt x="840" y="720"/>
                </a:lnTo>
                <a:lnTo>
                  <a:pt x="845" y="723"/>
                </a:lnTo>
                <a:lnTo>
                  <a:pt x="850" y="726"/>
                </a:lnTo>
                <a:lnTo>
                  <a:pt x="857" y="727"/>
                </a:lnTo>
                <a:lnTo>
                  <a:pt x="865" y="729"/>
                </a:lnTo>
                <a:lnTo>
                  <a:pt x="865" y="735"/>
                </a:lnTo>
                <a:lnTo>
                  <a:pt x="865" y="743"/>
                </a:lnTo>
                <a:lnTo>
                  <a:pt x="871" y="743"/>
                </a:lnTo>
                <a:lnTo>
                  <a:pt x="878" y="743"/>
                </a:lnTo>
                <a:lnTo>
                  <a:pt x="878" y="755"/>
                </a:lnTo>
                <a:lnTo>
                  <a:pt x="878" y="768"/>
                </a:lnTo>
                <a:lnTo>
                  <a:pt x="871" y="768"/>
                </a:lnTo>
                <a:lnTo>
                  <a:pt x="865" y="768"/>
                </a:lnTo>
                <a:lnTo>
                  <a:pt x="862" y="779"/>
                </a:lnTo>
                <a:lnTo>
                  <a:pt x="858" y="790"/>
                </a:lnTo>
                <a:lnTo>
                  <a:pt x="854" y="800"/>
                </a:lnTo>
                <a:lnTo>
                  <a:pt x="849" y="808"/>
                </a:lnTo>
                <a:lnTo>
                  <a:pt x="844" y="816"/>
                </a:lnTo>
                <a:lnTo>
                  <a:pt x="837" y="824"/>
                </a:lnTo>
                <a:lnTo>
                  <a:pt x="832" y="829"/>
                </a:lnTo>
                <a:lnTo>
                  <a:pt x="824" y="834"/>
                </a:lnTo>
                <a:lnTo>
                  <a:pt x="818" y="839"/>
                </a:lnTo>
                <a:lnTo>
                  <a:pt x="810" y="843"/>
                </a:lnTo>
                <a:lnTo>
                  <a:pt x="801" y="847"/>
                </a:lnTo>
                <a:lnTo>
                  <a:pt x="793" y="850"/>
                </a:lnTo>
                <a:lnTo>
                  <a:pt x="775" y="854"/>
                </a:lnTo>
                <a:lnTo>
                  <a:pt x="755" y="855"/>
                </a:lnTo>
                <a:lnTo>
                  <a:pt x="736" y="855"/>
                </a:lnTo>
                <a:lnTo>
                  <a:pt x="715" y="854"/>
                </a:lnTo>
                <a:lnTo>
                  <a:pt x="694" y="852"/>
                </a:lnTo>
                <a:lnTo>
                  <a:pt x="672" y="850"/>
                </a:lnTo>
                <a:lnTo>
                  <a:pt x="631" y="846"/>
                </a:lnTo>
                <a:lnTo>
                  <a:pt x="592" y="842"/>
                </a:lnTo>
                <a:lnTo>
                  <a:pt x="584" y="854"/>
                </a:lnTo>
                <a:lnTo>
                  <a:pt x="576" y="864"/>
                </a:lnTo>
                <a:lnTo>
                  <a:pt x="567" y="873"/>
                </a:lnTo>
                <a:lnTo>
                  <a:pt x="559" y="880"/>
                </a:lnTo>
                <a:lnTo>
                  <a:pt x="550" y="886"/>
                </a:lnTo>
                <a:lnTo>
                  <a:pt x="542" y="891"/>
                </a:lnTo>
                <a:lnTo>
                  <a:pt x="533" y="895"/>
                </a:lnTo>
                <a:lnTo>
                  <a:pt x="523" y="898"/>
                </a:lnTo>
                <a:lnTo>
                  <a:pt x="503" y="903"/>
                </a:lnTo>
                <a:lnTo>
                  <a:pt x="480" y="906"/>
                </a:lnTo>
                <a:lnTo>
                  <a:pt x="455" y="907"/>
                </a:lnTo>
                <a:lnTo>
                  <a:pt x="428" y="908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42" name="Freeform 7"/>
          <p:cNvSpPr>
            <a:spLocks/>
          </p:cNvSpPr>
          <p:nvPr/>
        </p:nvSpPr>
        <p:spPr bwMode="auto">
          <a:xfrm>
            <a:off x="8397875" y="4806950"/>
            <a:ext cx="38100" cy="101600"/>
          </a:xfrm>
          <a:custGeom>
            <a:avLst/>
            <a:gdLst>
              <a:gd name="T0" fmla="*/ 0 w 98"/>
              <a:gd name="T1" fmla="*/ 2147483647 h 256"/>
              <a:gd name="T2" fmla="*/ 2147483647 w 98"/>
              <a:gd name="T3" fmla="*/ 2147483647 h 256"/>
              <a:gd name="T4" fmla="*/ 2147483647 w 98"/>
              <a:gd name="T5" fmla="*/ 2147483647 h 256"/>
              <a:gd name="T6" fmla="*/ 2147483647 w 98"/>
              <a:gd name="T7" fmla="*/ 2147483647 h 256"/>
              <a:gd name="T8" fmla="*/ 2147483647 w 98"/>
              <a:gd name="T9" fmla="*/ 2147483647 h 256"/>
              <a:gd name="T10" fmla="*/ 2147483647 w 98"/>
              <a:gd name="T11" fmla="*/ 2147483647 h 256"/>
              <a:gd name="T12" fmla="*/ 2147483647 w 98"/>
              <a:gd name="T13" fmla="*/ 2147483647 h 256"/>
              <a:gd name="T14" fmla="*/ 2147483647 w 98"/>
              <a:gd name="T15" fmla="*/ 2147483647 h 256"/>
              <a:gd name="T16" fmla="*/ 2147483647 w 98"/>
              <a:gd name="T17" fmla="*/ 2147483647 h 256"/>
              <a:gd name="T18" fmla="*/ 2147483647 w 98"/>
              <a:gd name="T19" fmla="*/ 2147483647 h 256"/>
              <a:gd name="T20" fmla="*/ 2147483647 w 98"/>
              <a:gd name="T21" fmla="*/ 2147483647 h 256"/>
              <a:gd name="T22" fmla="*/ 2147483647 w 98"/>
              <a:gd name="T23" fmla="*/ 2147483647 h 256"/>
              <a:gd name="T24" fmla="*/ 2147483647 w 98"/>
              <a:gd name="T25" fmla="*/ 2147483647 h 256"/>
              <a:gd name="T26" fmla="*/ 2147483647 w 98"/>
              <a:gd name="T27" fmla="*/ 2147483647 h 256"/>
              <a:gd name="T28" fmla="*/ 2147483647 w 98"/>
              <a:gd name="T29" fmla="*/ 2147483647 h 256"/>
              <a:gd name="T30" fmla="*/ 2147483647 w 98"/>
              <a:gd name="T31" fmla="*/ 2147483647 h 256"/>
              <a:gd name="T32" fmla="*/ 2147483647 w 98"/>
              <a:gd name="T33" fmla="*/ 0 h 256"/>
              <a:gd name="T34" fmla="*/ 2147483647 w 98"/>
              <a:gd name="T35" fmla="*/ 2147483647 h 256"/>
              <a:gd name="T36" fmla="*/ 2147483647 w 98"/>
              <a:gd name="T37" fmla="*/ 2147483647 h 256"/>
              <a:gd name="T38" fmla="*/ 2147483647 w 98"/>
              <a:gd name="T39" fmla="*/ 2147483647 h 256"/>
              <a:gd name="T40" fmla="*/ 2147483647 w 98"/>
              <a:gd name="T41" fmla="*/ 2147483647 h 256"/>
              <a:gd name="T42" fmla="*/ 2147483647 w 98"/>
              <a:gd name="T43" fmla="*/ 2147483647 h 256"/>
              <a:gd name="T44" fmla="*/ 2147483647 w 98"/>
              <a:gd name="T45" fmla="*/ 2147483647 h 256"/>
              <a:gd name="T46" fmla="*/ 2147483647 w 98"/>
              <a:gd name="T47" fmla="*/ 2147483647 h 256"/>
              <a:gd name="T48" fmla="*/ 2147483647 w 98"/>
              <a:gd name="T49" fmla="*/ 2147483647 h 256"/>
              <a:gd name="T50" fmla="*/ 2147483647 w 98"/>
              <a:gd name="T51" fmla="*/ 2147483647 h 256"/>
              <a:gd name="T52" fmla="*/ 2147483647 w 98"/>
              <a:gd name="T53" fmla="*/ 2147483647 h 256"/>
              <a:gd name="T54" fmla="*/ 2147483647 w 98"/>
              <a:gd name="T55" fmla="*/ 2147483647 h 256"/>
              <a:gd name="T56" fmla="*/ 0 w 98"/>
              <a:gd name="T57" fmla="*/ 2147483647 h 25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98"/>
              <a:gd name="T88" fmla="*/ 0 h 256"/>
              <a:gd name="T89" fmla="*/ 98 w 98"/>
              <a:gd name="T90" fmla="*/ 256 h 25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98" h="256">
                <a:moveTo>
                  <a:pt x="0" y="256"/>
                </a:moveTo>
                <a:lnTo>
                  <a:pt x="3" y="242"/>
                </a:lnTo>
                <a:lnTo>
                  <a:pt x="6" y="230"/>
                </a:lnTo>
                <a:lnTo>
                  <a:pt x="8" y="216"/>
                </a:lnTo>
                <a:lnTo>
                  <a:pt x="11" y="198"/>
                </a:lnTo>
                <a:lnTo>
                  <a:pt x="13" y="172"/>
                </a:lnTo>
                <a:lnTo>
                  <a:pt x="17" y="137"/>
                </a:lnTo>
                <a:lnTo>
                  <a:pt x="21" y="89"/>
                </a:lnTo>
                <a:lnTo>
                  <a:pt x="28" y="25"/>
                </a:lnTo>
                <a:lnTo>
                  <a:pt x="38" y="25"/>
                </a:lnTo>
                <a:lnTo>
                  <a:pt x="47" y="24"/>
                </a:lnTo>
                <a:lnTo>
                  <a:pt x="56" y="22"/>
                </a:lnTo>
                <a:lnTo>
                  <a:pt x="65" y="18"/>
                </a:lnTo>
                <a:lnTo>
                  <a:pt x="74" y="16"/>
                </a:lnTo>
                <a:lnTo>
                  <a:pt x="82" y="12"/>
                </a:lnTo>
                <a:lnTo>
                  <a:pt x="90" y="7"/>
                </a:lnTo>
                <a:lnTo>
                  <a:pt x="98" y="0"/>
                </a:lnTo>
                <a:lnTo>
                  <a:pt x="97" y="12"/>
                </a:lnTo>
                <a:lnTo>
                  <a:pt x="94" y="22"/>
                </a:lnTo>
                <a:lnTo>
                  <a:pt x="89" y="31"/>
                </a:lnTo>
                <a:lnTo>
                  <a:pt x="84" y="42"/>
                </a:lnTo>
                <a:lnTo>
                  <a:pt x="69" y="60"/>
                </a:lnTo>
                <a:lnTo>
                  <a:pt x="54" y="77"/>
                </a:lnTo>
                <a:lnTo>
                  <a:pt x="46" y="120"/>
                </a:lnTo>
                <a:lnTo>
                  <a:pt x="37" y="164"/>
                </a:lnTo>
                <a:lnTo>
                  <a:pt x="29" y="207"/>
                </a:lnTo>
                <a:lnTo>
                  <a:pt x="21" y="250"/>
                </a:lnTo>
                <a:lnTo>
                  <a:pt x="9" y="253"/>
                </a:lnTo>
                <a:lnTo>
                  <a:pt x="0" y="256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43" name="Freeform 8"/>
          <p:cNvSpPr>
            <a:spLocks/>
          </p:cNvSpPr>
          <p:nvPr/>
        </p:nvSpPr>
        <p:spPr bwMode="auto">
          <a:xfrm>
            <a:off x="5908675" y="4724400"/>
            <a:ext cx="230188" cy="166688"/>
          </a:xfrm>
          <a:custGeom>
            <a:avLst/>
            <a:gdLst>
              <a:gd name="T0" fmla="*/ 2147483647 w 580"/>
              <a:gd name="T1" fmla="*/ 2147483647 h 416"/>
              <a:gd name="T2" fmla="*/ 2147483647 w 580"/>
              <a:gd name="T3" fmla="*/ 2147483647 h 416"/>
              <a:gd name="T4" fmla="*/ 2147483647 w 580"/>
              <a:gd name="T5" fmla="*/ 2147483647 h 416"/>
              <a:gd name="T6" fmla="*/ 2147483647 w 580"/>
              <a:gd name="T7" fmla="*/ 2147483647 h 416"/>
              <a:gd name="T8" fmla="*/ 2147483647 w 580"/>
              <a:gd name="T9" fmla="*/ 2147483647 h 416"/>
              <a:gd name="T10" fmla="*/ 2147483647 w 580"/>
              <a:gd name="T11" fmla="*/ 2147483647 h 416"/>
              <a:gd name="T12" fmla="*/ 2147483647 w 580"/>
              <a:gd name="T13" fmla="*/ 2147483647 h 416"/>
              <a:gd name="T14" fmla="*/ 2147483647 w 580"/>
              <a:gd name="T15" fmla="*/ 2147483647 h 416"/>
              <a:gd name="T16" fmla="*/ 0 w 580"/>
              <a:gd name="T17" fmla="*/ 2147483647 h 416"/>
              <a:gd name="T18" fmla="*/ 2147483647 w 580"/>
              <a:gd name="T19" fmla="*/ 2147483647 h 416"/>
              <a:gd name="T20" fmla="*/ 2147483647 w 580"/>
              <a:gd name="T21" fmla="*/ 2147483647 h 416"/>
              <a:gd name="T22" fmla="*/ 2147483647 w 580"/>
              <a:gd name="T23" fmla="*/ 2147483647 h 416"/>
              <a:gd name="T24" fmla="*/ 2147483647 w 580"/>
              <a:gd name="T25" fmla="*/ 2147483647 h 416"/>
              <a:gd name="T26" fmla="*/ 2147483647 w 580"/>
              <a:gd name="T27" fmla="*/ 2147483647 h 416"/>
              <a:gd name="T28" fmla="*/ 2147483647 w 580"/>
              <a:gd name="T29" fmla="*/ 2147483647 h 416"/>
              <a:gd name="T30" fmla="*/ 2147483647 w 580"/>
              <a:gd name="T31" fmla="*/ 2147483647 h 416"/>
              <a:gd name="T32" fmla="*/ 2147483647 w 580"/>
              <a:gd name="T33" fmla="*/ 2147483647 h 416"/>
              <a:gd name="T34" fmla="*/ 2147483647 w 580"/>
              <a:gd name="T35" fmla="*/ 2147483647 h 416"/>
              <a:gd name="T36" fmla="*/ 2147483647 w 580"/>
              <a:gd name="T37" fmla="*/ 2147483647 h 416"/>
              <a:gd name="T38" fmla="*/ 2147483647 w 580"/>
              <a:gd name="T39" fmla="*/ 2147483647 h 416"/>
              <a:gd name="T40" fmla="*/ 2147483647 w 580"/>
              <a:gd name="T41" fmla="*/ 2147483647 h 416"/>
              <a:gd name="T42" fmla="*/ 2147483647 w 580"/>
              <a:gd name="T43" fmla="*/ 2147483647 h 416"/>
              <a:gd name="T44" fmla="*/ 2147483647 w 580"/>
              <a:gd name="T45" fmla="*/ 2147483647 h 416"/>
              <a:gd name="T46" fmla="*/ 2147483647 w 580"/>
              <a:gd name="T47" fmla="*/ 2147483647 h 416"/>
              <a:gd name="T48" fmla="*/ 2147483647 w 580"/>
              <a:gd name="T49" fmla="*/ 2147483647 h 416"/>
              <a:gd name="T50" fmla="*/ 2147483647 w 580"/>
              <a:gd name="T51" fmla="*/ 2147483647 h 416"/>
              <a:gd name="T52" fmla="*/ 2147483647 w 580"/>
              <a:gd name="T53" fmla="*/ 2147483647 h 416"/>
              <a:gd name="T54" fmla="*/ 2147483647 w 580"/>
              <a:gd name="T55" fmla="*/ 2147483647 h 416"/>
              <a:gd name="T56" fmla="*/ 2147483647 w 580"/>
              <a:gd name="T57" fmla="*/ 2147483647 h 416"/>
              <a:gd name="T58" fmla="*/ 2147483647 w 580"/>
              <a:gd name="T59" fmla="*/ 2147483647 h 416"/>
              <a:gd name="T60" fmla="*/ 2147483647 w 580"/>
              <a:gd name="T61" fmla="*/ 2147483647 h 416"/>
              <a:gd name="T62" fmla="*/ 2147483647 w 580"/>
              <a:gd name="T63" fmla="*/ 2147483647 h 416"/>
              <a:gd name="T64" fmla="*/ 2147483647 w 580"/>
              <a:gd name="T65" fmla="*/ 2147483647 h 416"/>
              <a:gd name="T66" fmla="*/ 2147483647 w 580"/>
              <a:gd name="T67" fmla="*/ 2147483647 h 416"/>
              <a:gd name="T68" fmla="*/ 2147483647 w 580"/>
              <a:gd name="T69" fmla="*/ 2147483647 h 416"/>
              <a:gd name="T70" fmla="*/ 2147483647 w 580"/>
              <a:gd name="T71" fmla="*/ 2147483647 h 416"/>
              <a:gd name="T72" fmla="*/ 2147483647 w 580"/>
              <a:gd name="T73" fmla="*/ 2147483647 h 416"/>
              <a:gd name="T74" fmla="*/ 2147483647 w 580"/>
              <a:gd name="T75" fmla="*/ 2147483647 h 416"/>
              <a:gd name="T76" fmla="*/ 2147483647 w 580"/>
              <a:gd name="T77" fmla="*/ 2147483647 h 416"/>
              <a:gd name="T78" fmla="*/ 2147483647 w 580"/>
              <a:gd name="T79" fmla="*/ 2147483647 h 416"/>
              <a:gd name="T80" fmla="*/ 2147483647 w 580"/>
              <a:gd name="T81" fmla="*/ 2147483647 h 416"/>
              <a:gd name="T82" fmla="*/ 2147483647 w 580"/>
              <a:gd name="T83" fmla="*/ 2147483647 h 416"/>
              <a:gd name="T84" fmla="*/ 2147483647 w 580"/>
              <a:gd name="T85" fmla="*/ 2147483647 h 416"/>
              <a:gd name="T86" fmla="*/ 2147483647 w 580"/>
              <a:gd name="T87" fmla="*/ 2147483647 h 416"/>
              <a:gd name="T88" fmla="*/ 2147483647 w 580"/>
              <a:gd name="T89" fmla="*/ 2147483647 h 416"/>
              <a:gd name="T90" fmla="*/ 2147483647 w 580"/>
              <a:gd name="T91" fmla="*/ 2147483647 h 41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580"/>
              <a:gd name="T139" fmla="*/ 0 h 416"/>
              <a:gd name="T140" fmla="*/ 580 w 580"/>
              <a:gd name="T141" fmla="*/ 416 h 41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580" h="416">
                <a:moveTo>
                  <a:pt x="266" y="416"/>
                </a:moveTo>
                <a:lnTo>
                  <a:pt x="259" y="404"/>
                </a:lnTo>
                <a:lnTo>
                  <a:pt x="253" y="393"/>
                </a:lnTo>
                <a:lnTo>
                  <a:pt x="246" y="381"/>
                </a:lnTo>
                <a:lnTo>
                  <a:pt x="241" y="369"/>
                </a:lnTo>
                <a:lnTo>
                  <a:pt x="228" y="373"/>
                </a:lnTo>
                <a:lnTo>
                  <a:pt x="219" y="378"/>
                </a:lnTo>
                <a:lnTo>
                  <a:pt x="211" y="386"/>
                </a:lnTo>
                <a:lnTo>
                  <a:pt x="202" y="397"/>
                </a:lnTo>
                <a:lnTo>
                  <a:pt x="180" y="397"/>
                </a:lnTo>
                <a:lnTo>
                  <a:pt x="167" y="397"/>
                </a:lnTo>
                <a:lnTo>
                  <a:pt x="158" y="395"/>
                </a:lnTo>
                <a:lnTo>
                  <a:pt x="148" y="390"/>
                </a:lnTo>
                <a:lnTo>
                  <a:pt x="148" y="377"/>
                </a:lnTo>
                <a:lnTo>
                  <a:pt x="148" y="364"/>
                </a:lnTo>
                <a:lnTo>
                  <a:pt x="148" y="351"/>
                </a:lnTo>
                <a:lnTo>
                  <a:pt x="150" y="338"/>
                </a:lnTo>
                <a:lnTo>
                  <a:pt x="130" y="345"/>
                </a:lnTo>
                <a:lnTo>
                  <a:pt x="111" y="351"/>
                </a:lnTo>
                <a:lnTo>
                  <a:pt x="91" y="359"/>
                </a:lnTo>
                <a:lnTo>
                  <a:pt x="73" y="365"/>
                </a:lnTo>
                <a:lnTo>
                  <a:pt x="51" y="350"/>
                </a:lnTo>
                <a:lnTo>
                  <a:pt x="29" y="336"/>
                </a:lnTo>
                <a:lnTo>
                  <a:pt x="18" y="329"/>
                </a:lnTo>
                <a:lnTo>
                  <a:pt x="11" y="323"/>
                </a:lnTo>
                <a:lnTo>
                  <a:pt x="4" y="317"/>
                </a:lnTo>
                <a:lnTo>
                  <a:pt x="0" y="312"/>
                </a:lnTo>
                <a:lnTo>
                  <a:pt x="3" y="282"/>
                </a:lnTo>
                <a:lnTo>
                  <a:pt x="8" y="260"/>
                </a:lnTo>
                <a:lnTo>
                  <a:pt x="11" y="251"/>
                </a:lnTo>
                <a:lnTo>
                  <a:pt x="14" y="243"/>
                </a:lnTo>
                <a:lnTo>
                  <a:pt x="18" y="237"/>
                </a:lnTo>
                <a:lnTo>
                  <a:pt x="24" y="231"/>
                </a:lnTo>
                <a:lnTo>
                  <a:pt x="30" y="226"/>
                </a:lnTo>
                <a:lnTo>
                  <a:pt x="37" y="224"/>
                </a:lnTo>
                <a:lnTo>
                  <a:pt x="46" y="222"/>
                </a:lnTo>
                <a:lnTo>
                  <a:pt x="55" y="221"/>
                </a:lnTo>
                <a:lnTo>
                  <a:pt x="77" y="221"/>
                </a:lnTo>
                <a:lnTo>
                  <a:pt x="106" y="225"/>
                </a:lnTo>
                <a:lnTo>
                  <a:pt x="119" y="216"/>
                </a:lnTo>
                <a:lnTo>
                  <a:pt x="130" y="209"/>
                </a:lnTo>
                <a:lnTo>
                  <a:pt x="139" y="204"/>
                </a:lnTo>
                <a:lnTo>
                  <a:pt x="148" y="202"/>
                </a:lnTo>
                <a:lnTo>
                  <a:pt x="169" y="198"/>
                </a:lnTo>
                <a:lnTo>
                  <a:pt x="197" y="195"/>
                </a:lnTo>
                <a:lnTo>
                  <a:pt x="199" y="202"/>
                </a:lnTo>
                <a:lnTo>
                  <a:pt x="202" y="209"/>
                </a:lnTo>
                <a:lnTo>
                  <a:pt x="211" y="207"/>
                </a:lnTo>
                <a:lnTo>
                  <a:pt x="221" y="204"/>
                </a:lnTo>
                <a:lnTo>
                  <a:pt x="224" y="185"/>
                </a:lnTo>
                <a:lnTo>
                  <a:pt x="227" y="166"/>
                </a:lnTo>
                <a:lnTo>
                  <a:pt x="229" y="148"/>
                </a:lnTo>
                <a:lnTo>
                  <a:pt x="233" y="129"/>
                </a:lnTo>
                <a:lnTo>
                  <a:pt x="245" y="121"/>
                </a:lnTo>
                <a:lnTo>
                  <a:pt x="255" y="114"/>
                </a:lnTo>
                <a:lnTo>
                  <a:pt x="266" y="110"/>
                </a:lnTo>
                <a:lnTo>
                  <a:pt x="276" y="108"/>
                </a:lnTo>
                <a:lnTo>
                  <a:pt x="286" y="107"/>
                </a:lnTo>
                <a:lnTo>
                  <a:pt x="298" y="107"/>
                </a:lnTo>
                <a:lnTo>
                  <a:pt x="310" y="107"/>
                </a:lnTo>
                <a:lnTo>
                  <a:pt x="325" y="108"/>
                </a:lnTo>
                <a:lnTo>
                  <a:pt x="328" y="96"/>
                </a:lnTo>
                <a:lnTo>
                  <a:pt x="332" y="87"/>
                </a:lnTo>
                <a:lnTo>
                  <a:pt x="336" y="78"/>
                </a:lnTo>
                <a:lnTo>
                  <a:pt x="341" y="70"/>
                </a:lnTo>
                <a:lnTo>
                  <a:pt x="346" y="62"/>
                </a:lnTo>
                <a:lnTo>
                  <a:pt x="351" y="56"/>
                </a:lnTo>
                <a:lnTo>
                  <a:pt x="358" y="51"/>
                </a:lnTo>
                <a:lnTo>
                  <a:pt x="364" y="44"/>
                </a:lnTo>
                <a:lnTo>
                  <a:pt x="396" y="25"/>
                </a:lnTo>
                <a:lnTo>
                  <a:pt x="432" y="0"/>
                </a:lnTo>
                <a:lnTo>
                  <a:pt x="445" y="3"/>
                </a:lnTo>
                <a:lnTo>
                  <a:pt x="458" y="6"/>
                </a:lnTo>
                <a:lnTo>
                  <a:pt x="471" y="9"/>
                </a:lnTo>
                <a:lnTo>
                  <a:pt x="484" y="12"/>
                </a:lnTo>
                <a:lnTo>
                  <a:pt x="484" y="17"/>
                </a:lnTo>
                <a:lnTo>
                  <a:pt x="484" y="23"/>
                </a:lnTo>
                <a:lnTo>
                  <a:pt x="496" y="26"/>
                </a:lnTo>
                <a:lnTo>
                  <a:pt x="506" y="30"/>
                </a:lnTo>
                <a:lnTo>
                  <a:pt x="515" y="34"/>
                </a:lnTo>
                <a:lnTo>
                  <a:pt x="524" y="39"/>
                </a:lnTo>
                <a:lnTo>
                  <a:pt x="532" y="43"/>
                </a:lnTo>
                <a:lnTo>
                  <a:pt x="540" y="49"/>
                </a:lnTo>
                <a:lnTo>
                  <a:pt x="548" y="55"/>
                </a:lnTo>
                <a:lnTo>
                  <a:pt x="553" y="61"/>
                </a:lnTo>
                <a:lnTo>
                  <a:pt x="560" y="68"/>
                </a:lnTo>
                <a:lnTo>
                  <a:pt x="565" y="74"/>
                </a:lnTo>
                <a:lnTo>
                  <a:pt x="569" y="81"/>
                </a:lnTo>
                <a:lnTo>
                  <a:pt x="573" y="88"/>
                </a:lnTo>
                <a:lnTo>
                  <a:pt x="575" y="95"/>
                </a:lnTo>
                <a:lnTo>
                  <a:pt x="578" y="103"/>
                </a:lnTo>
                <a:lnTo>
                  <a:pt x="579" y="109"/>
                </a:lnTo>
                <a:lnTo>
                  <a:pt x="580" y="117"/>
                </a:lnTo>
                <a:lnTo>
                  <a:pt x="580" y="125"/>
                </a:lnTo>
                <a:lnTo>
                  <a:pt x="579" y="131"/>
                </a:lnTo>
                <a:lnTo>
                  <a:pt x="578" y="139"/>
                </a:lnTo>
                <a:lnTo>
                  <a:pt x="577" y="146"/>
                </a:lnTo>
                <a:lnTo>
                  <a:pt x="574" y="153"/>
                </a:lnTo>
                <a:lnTo>
                  <a:pt x="570" y="160"/>
                </a:lnTo>
                <a:lnTo>
                  <a:pt x="566" y="166"/>
                </a:lnTo>
                <a:lnTo>
                  <a:pt x="561" y="173"/>
                </a:lnTo>
                <a:lnTo>
                  <a:pt x="554" y="178"/>
                </a:lnTo>
                <a:lnTo>
                  <a:pt x="548" y="185"/>
                </a:lnTo>
                <a:lnTo>
                  <a:pt x="541" y="190"/>
                </a:lnTo>
                <a:lnTo>
                  <a:pt x="532" y="194"/>
                </a:lnTo>
                <a:lnTo>
                  <a:pt x="523" y="198"/>
                </a:lnTo>
                <a:lnTo>
                  <a:pt x="514" y="202"/>
                </a:lnTo>
                <a:lnTo>
                  <a:pt x="504" y="205"/>
                </a:lnTo>
                <a:lnTo>
                  <a:pt x="492" y="208"/>
                </a:lnTo>
                <a:lnTo>
                  <a:pt x="493" y="217"/>
                </a:lnTo>
                <a:lnTo>
                  <a:pt x="496" y="229"/>
                </a:lnTo>
                <a:lnTo>
                  <a:pt x="519" y="230"/>
                </a:lnTo>
                <a:lnTo>
                  <a:pt x="532" y="231"/>
                </a:lnTo>
                <a:lnTo>
                  <a:pt x="543" y="235"/>
                </a:lnTo>
                <a:lnTo>
                  <a:pt x="556" y="241"/>
                </a:lnTo>
                <a:lnTo>
                  <a:pt x="556" y="254"/>
                </a:lnTo>
                <a:lnTo>
                  <a:pt x="554" y="267"/>
                </a:lnTo>
                <a:lnTo>
                  <a:pt x="552" y="278"/>
                </a:lnTo>
                <a:lnTo>
                  <a:pt x="549" y="289"/>
                </a:lnTo>
                <a:lnTo>
                  <a:pt x="547" y="298"/>
                </a:lnTo>
                <a:lnTo>
                  <a:pt x="543" y="307"/>
                </a:lnTo>
                <a:lnTo>
                  <a:pt x="537" y="316"/>
                </a:lnTo>
                <a:lnTo>
                  <a:pt x="532" y="323"/>
                </a:lnTo>
                <a:lnTo>
                  <a:pt x="527" y="330"/>
                </a:lnTo>
                <a:lnTo>
                  <a:pt x="521" y="337"/>
                </a:lnTo>
                <a:lnTo>
                  <a:pt x="514" y="342"/>
                </a:lnTo>
                <a:lnTo>
                  <a:pt x="506" y="347"/>
                </a:lnTo>
                <a:lnTo>
                  <a:pt x="491" y="356"/>
                </a:lnTo>
                <a:lnTo>
                  <a:pt x="474" y="364"/>
                </a:lnTo>
                <a:lnTo>
                  <a:pt x="436" y="376"/>
                </a:lnTo>
                <a:lnTo>
                  <a:pt x="396" y="385"/>
                </a:lnTo>
                <a:lnTo>
                  <a:pt x="374" y="390"/>
                </a:lnTo>
                <a:lnTo>
                  <a:pt x="353" y="397"/>
                </a:lnTo>
                <a:lnTo>
                  <a:pt x="332" y="403"/>
                </a:lnTo>
                <a:lnTo>
                  <a:pt x="311" y="412"/>
                </a:lnTo>
                <a:lnTo>
                  <a:pt x="299" y="412"/>
                </a:lnTo>
                <a:lnTo>
                  <a:pt x="289" y="412"/>
                </a:lnTo>
                <a:lnTo>
                  <a:pt x="277" y="414"/>
                </a:lnTo>
                <a:lnTo>
                  <a:pt x="266" y="416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44" name="Freeform 9"/>
          <p:cNvSpPr>
            <a:spLocks/>
          </p:cNvSpPr>
          <p:nvPr/>
        </p:nvSpPr>
        <p:spPr bwMode="auto">
          <a:xfrm>
            <a:off x="5913438" y="4730750"/>
            <a:ext cx="217487" cy="153988"/>
          </a:xfrm>
          <a:custGeom>
            <a:avLst/>
            <a:gdLst>
              <a:gd name="T0" fmla="*/ 2147483647 w 551"/>
              <a:gd name="T1" fmla="*/ 2147483647 h 388"/>
              <a:gd name="T2" fmla="*/ 2147483647 w 551"/>
              <a:gd name="T3" fmla="*/ 2147483647 h 388"/>
              <a:gd name="T4" fmla="*/ 2147483647 w 551"/>
              <a:gd name="T5" fmla="*/ 2147483647 h 388"/>
              <a:gd name="T6" fmla="*/ 2147483647 w 551"/>
              <a:gd name="T7" fmla="*/ 2147483647 h 388"/>
              <a:gd name="T8" fmla="*/ 2147483647 w 551"/>
              <a:gd name="T9" fmla="*/ 2147483647 h 388"/>
              <a:gd name="T10" fmla="*/ 2147483647 w 551"/>
              <a:gd name="T11" fmla="*/ 2147483647 h 388"/>
              <a:gd name="T12" fmla="*/ 2147483647 w 551"/>
              <a:gd name="T13" fmla="*/ 2147483647 h 388"/>
              <a:gd name="T14" fmla="*/ 2147483647 w 551"/>
              <a:gd name="T15" fmla="*/ 2147483647 h 388"/>
              <a:gd name="T16" fmla="*/ 2147483647 w 551"/>
              <a:gd name="T17" fmla="*/ 2147483647 h 388"/>
              <a:gd name="T18" fmla="*/ 2147483647 w 551"/>
              <a:gd name="T19" fmla="*/ 2147483647 h 388"/>
              <a:gd name="T20" fmla="*/ 2147483647 w 551"/>
              <a:gd name="T21" fmla="*/ 2147483647 h 388"/>
              <a:gd name="T22" fmla="*/ 2147483647 w 551"/>
              <a:gd name="T23" fmla="*/ 2147483647 h 388"/>
              <a:gd name="T24" fmla="*/ 2147483647 w 551"/>
              <a:gd name="T25" fmla="*/ 2147483647 h 388"/>
              <a:gd name="T26" fmla="*/ 2147483647 w 551"/>
              <a:gd name="T27" fmla="*/ 2147483647 h 388"/>
              <a:gd name="T28" fmla="*/ 2147483647 w 551"/>
              <a:gd name="T29" fmla="*/ 2147483647 h 388"/>
              <a:gd name="T30" fmla="*/ 2147483647 w 551"/>
              <a:gd name="T31" fmla="*/ 2147483647 h 388"/>
              <a:gd name="T32" fmla="*/ 2147483647 w 551"/>
              <a:gd name="T33" fmla="*/ 2147483647 h 388"/>
              <a:gd name="T34" fmla="*/ 2147483647 w 551"/>
              <a:gd name="T35" fmla="*/ 2147483647 h 388"/>
              <a:gd name="T36" fmla="*/ 2147483647 w 551"/>
              <a:gd name="T37" fmla="*/ 2147483647 h 388"/>
              <a:gd name="T38" fmla="*/ 2147483647 w 551"/>
              <a:gd name="T39" fmla="*/ 2147483647 h 388"/>
              <a:gd name="T40" fmla="*/ 2147483647 w 551"/>
              <a:gd name="T41" fmla="*/ 2147483647 h 388"/>
              <a:gd name="T42" fmla="*/ 2147483647 w 551"/>
              <a:gd name="T43" fmla="*/ 2147483647 h 388"/>
              <a:gd name="T44" fmla="*/ 2147483647 w 551"/>
              <a:gd name="T45" fmla="*/ 2147483647 h 388"/>
              <a:gd name="T46" fmla="*/ 2147483647 w 551"/>
              <a:gd name="T47" fmla="*/ 2147483647 h 388"/>
              <a:gd name="T48" fmla="*/ 2147483647 w 551"/>
              <a:gd name="T49" fmla="*/ 2147483647 h 388"/>
              <a:gd name="T50" fmla="*/ 2147483647 w 551"/>
              <a:gd name="T51" fmla="*/ 2147483647 h 388"/>
              <a:gd name="T52" fmla="*/ 2147483647 w 551"/>
              <a:gd name="T53" fmla="*/ 2147483647 h 388"/>
              <a:gd name="T54" fmla="*/ 2147483647 w 551"/>
              <a:gd name="T55" fmla="*/ 2147483647 h 388"/>
              <a:gd name="T56" fmla="*/ 2147483647 w 551"/>
              <a:gd name="T57" fmla="*/ 2147483647 h 388"/>
              <a:gd name="T58" fmla="*/ 2147483647 w 551"/>
              <a:gd name="T59" fmla="*/ 2147483647 h 388"/>
              <a:gd name="T60" fmla="*/ 2147483647 w 551"/>
              <a:gd name="T61" fmla="*/ 2147483647 h 388"/>
              <a:gd name="T62" fmla="*/ 2147483647 w 551"/>
              <a:gd name="T63" fmla="*/ 2147483647 h 388"/>
              <a:gd name="T64" fmla="*/ 2147483647 w 551"/>
              <a:gd name="T65" fmla="*/ 2147483647 h 388"/>
              <a:gd name="T66" fmla="*/ 2147483647 w 551"/>
              <a:gd name="T67" fmla="*/ 2147483647 h 388"/>
              <a:gd name="T68" fmla="*/ 2147483647 w 551"/>
              <a:gd name="T69" fmla="*/ 2147483647 h 388"/>
              <a:gd name="T70" fmla="*/ 2147483647 w 551"/>
              <a:gd name="T71" fmla="*/ 2147483647 h 388"/>
              <a:gd name="T72" fmla="*/ 2147483647 w 551"/>
              <a:gd name="T73" fmla="*/ 2147483647 h 388"/>
              <a:gd name="T74" fmla="*/ 2147483647 w 551"/>
              <a:gd name="T75" fmla="*/ 0 h 388"/>
              <a:gd name="T76" fmla="*/ 2147483647 w 551"/>
              <a:gd name="T77" fmla="*/ 2147483647 h 388"/>
              <a:gd name="T78" fmla="*/ 2147483647 w 551"/>
              <a:gd name="T79" fmla="*/ 2147483647 h 388"/>
              <a:gd name="T80" fmla="*/ 2147483647 w 551"/>
              <a:gd name="T81" fmla="*/ 2147483647 h 388"/>
              <a:gd name="T82" fmla="*/ 2147483647 w 551"/>
              <a:gd name="T83" fmla="*/ 2147483647 h 388"/>
              <a:gd name="T84" fmla="*/ 2147483647 w 551"/>
              <a:gd name="T85" fmla="*/ 2147483647 h 388"/>
              <a:gd name="T86" fmla="*/ 2147483647 w 551"/>
              <a:gd name="T87" fmla="*/ 2147483647 h 388"/>
              <a:gd name="T88" fmla="*/ 2147483647 w 551"/>
              <a:gd name="T89" fmla="*/ 2147483647 h 388"/>
              <a:gd name="T90" fmla="*/ 2147483647 w 551"/>
              <a:gd name="T91" fmla="*/ 2147483647 h 388"/>
              <a:gd name="T92" fmla="*/ 2147483647 w 551"/>
              <a:gd name="T93" fmla="*/ 2147483647 h 388"/>
              <a:gd name="T94" fmla="*/ 2147483647 w 551"/>
              <a:gd name="T95" fmla="*/ 2147483647 h 388"/>
              <a:gd name="T96" fmla="*/ 2147483647 w 551"/>
              <a:gd name="T97" fmla="*/ 2147483647 h 388"/>
              <a:gd name="T98" fmla="*/ 2147483647 w 551"/>
              <a:gd name="T99" fmla="*/ 2147483647 h 388"/>
              <a:gd name="T100" fmla="*/ 2147483647 w 551"/>
              <a:gd name="T101" fmla="*/ 2147483647 h 388"/>
              <a:gd name="T102" fmla="*/ 2147483647 w 551"/>
              <a:gd name="T103" fmla="*/ 2147483647 h 388"/>
              <a:gd name="T104" fmla="*/ 2147483647 w 551"/>
              <a:gd name="T105" fmla="*/ 2147483647 h 388"/>
              <a:gd name="T106" fmla="*/ 2147483647 w 551"/>
              <a:gd name="T107" fmla="*/ 2147483647 h 388"/>
              <a:gd name="T108" fmla="*/ 2147483647 w 551"/>
              <a:gd name="T109" fmla="*/ 2147483647 h 388"/>
              <a:gd name="T110" fmla="*/ 2147483647 w 551"/>
              <a:gd name="T111" fmla="*/ 2147483647 h 388"/>
              <a:gd name="T112" fmla="*/ 2147483647 w 551"/>
              <a:gd name="T113" fmla="*/ 2147483647 h 388"/>
              <a:gd name="T114" fmla="*/ 2147483647 w 551"/>
              <a:gd name="T115" fmla="*/ 2147483647 h 388"/>
              <a:gd name="T116" fmla="*/ 2147483647 w 551"/>
              <a:gd name="T117" fmla="*/ 2147483647 h 388"/>
              <a:gd name="T118" fmla="*/ 2147483647 w 551"/>
              <a:gd name="T119" fmla="*/ 2147483647 h 388"/>
              <a:gd name="T120" fmla="*/ 2147483647 w 551"/>
              <a:gd name="T121" fmla="*/ 2147483647 h 38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551"/>
              <a:gd name="T184" fmla="*/ 0 h 388"/>
              <a:gd name="T185" fmla="*/ 551 w 551"/>
              <a:gd name="T186" fmla="*/ 388 h 38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551" h="388">
                <a:moveTo>
                  <a:pt x="260" y="388"/>
                </a:moveTo>
                <a:lnTo>
                  <a:pt x="251" y="377"/>
                </a:lnTo>
                <a:lnTo>
                  <a:pt x="243" y="368"/>
                </a:lnTo>
                <a:lnTo>
                  <a:pt x="234" y="358"/>
                </a:lnTo>
                <a:lnTo>
                  <a:pt x="228" y="348"/>
                </a:lnTo>
                <a:lnTo>
                  <a:pt x="214" y="348"/>
                </a:lnTo>
                <a:lnTo>
                  <a:pt x="198" y="348"/>
                </a:lnTo>
                <a:lnTo>
                  <a:pt x="190" y="358"/>
                </a:lnTo>
                <a:lnTo>
                  <a:pt x="184" y="368"/>
                </a:lnTo>
                <a:lnTo>
                  <a:pt x="165" y="368"/>
                </a:lnTo>
                <a:lnTo>
                  <a:pt x="149" y="368"/>
                </a:lnTo>
                <a:lnTo>
                  <a:pt x="147" y="355"/>
                </a:lnTo>
                <a:lnTo>
                  <a:pt x="146" y="341"/>
                </a:lnTo>
                <a:lnTo>
                  <a:pt x="145" y="328"/>
                </a:lnTo>
                <a:lnTo>
                  <a:pt x="145" y="315"/>
                </a:lnTo>
                <a:lnTo>
                  <a:pt x="133" y="315"/>
                </a:lnTo>
                <a:lnTo>
                  <a:pt x="122" y="316"/>
                </a:lnTo>
                <a:lnTo>
                  <a:pt x="113" y="319"/>
                </a:lnTo>
                <a:lnTo>
                  <a:pt x="106" y="322"/>
                </a:lnTo>
                <a:lnTo>
                  <a:pt x="90" y="329"/>
                </a:lnTo>
                <a:lnTo>
                  <a:pt x="69" y="340"/>
                </a:lnTo>
                <a:lnTo>
                  <a:pt x="52" y="329"/>
                </a:lnTo>
                <a:lnTo>
                  <a:pt x="35" y="320"/>
                </a:lnTo>
                <a:lnTo>
                  <a:pt x="17" y="310"/>
                </a:lnTo>
                <a:lnTo>
                  <a:pt x="0" y="299"/>
                </a:lnTo>
                <a:lnTo>
                  <a:pt x="1" y="285"/>
                </a:lnTo>
                <a:lnTo>
                  <a:pt x="4" y="268"/>
                </a:lnTo>
                <a:lnTo>
                  <a:pt x="9" y="250"/>
                </a:lnTo>
                <a:lnTo>
                  <a:pt x="16" y="233"/>
                </a:lnTo>
                <a:lnTo>
                  <a:pt x="20" y="225"/>
                </a:lnTo>
                <a:lnTo>
                  <a:pt x="25" y="219"/>
                </a:lnTo>
                <a:lnTo>
                  <a:pt x="30" y="215"/>
                </a:lnTo>
                <a:lnTo>
                  <a:pt x="37" y="212"/>
                </a:lnTo>
                <a:lnTo>
                  <a:pt x="43" y="211"/>
                </a:lnTo>
                <a:lnTo>
                  <a:pt x="51" y="212"/>
                </a:lnTo>
                <a:lnTo>
                  <a:pt x="59" y="217"/>
                </a:lnTo>
                <a:lnTo>
                  <a:pt x="68" y="225"/>
                </a:lnTo>
                <a:lnTo>
                  <a:pt x="82" y="224"/>
                </a:lnTo>
                <a:lnTo>
                  <a:pt x="95" y="220"/>
                </a:lnTo>
                <a:lnTo>
                  <a:pt x="108" y="215"/>
                </a:lnTo>
                <a:lnTo>
                  <a:pt x="121" y="210"/>
                </a:lnTo>
                <a:lnTo>
                  <a:pt x="133" y="203"/>
                </a:lnTo>
                <a:lnTo>
                  <a:pt x="146" y="198"/>
                </a:lnTo>
                <a:lnTo>
                  <a:pt x="160" y="193"/>
                </a:lnTo>
                <a:lnTo>
                  <a:pt x="176" y="190"/>
                </a:lnTo>
                <a:lnTo>
                  <a:pt x="178" y="197"/>
                </a:lnTo>
                <a:lnTo>
                  <a:pt x="181" y="203"/>
                </a:lnTo>
                <a:lnTo>
                  <a:pt x="197" y="203"/>
                </a:lnTo>
                <a:lnTo>
                  <a:pt x="214" y="206"/>
                </a:lnTo>
                <a:lnTo>
                  <a:pt x="216" y="202"/>
                </a:lnTo>
                <a:lnTo>
                  <a:pt x="219" y="199"/>
                </a:lnTo>
                <a:lnTo>
                  <a:pt x="220" y="194"/>
                </a:lnTo>
                <a:lnTo>
                  <a:pt x="223" y="188"/>
                </a:lnTo>
                <a:lnTo>
                  <a:pt x="227" y="164"/>
                </a:lnTo>
                <a:lnTo>
                  <a:pt x="233" y="121"/>
                </a:lnTo>
                <a:lnTo>
                  <a:pt x="242" y="115"/>
                </a:lnTo>
                <a:lnTo>
                  <a:pt x="253" y="111"/>
                </a:lnTo>
                <a:lnTo>
                  <a:pt x="260" y="110"/>
                </a:lnTo>
                <a:lnTo>
                  <a:pt x="269" y="108"/>
                </a:lnTo>
                <a:lnTo>
                  <a:pt x="285" y="107"/>
                </a:lnTo>
                <a:lnTo>
                  <a:pt x="301" y="106"/>
                </a:lnTo>
                <a:lnTo>
                  <a:pt x="307" y="106"/>
                </a:lnTo>
                <a:lnTo>
                  <a:pt x="312" y="103"/>
                </a:lnTo>
                <a:lnTo>
                  <a:pt x="318" y="100"/>
                </a:lnTo>
                <a:lnTo>
                  <a:pt x="323" y="95"/>
                </a:lnTo>
                <a:lnTo>
                  <a:pt x="328" y="89"/>
                </a:lnTo>
                <a:lnTo>
                  <a:pt x="332" y="81"/>
                </a:lnTo>
                <a:lnTo>
                  <a:pt x="335" y="69"/>
                </a:lnTo>
                <a:lnTo>
                  <a:pt x="337" y="55"/>
                </a:lnTo>
                <a:lnTo>
                  <a:pt x="361" y="38"/>
                </a:lnTo>
                <a:lnTo>
                  <a:pt x="388" y="18"/>
                </a:lnTo>
                <a:lnTo>
                  <a:pt x="402" y="9"/>
                </a:lnTo>
                <a:lnTo>
                  <a:pt x="418" y="3"/>
                </a:lnTo>
                <a:lnTo>
                  <a:pt x="424" y="2"/>
                </a:lnTo>
                <a:lnTo>
                  <a:pt x="432" y="0"/>
                </a:lnTo>
                <a:lnTo>
                  <a:pt x="440" y="0"/>
                </a:lnTo>
                <a:lnTo>
                  <a:pt x="446" y="2"/>
                </a:lnTo>
                <a:lnTo>
                  <a:pt x="449" y="8"/>
                </a:lnTo>
                <a:lnTo>
                  <a:pt x="453" y="17"/>
                </a:lnTo>
                <a:lnTo>
                  <a:pt x="484" y="28"/>
                </a:lnTo>
                <a:lnTo>
                  <a:pt x="510" y="38"/>
                </a:lnTo>
                <a:lnTo>
                  <a:pt x="521" y="43"/>
                </a:lnTo>
                <a:lnTo>
                  <a:pt x="530" y="50"/>
                </a:lnTo>
                <a:lnTo>
                  <a:pt x="536" y="56"/>
                </a:lnTo>
                <a:lnTo>
                  <a:pt x="541" y="63"/>
                </a:lnTo>
                <a:lnTo>
                  <a:pt x="547" y="70"/>
                </a:lnTo>
                <a:lnTo>
                  <a:pt x="549" y="80"/>
                </a:lnTo>
                <a:lnTo>
                  <a:pt x="551" y="90"/>
                </a:lnTo>
                <a:lnTo>
                  <a:pt x="551" y="100"/>
                </a:lnTo>
                <a:lnTo>
                  <a:pt x="551" y="113"/>
                </a:lnTo>
                <a:lnTo>
                  <a:pt x="548" y="128"/>
                </a:lnTo>
                <a:lnTo>
                  <a:pt x="545" y="145"/>
                </a:lnTo>
                <a:lnTo>
                  <a:pt x="541" y="163"/>
                </a:lnTo>
                <a:lnTo>
                  <a:pt x="523" y="168"/>
                </a:lnTo>
                <a:lnTo>
                  <a:pt x="506" y="172"/>
                </a:lnTo>
                <a:lnTo>
                  <a:pt x="489" y="177"/>
                </a:lnTo>
                <a:lnTo>
                  <a:pt x="474" y="182"/>
                </a:lnTo>
                <a:lnTo>
                  <a:pt x="472" y="191"/>
                </a:lnTo>
                <a:lnTo>
                  <a:pt x="471" y="198"/>
                </a:lnTo>
                <a:lnTo>
                  <a:pt x="471" y="204"/>
                </a:lnTo>
                <a:lnTo>
                  <a:pt x="472" y="211"/>
                </a:lnTo>
                <a:lnTo>
                  <a:pt x="474" y="215"/>
                </a:lnTo>
                <a:lnTo>
                  <a:pt x="476" y="219"/>
                </a:lnTo>
                <a:lnTo>
                  <a:pt x="479" y="221"/>
                </a:lnTo>
                <a:lnTo>
                  <a:pt x="483" y="224"/>
                </a:lnTo>
                <a:lnTo>
                  <a:pt x="493" y="228"/>
                </a:lnTo>
                <a:lnTo>
                  <a:pt x="505" y="230"/>
                </a:lnTo>
                <a:lnTo>
                  <a:pt x="519" y="232"/>
                </a:lnTo>
                <a:lnTo>
                  <a:pt x="535" y="234"/>
                </a:lnTo>
                <a:lnTo>
                  <a:pt x="527" y="260"/>
                </a:lnTo>
                <a:lnTo>
                  <a:pt x="518" y="285"/>
                </a:lnTo>
                <a:lnTo>
                  <a:pt x="513" y="297"/>
                </a:lnTo>
                <a:lnTo>
                  <a:pt x="506" y="307"/>
                </a:lnTo>
                <a:lnTo>
                  <a:pt x="498" y="318"/>
                </a:lnTo>
                <a:lnTo>
                  <a:pt x="491" y="327"/>
                </a:lnTo>
                <a:lnTo>
                  <a:pt x="462" y="333"/>
                </a:lnTo>
                <a:lnTo>
                  <a:pt x="433" y="341"/>
                </a:lnTo>
                <a:lnTo>
                  <a:pt x="405" y="349"/>
                </a:lnTo>
                <a:lnTo>
                  <a:pt x="375" y="357"/>
                </a:lnTo>
                <a:lnTo>
                  <a:pt x="346" y="364"/>
                </a:lnTo>
                <a:lnTo>
                  <a:pt x="318" y="372"/>
                </a:lnTo>
                <a:lnTo>
                  <a:pt x="289" y="380"/>
                </a:lnTo>
                <a:lnTo>
                  <a:pt x="260" y="388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45" name="Freeform 10"/>
          <p:cNvSpPr>
            <a:spLocks/>
          </p:cNvSpPr>
          <p:nvPr/>
        </p:nvSpPr>
        <p:spPr bwMode="auto">
          <a:xfrm>
            <a:off x="4795838" y="3357563"/>
            <a:ext cx="1419225" cy="1481137"/>
          </a:xfrm>
          <a:custGeom>
            <a:avLst/>
            <a:gdLst>
              <a:gd name="T0" fmla="*/ 2147483647 w 3574"/>
              <a:gd name="T1" fmla="*/ 2147483647 h 3731"/>
              <a:gd name="T2" fmla="*/ 2147483647 w 3574"/>
              <a:gd name="T3" fmla="*/ 2147483647 h 3731"/>
              <a:gd name="T4" fmla="*/ 2147483647 w 3574"/>
              <a:gd name="T5" fmla="*/ 2147483647 h 3731"/>
              <a:gd name="T6" fmla="*/ 2147483647 w 3574"/>
              <a:gd name="T7" fmla="*/ 2147483647 h 3731"/>
              <a:gd name="T8" fmla="*/ 2147483647 w 3574"/>
              <a:gd name="T9" fmla="*/ 2147483647 h 3731"/>
              <a:gd name="T10" fmla="*/ 2147483647 w 3574"/>
              <a:gd name="T11" fmla="*/ 2147483647 h 3731"/>
              <a:gd name="T12" fmla="*/ 2147483647 w 3574"/>
              <a:gd name="T13" fmla="*/ 2147483647 h 3731"/>
              <a:gd name="T14" fmla="*/ 2147483647 w 3574"/>
              <a:gd name="T15" fmla="*/ 2147483647 h 3731"/>
              <a:gd name="T16" fmla="*/ 0 w 3574"/>
              <a:gd name="T17" fmla="*/ 2147483647 h 3731"/>
              <a:gd name="T18" fmla="*/ 2147483647 w 3574"/>
              <a:gd name="T19" fmla="*/ 2147483647 h 3731"/>
              <a:gd name="T20" fmla="*/ 2147483647 w 3574"/>
              <a:gd name="T21" fmla="*/ 2147483647 h 3731"/>
              <a:gd name="T22" fmla="*/ 2147483647 w 3574"/>
              <a:gd name="T23" fmla="*/ 2147483647 h 3731"/>
              <a:gd name="T24" fmla="*/ 2147483647 w 3574"/>
              <a:gd name="T25" fmla="*/ 2147483647 h 3731"/>
              <a:gd name="T26" fmla="*/ 2147483647 w 3574"/>
              <a:gd name="T27" fmla="*/ 2147483647 h 3731"/>
              <a:gd name="T28" fmla="*/ 2147483647 w 3574"/>
              <a:gd name="T29" fmla="*/ 2147483647 h 3731"/>
              <a:gd name="T30" fmla="*/ 2147483647 w 3574"/>
              <a:gd name="T31" fmla="*/ 2147483647 h 3731"/>
              <a:gd name="T32" fmla="*/ 2147483647 w 3574"/>
              <a:gd name="T33" fmla="*/ 2147483647 h 3731"/>
              <a:gd name="T34" fmla="*/ 2147483647 w 3574"/>
              <a:gd name="T35" fmla="*/ 2147483647 h 3731"/>
              <a:gd name="T36" fmla="*/ 2147483647 w 3574"/>
              <a:gd name="T37" fmla="*/ 2147483647 h 3731"/>
              <a:gd name="T38" fmla="*/ 2147483647 w 3574"/>
              <a:gd name="T39" fmla="*/ 2147483647 h 3731"/>
              <a:gd name="T40" fmla="*/ 2147483647 w 3574"/>
              <a:gd name="T41" fmla="*/ 2147483647 h 3731"/>
              <a:gd name="T42" fmla="*/ 2147483647 w 3574"/>
              <a:gd name="T43" fmla="*/ 2147483647 h 3731"/>
              <a:gd name="T44" fmla="*/ 2147483647 w 3574"/>
              <a:gd name="T45" fmla="*/ 2147483647 h 3731"/>
              <a:gd name="T46" fmla="*/ 2147483647 w 3574"/>
              <a:gd name="T47" fmla="*/ 2147483647 h 3731"/>
              <a:gd name="T48" fmla="*/ 2147483647 w 3574"/>
              <a:gd name="T49" fmla="*/ 2147483647 h 3731"/>
              <a:gd name="T50" fmla="*/ 2147483647 w 3574"/>
              <a:gd name="T51" fmla="*/ 2147483647 h 3731"/>
              <a:gd name="T52" fmla="*/ 2147483647 w 3574"/>
              <a:gd name="T53" fmla="*/ 2147483647 h 3731"/>
              <a:gd name="T54" fmla="*/ 2147483647 w 3574"/>
              <a:gd name="T55" fmla="*/ 2147483647 h 3731"/>
              <a:gd name="T56" fmla="*/ 2147483647 w 3574"/>
              <a:gd name="T57" fmla="*/ 2147483647 h 3731"/>
              <a:gd name="T58" fmla="*/ 2147483647 w 3574"/>
              <a:gd name="T59" fmla="*/ 2147483647 h 3731"/>
              <a:gd name="T60" fmla="*/ 2147483647 w 3574"/>
              <a:gd name="T61" fmla="*/ 2147483647 h 3731"/>
              <a:gd name="T62" fmla="*/ 2147483647 w 3574"/>
              <a:gd name="T63" fmla="*/ 2147483647 h 3731"/>
              <a:gd name="T64" fmla="*/ 2147483647 w 3574"/>
              <a:gd name="T65" fmla="*/ 2147483647 h 3731"/>
              <a:gd name="T66" fmla="*/ 2147483647 w 3574"/>
              <a:gd name="T67" fmla="*/ 2147483647 h 3731"/>
              <a:gd name="T68" fmla="*/ 2147483647 w 3574"/>
              <a:gd name="T69" fmla="*/ 2147483647 h 3731"/>
              <a:gd name="T70" fmla="*/ 2147483647 w 3574"/>
              <a:gd name="T71" fmla="*/ 2147483647 h 3731"/>
              <a:gd name="T72" fmla="*/ 2147483647 w 3574"/>
              <a:gd name="T73" fmla="*/ 2147483647 h 3731"/>
              <a:gd name="T74" fmla="*/ 2147483647 w 3574"/>
              <a:gd name="T75" fmla="*/ 2147483647 h 3731"/>
              <a:gd name="T76" fmla="*/ 2147483647 w 3574"/>
              <a:gd name="T77" fmla="*/ 2147483647 h 3731"/>
              <a:gd name="T78" fmla="*/ 2147483647 w 3574"/>
              <a:gd name="T79" fmla="*/ 2147483647 h 3731"/>
              <a:gd name="T80" fmla="*/ 2147483647 w 3574"/>
              <a:gd name="T81" fmla="*/ 2147483647 h 3731"/>
              <a:gd name="T82" fmla="*/ 2147483647 w 3574"/>
              <a:gd name="T83" fmla="*/ 2147483647 h 3731"/>
              <a:gd name="T84" fmla="*/ 2147483647 w 3574"/>
              <a:gd name="T85" fmla="*/ 2147483647 h 3731"/>
              <a:gd name="T86" fmla="*/ 2147483647 w 3574"/>
              <a:gd name="T87" fmla="*/ 2147483647 h 3731"/>
              <a:gd name="T88" fmla="*/ 2147483647 w 3574"/>
              <a:gd name="T89" fmla="*/ 2147483647 h 3731"/>
              <a:gd name="T90" fmla="*/ 2147483647 w 3574"/>
              <a:gd name="T91" fmla="*/ 2147483647 h 3731"/>
              <a:gd name="T92" fmla="*/ 2147483647 w 3574"/>
              <a:gd name="T93" fmla="*/ 2147483647 h 3731"/>
              <a:gd name="T94" fmla="*/ 2147483647 w 3574"/>
              <a:gd name="T95" fmla="*/ 2147483647 h 3731"/>
              <a:gd name="T96" fmla="*/ 2147483647 w 3574"/>
              <a:gd name="T97" fmla="*/ 2147483647 h 3731"/>
              <a:gd name="T98" fmla="*/ 2147483647 w 3574"/>
              <a:gd name="T99" fmla="*/ 2147483647 h 3731"/>
              <a:gd name="T100" fmla="*/ 2147483647 w 3574"/>
              <a:gd name="T101" fmla="*/ 2147483647 h 3731"/>
              <a:gd name="T102" fmla="*/ 2147483647 w 3574"/>
              <a:gd name="T103" fmla="*/ 2147483647 h 3731"/>
              <a:gd name="T104" fmla="*/ 2147483647 w 3574"/>
              <a:gd name="T105" fmla="*/ 2147483647 h 3731"/>
              <a:gd name="T106" fmla="*/ 2147483647 w 3574"/>
              <a:gd name="T107" fmla="*/ 2147483647 h 3731"/>
              <a:gd name="T108" fmla="*/ 2147483647 w 3574"/>
              <a:gd name="T109" fmla="*/ 2147483647 h 3731"/>
              <a:gd name="T110" fmla="*/ 2147483647 w 3574"/>
              <a:gd name="T111" fmla="*/ 2147483647 h 3731"/>
              <a:gd name="T112" fmla="*/ 2147483647 w 3574"/>
              <a:gd name="T113" fmla="*/ 2147483647 h 3731"/>
              <a:gd name="T114" fmla="*/ 2147483647 w 3574"/>
              <a:gd name="T115" fmla="*/ 2147483647 h 3731"/>
              <a:gd name="T116" fmla="*/ 2147483647 w 3574"/>
              <a:gd name="T117" fmla="*/ 2147483647 h 3731"/>
              <a:gd name="T118" fmla="*/ 2147483647 w 3574"/>
              <a:gd name="T119" fmla="*/ 2147483647 h 3731"/>
              <a:gd name="T120" fmla="*/ 2147483647 w 3574"/>
              <a:gd name="T121" fmla="*/ 2147483647 h 3731"/>
              <a:gd name="T122" fmla="*/ 2147483647 w 3574"/>
              <a:gd name="T123" fmla="*/ 2147483647 h 3731"/>
              <a:gd name="T124" fmla="*/ 2147483647 w 3574"/>
              <a:gd name="T125" fmla="*/ 2147483647 h 373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574"/>
              <a:gd name="T190" fmla="*/ 0 h 3731"/>
              <a:gd name="T191" fmla="*/ 3574 w 3574"/>
              <a:gd name="T192" fmla="*/ 3731 h 3731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574" h="3731">
                <a:moveTo>
                  <a:pt x="1349" y="3731"/>
                </a:moveTo>
                <a:lnTo>
                  <a:pt x="1325" y="3725"/>
                </a:lnTo>
                <a:lnTo>
                  <a:pt x="1300" y="3718"/>
                </a:lnTo>
                <a:lnTo>
                  <a:pt x="1275" y="3713"/>
                </a:lnTo>
                <a:lnTo>
                  <a:pt x="1250" y="3706"/>
                </a:lnTo>
                <a:lnTo>
                  <a:pt x="1248" y="3686"/>
                </a:lnTo>
                <a:lnTo>
                  <a:pt x="1245" y="3663"/>
                </a:lnTo>
                <a:lnTo>
                  <a:pt x="1243" y="3643"/>
                </a:lnTo>
                <a:lnTo>
                  <a:pt x="1239" y="3622"/>
                </a:lnTo>
                <a:lnTo>
                  <a:pt x="1226" y="3615"/>
                </a:lnTo>
                <a:lnTo>
                  <a:pt x="1213" y="3609"/>
                </a:lnTo>
                <a:lnTo>
                  <a:pt x="1200" y="3602"/>
                </a:lnTo>
                <a:lnTo>
                  <a:pt x="1187" y="3597"/>
                </a:lnTo>
                <a:lnTo>
                  <a:pt x="1187" y="3571"/>
                </a:lnTo>
                <a:lnTo>
                  <a:pt x="1183" y="3548"/>
                </a:lnTo>
                <a:lnTo>
                  <a:pt x="1180" y="3537"/>
                </a:lnTo>
                <a:lnTo>
                  <a:pt x="1178" y="3527"/>
                </a:lnTo>
                <a:lnTo>
                  <a:pt x="1174" y="3518"/>
                </a:lnTo>
                <a:lnTo>
                  <a:pt x="1168" y="3509"/>
                </a:lnTo>
                <a:lnTo>
                  <a:pt x="1163" y="3501"/>
                </a:lnTo>
                <a:lnTo>
                  <a:pt x="1157" y="3493"/>
                </a:lnTo>
                <a:lnTo>
                  <a:pt x="1149" y="3485"/>
                </a:lnTo>
                <a:lnTo>
                  <a:pt x="1141" y="3477"/>
                </a:lnTo>
                <a:lnTo>
                  <a:pt x="1132" y="3471"/>
                </a:lnTo>
                <a:lnTo>
                  <a:pt x="1122" y="3464"/>
                </a:lnTo>
                <a:lnTo>
                  <a:pt x="1110" y="3458"/>
                </a:lnTo>
                <a:lnTo>
                  <a:pt x="1097" y="3451"/>
                </a:lnTo>
                <a:lnTo>
                  <a:pt x="1090" y="3438"/>
                </a:lnTo>
                <a:lnTo>
                  <a:pt x="1085" y="3428"/>
                </a:lnTo>
                <a:lnTo>
                  <a:pt x="1079" y="3419"/>
                </a:lnTo>
                <a:lnTo>
                  <a:pt x="1073" y="3412"/>
                </a:lnTo>
                <a:lnTo>
                  <a:pt x="1068" y="3407"/>
                </a:lnTo>
                <a:lnTo>
                  <a:pt x="1063" y="3402"/>
                </a:lnTo>
                <a:lnTo>
                  <a:pt x="1057" y="3399"/>
                </a:lnTo>
                <a:lnTo>
                  <a:pt x="1050" y="3397"/>
                </a:lnTo>
                <a:lnTo>
                  <a:pt x="1037" y="3394"/>
                </a:lnTo>
                <a:lnTo>
                  <a:pt x="1020" y="3394"/>
                </a:lnTo>
                <a:lnTo>
                  <a:pt x="1001" y="3394"/>
                </a:lnTo>
                <a:lnTo>
                  <a:pt x="976" y="3393"/>
                </a:lnTo>
                <a:lnTo>
                  <a:pt x="963" y="3367"/>
                </a:lnTo>
                <a:lnTo>
                  <a:pt x="950" y="3342"/>
                </a:lnTo>
                <a:lnTo>
                  <a:pt x="937" y="3316"/>
                </a:lnTo>
                <a:lnTo>
                  <a:pt x="924" y="3291"/>
                </a:lnTo>
                <a:lnTo>
                  <a:pt x="899" y="3276"/>
                </a:lnTo>
                <a:lnTo>
                  <a:pt x="877" y="3259"/>
                </a:lnTo>
                <a:lnTo>
                  <a:pt x="855" y="3242"/>
                </a:lnTo>
                <a:lnTo>
                  <a:pt x="834" y="3225"/>
                </a:lnTo>
                <a:lnTo>
                  <a:pt x="813" y="3207"/>
                </a:lnTo>
                <a:lnTo>
                  <a:pt x="791" y="3190"/>
                </a:lnTo>
                <a:lnTo>
                  <a:pt x="770" y="3174"/>
                </a:lnTo>
                <a:lnTo>
                  <a:pt x="747" y="3160"/>
                </a:lnTo>
                <a:lnTo>
                  <a:pt x="740" y="3130"/>
                </a:lnTo>
                <a:lnTo>
                  <a:pt x="733" y="3101"/>
                </a:lnTo>
                <a:lnTo>
                  <a:pt x="727" y="3088"/>
                </a:lnTo>
                <a:lnTo>
                  <a:pt x="721" y="3077"/>
                </a:lnTo>
                <a:lnTo>
                  <a:pt x="717" y="3070"/>
                </a:lnTo>
                <a:lnTo>
                  <a:pt x="712" y="3065"/>
                </a:lnTo>
                <a:lnTo>
                  <a:pt x="707" y="3060"/>
                </a:lnTo>
                <a:lnTo>
                  <a:pt x="700" y="3055"/>
                </a:lnTo>
                <a:lnTo>
                  <a:pt x="688" y="3057"/>
                </a:lnTo>
                <a:lnTo>
                  <a:pt x="677" y="3062"/>
                </a:lnTo>
                <a:lnTo>
                  <a:pt x="668" y="3068"/>
                </a:lnTo>
                <a:lnTo>
                  <a:pt x="658" y="3073"/>
                </a:lnTo>
                <a:lnTo>
                  <a:pt x="652" y="3081"/>
                </a:lnTo>
                <a:lnTo>
                  <a:pt x="645" y="3087"/>
                </a:lnTo>
                <a:lnTo>
                  <a:pt x="639" y="3095"/>
                </a:lnTo>
                <a:lnTo>
                  <a:pt x="632" y="3103"/>
                </a:lnTo>
                <a:lnTo>
                  <a:pt x="622" y="3120"/>
                </a:lnTo>
                <a:lnTo>
                  <a:pt x="608" y="3135"/>
                </a:lnTo>
                <a:lnTo>
                  <a:pt x="601" y="3143"/>
                </a:lnTo>
                <a:lnTo>
                  <a:pt x="592" y="3150"/>
                </a:lnTo>
                <a:lnTo>
                  <a:pt x="582" y="3155"/>
                </a:lnTo>
                <a:lnTo>
                  <a:pt x="570" y="3160"/>
                </a:lnTo>
                <a:lnTo>
                  <a:pt x="560" y="3174"/>
                </a:lnTo>
                <a:lnTo>
                  <a:pt x="552" y="3182"/>
                </a:lnTo>
                <a:lnTo>
                  <a:pt x="543" y="3190"/>
                </a:lnTo>
                <a:lnTo>
                  <a:pt x="530" y="3199"/>
                </a:lnTo>
                <a:lnTo>
                  <a:pt x="526" y="3185"/>
                </a:lnTo>
                <a:lnTo>
                  <a:pt x="522" y="3172"/>
                </a:lnTo>
                <a:lnTo>
                  <a:pt x="517" y="3160"/>
                </a:lnTo>
                <a:lnTo>
                  <a:pt x="511" y="3150"/>
                </a:lnTo>
                <a:lnTo>
                  <a:pt x="505" y="3141"/>
                </a:lnTo>
                <a:lnTo>
                  <a:pt x="497" y="3133"/>
                </a:lnTo>
                <a:lnTo>
                  <a:pt x="489" y="3126"/>
                </a:lnTo>
                <a:lnTo>
                  <a:pt x="480" y="3120"/>
                </a:lnTo>
                <a:lnTo>
                  <a:pt x="471" y="3114"/>
                </a:lnTo>
                <a:lnTo>
                  <a:pt x="462" y="3111"/>
                </a:lnTo>
                <a:lnTo>
                  <a:pt x="452" y="3107"/>
                </a:lnTo>
                <a:lnTo>
                  <a:pt x="440" y="3103"/>
                </a:lnTo>
                <a:lnTo>
                  <a:pt x="418" y="3098"/>
                </a:lnTo>
                <a:lnTo>
                  <a:pt x="393" y="3091"/>
                </a:lnTo>
                <a:lnTo>
                  <a:pt x="390" y="3083"/>
                </a:lnTo>
                <a:lnTo>
                  <a:pt x="387" y="3078"/>
                </a:lnTo>
                <a:lnTo>
                  <a:pt x="381" y="3078"/>
                </a:lnTo>
                <a:lnTo>
                  <a:pt x="376" y="3078"/>
                </a:lnTo>
                <a:lnTo>
                  <a:pt x="376" y="3070"/>
                </a:lnTo>
                <a:lnTo>
                  <a:pt x="376" y="3064"/>
                </a:lnTo>
                <a:lnTo>
                  <a:pt x="361" y="3056"/>
                </a:lnTo>
                <a:lnTo>
                  <a:pt x="345" y="3047"/>
                </a:lnTo>
                <a:lnTo>
                  <a:pt x="332" y="3038"/>
                </a:lnTo>
                <a:lnTo>
                  <a:pt x="318" y="3029"/>
                </a:lnTo>
                <a:lnTo>
                  <a:pt x="292" y="3009"/>
                </a:lnTo>
                <a:lnTo>
                  <a:pt x="267" y="2990"/>
                </a:lnTo>
                <a:lnTo>
                  <a:pt x="254" y="2980"/>
                </a:lnTo>
                <a:lnTo>
                  <a:pt x="241" y="2973"/>
                </a:lnTo>
                <a:lnTo>
                  <a:pt x="226" y="2965"/>
                </a:lnTo>
                <a:lnTo>
                  <a:pt x="212" y="2957"/>
                </a:lnTo>
                <a:lnTo>
                  <a:pt x="197" y="2951"/>
                </a:lnTo>
                <a:lnTo>
                  <a:pt x="181" y="2945"/>
                </a:lnTo>
                <a:lnTo>
                  <a:pt x="163" y="2940"/>
                </a:lnTo>
                <a:lnTo>
                  <a:pt x="145" y="2938"/>
                </a:lnTo>
                <a:lnTo>
                  <a:pt x="141" y="2923"/>
                </a:lnTo>
                <a:lnTo>
                  <a:pt x="137" y="2912"/>
                </a:lnTo>
                <a:lnTo>
                  <a:pt x="132" y="2900"/>
                </a:lnTo>
                <a:lnTo>
                  <a:pt x="125" y="2889"/>
                </a:lnTo>
                <a:lnTo>
                  <a:pt x="119" y="2879"/>
                </a:lnTo>
                <a:lnTo>
                  <a:pt x="111" y="2870"/>
                </a:lnTo>
                <a:lnTo>
                  <a:pt x="103" y="2861"/>
                </a:lnTo>
                <a:lnTo>
                  <a:pt x="95" y="2853"/>
                </a:lnTo>
                <a:lnTo>
                  <a:pt x="76" y="2837"/>
                </a:lnTo>
                <a:lnTo>
                  <a:pt x="56" y="2823"/>
                </a:lnTo>
                <a:lnTo>
                  <a:pt x="34" y="2809"/>
                </a:lnTo>
                <a:lnTo>
                  <a:pt x="11" y="2794"/>
                </a:lnTo>
                <a:lnTo>
                  <a:pt x="4" y="2780"/>
                </a:lnTo>
                <a:lnTo>
                  <a:pt x="0" y="2770"/>
                </a:lnTo>
                <a:lnTo>
                  <a:pt x="0" y="2759"/>
                </a:lnTo>
                <a:lnTo>
                  <a:pt x="0" y="2744"/>
                </a:lnTo>
                <a:lnTo>
                  <a:pt x="11" y="2739"/>
                </a:lnTo>
                <a:lnTo>
                  <a:pt x="21" y="2733"/>
                </a:lnTo>
                <a:lnTo>
                  <a:pt x="29" y="2727"/>
                </a:lnTo>
                <a:lnTo>
                  <a:pt x="35" y="2722"/>
                </a:lnTo>
                <a:lnTo>
                  <a:pt x="48" y="2707"/>
                </a:lnTo>
                <a:lnTo>
                  <a:pt x="60" y="2689"/>
                </a:lnTo>
                <a:lnTo>
                  <a:pt x="81" y="2686"/>
                </a:lnTo>
                <a:lnTo>
                  <a:pt x="102" y="2684"/>
                </a:lnTo>
                <a:lnTo>
                  <a:pt x="124" y="2681"/>
                </a:lnTo>
                <a:lnTo>
                  <a:pt x="145" y="2680"/>
                </a:lnTo>
                <a:lnTo>
                  <a:pt x="151" y="2655"/>
                </a:lnTo>
                <a:lnTo>
                  <a:pt x="158" y="2631"/>
                </a:lnTo>
                <a:lnTo>
                  <a:pt x="164" y="2607"/>
                </a:lnTo>
                <a:lnTo>
                  <a:pt x="172" y="2584"/>
                </a:lnTo>
                <a:lnTo>
                  <a:pt x="165" y="2560"/>
                </a:lnTo>
                <a:lnTo>
                  <a:pt x="161" y="2546"/>
                </a:lnTo>
                <a:lnTo>
                  <a:pt x="161" y="2532"/>
                </a:lnTo>
                <a:lnTo>
                  <a:pt x="161" y="2512"/>
                </a:lnTo>
                <a:lnTo>
                  <a:pt x="174" y="2504"/>
                </a:lnTo>
                <a:lnTo>
                  <a:pt x="189" y="2497"/>
                </a:lnTo>
                <a:lnTo>
                  <a:pt x="202" y="2489"/>
                </a:lnTo>
                <a:lnTo>
                  <a:pt x="216" y="2482"/>
                </a:lnTo>
                <a:lnTo>
                  <a:pt x="215" y="2471"/>
                </a:lnTo>
                <a:lnTo>
                  <a:pt x="213" y="2460"/>
                </a:lnTo>
                <a:lnTo>
                  <a:pt x="211" y="2450"/>
                </a:lnTo>
                <a:lnTo>
                  <a:pt x="208" y="2441"/>
                </a:lnTo>
                <a:lnTo>
                  <a:pt x="200" y="2421"/>
                </a:lnTo>
                <a:lnTo>
                  <a:pt x="191" y="2400"/>
                </a:lnTo>
                <a:lnTo>
                  <a:pt x="213" y="2363"/>
                </a:lnTo>
                <a:lnTo>
                  <a:pt x="234" y="2333"/>
                </a:lnTo>
                <a:lnTo>
                  <a:pt x="245" y="2320"/>
                </a:lnTo>
                <a:lnTo>
                  <a:pt x="254" y="2308"/>
                </a:lnTo>
                <a:lnTo>
                  <a:pt x="264" y="2298"/>
                </a:lnTo>
                <a:lnTo>
                  <a:pt x="275" y="2287"/>
                </a:lnTo>
                <a:lnTo>
                  <a:pt x="285" y="2278"/>
                </a:lnTo>
                <a:lnTo>
                  <a:pt x="297" y="2270"/>
                </a:lnTo>
                <a:lnTo>
                  <a:pt x="310" y="2262"/>
                </a:lnTo>
                <a:lnTo>
                  <a:pt x="324" y="2255"/>
                </a:lnTo>
                <a:lnTo>
                  <a:pt x="358" y="2238"/>
                </a:lnTo>
                <a:lnTo>
                  <a:pt x="401" y="2219"/>
                </a:lnTo>
                <a:lnTo>
                  <a:pt x="398" y="2204"/>
                </a:lnTo>
                <a:lnTo>
                  <a:pt x="398" y="2190"/>
                </a:lnTo>
                <a:lnTo>
                  <a:pt x="389" y="2179"/>
                </a:lnTo>
                <a:lnTo>
                  <a:pt x="383" y="2169"/>
                </a:lnTo>
                <a:lnTo>
                  <a:pt x="377" y="2158"/>
                </a:lnTo>
                <a:lnTo>
                  <a:pt x="375" y="2147"/>
                </a:lnTo>
                <a:lnTo>
                  <a:pt x="370" y="2126"/>
                </a:lnTo>
                <a:lnTo>
                  <a:pt x="367" y="2104"/>
                </a:lnTo>
                <a:lnTo>
                  <a:pt x="366" y="2093"/>
                </a:lnTo>
                <a:lnTo>
                  <a:pt x="363" y="2083"/>
                </a:lnTo>
                <a:lnTo>
                  <a:pt x="359" y="2072"/>
                </a:lnTo>
                <a:lnTo>
                  <a:pt x="354" y="2062"/>
                </a:lnTo>
                <a:lnTo>
                  <a:pt x="347" y="2052"/>
                </a:lnTo>
                <a:lnTo>
                  <a:pt x="340" y="2043"/>
                </a:lnTo>
                <a:lnTo>
                  <a:pt x="328" y="2032"/>
                </a:lnTo>
                <a:lnTo>
                  <a:pt x="314" y="2024"/>
                </a:lnTo>
                <a:lnTo>
                  <a:pt x="324" y="1996"/>
                </a:lnTo>
                <a:lnTo>
                  <a:pt x="336" y="1967"/>
                </a:lnTo>
                <a:lnTo>
                  <a:pt x="347" y="1940"/>
                </a:lnTo>
                <a:lnTo>
                  <a:pt x="359" y="1911"/>
                </a:lnTo>
                <a:lnTo>
                  <a:pt x="371" y="1884"/>
                </a:lnTo>
                <a:lnTo>
                  <a:pt x="384" y="1857"/>
                </a:lnTo>
                <a:lnTo>
                  <a:pt x="396" y="1829"/>
                </a:lnTo>
                <a:lnTo>
                  <a:pt x="406" y="1801"/>
                </a:lnTo>
                <a:lnTo>
                  <a:pt x="426" y="1803"/>
                </a:lnTo>
                <a:lnTo>
                  <a:pt x="444" y="1807"/>
                </a:lnTo>
                <a:lnTo>
                  <a:pt x="462" y="1812"/>
                </a:lnTo>
                <a:lnTo>
                  <a:pt x="480" y="1817"/>
                </a:lnTo>
                <a:lnTo>
                  <a:pt x="497" y="1821"/>
                </a:lnTo>
                <a:lnTo>
                  <a:pt x="517" y="1825"/>
                </a:lnTo>
                <a:lnTo>
                  <a:pt x="536" y="1827"/>
                </a:lnTo>
                <a:lnTo>
                  <a:pt x="557" y="1825"/>
                </a:lnTo>
                <a:lnTo>
                  <a:pt x="565" y="1832"/>
                </a:lnTo>
                <a:lnTo>
                  <a:pt x="574" y="1838"/>
                </a:lnTo>
                <a:lnTo>
                  <a:pt x="582" y="1842"/>
                </a:lnTo>
                <a:lnTo>
                  <a:pt x="589" y="1846"/>
                </a:lnTo>
                <a:lnTo>
                  <a:pt x="596" y="1849"/>
                </a:lnTo>
                <a:lnTo>
                  <a:pt x="602" y="1850"/>
                </a:lnTo>
                <a:lnTo>
                  <a:pt x="609" y="1850"/>
                </a:lnTo>
                <a:lnTo>
                  <a:pt x="614" y="1850"/>
                </a:lnTo>
                <a:lnTo>
                  <a:pt x="621" y="1850"/>
                </a:lnTo>
                <a:lnTo>
                  <a:pt x="626" y="1847"/>
                </a:lnTo>
                <a:lnTo>
                  <a:pt x="630" y="1846"/>
                </a:lnTo>
                <a:lnTo>
                  <a:pt x="635" y="1842"/>
                </a:lnTo>
                <a:lnTo>
                  <a:pt x="644" y="1836"/>
                </a:lnTo>
                <a:lnTo>
                  <a:pt x="652" y="1825"/>
                </a:lnTo>
                <a:lnTo>
                  <a:pt x="666" y="1803"/>
                </a:lnTo>
                <a:lnTo>
                  <a:pt x="682" y="1778"/>
                </a:lnTo>
                <a:lnTo>
                  <a:pt x="690" y="1765"/>
                </a:lnTo>
                <a:lnTo>
                  <a:pt x="699" y="1754"/>
                </a:lnTo>
                <a:lnTo>
                  <a:pt x="709" y="1743"/>
                </a:lnTo>
                <a:lnTo>
                  <a:pt x="720" y="1733"/>
                </a:lnTo>
                <a:lnTo>
                  <a:pt x="738" y="1732"/>
                </a:lnTo>
                <a:lnTo>
                  <a:pt x="759" y="1732"/>
                </a:lnTo>
                <a:lnTo>
                  <a:pt x="759" y="1759"/>
                </a:lnTo>
                <a:lnTo>
                  <a:pt x="763" y="1786"/>
                </a:lnTo>
                <a:lnTo>
                  <a:pt x="766" y="1816"/>
                </a:lnTo>
                <a:lnTo>
                  <a:pt x="773" y="1845"/>
                </a:lnTo>
                <a:lnTo>
                  <a:pt x="781" y="1875"/>
                </a:lnTo>
                <a:lnTo>
                  <a:pt x="789" y="1903"/>
                </a:lnTo>
                <a:lnTo>
                  <a:pt x="799" y="1929"/>
                </a:lnTo>
                <a:lnTo>
                  <a:pt x="811" y="1954"/>
                </a:lnTo>
                <a:lnTo>
                  <a:pt x="817" y="1957"/>
                </a:lnTo>
                <a:lnTo>
                  <a:pt x="826" y="1958"/>
                </a:lnTo>
                <a:lnTo>
                  <a:pt x="837" y="1959"/>
                </a:lnTo>
                <a:lnTo>
                  <a:pt x="848" y="1959"/>
                </a:lnTo>
                <a:lnTo>
                  <a:pt x="859" y="1959"/>
                </a:lnTo>
                <a:lnTo>
                  <a:pt x="870" y="1958"/>
                </a:lnTo>
                <a:lnTo>
                  <a:pt x="880" y="1957"/>
                </a:lnTo>
                <a:lnTo>
                  <a:pt x="887" y="1954"/>
                </a:lnTo>
                <a:lnTo>
                  <a:pt x="884" y="1907"/>
                </a:lnTo>
                <a:lnTo>
                  <a:pt x="880" y="1862"/>
                </a:lnTo>
                <a:lnTo>
                  <a:pt x="874" y="1816"/>
                </a:lnTo>
                <a:lnTo>
                  <a:pt x="869" y="1771"/>
                </a:lnTo>
                <a:lnTo>
                  <a:pt x="878" y="1746"/>
                </a:lnTo>
                <a:lnTo>
                  <a:pt x="887" y="1725"/>
                </a:lnTo>
                <a:lnTo>
                  <a:pt x="895" y="1707"/>
                </a:lnTo>
                <a:lnTo>
                  <a:pt x="903" y="1693"/>
                </a:lnTo>
                <a:lnTo>
                  <a:pt x="908" y="1686"/>
                </a:lnTo>
                <a:lnTo>
                  <a:pt x="915" y="1681"/>
                </a:lnTo>
                <a:lnTo>
                  <a:pt x="921" y="1674"/>
                </a:lnTo>
                <a:lnTo>
                  <a:pt x="929" y="1669"/>
                </a:lnTo>
                <a:lnTo>
                  <a:pt x="947" y="1659"/>
                </a:lnTo>
                <a:lnTo>
                  <a:pt x="972" y="1648"/>
                </a:lnTo>
                <a:lnTo>
                  <a:pt x="980" y="1639"/>
                </a:lnTo>
                <a:lnTo>
                  <a:pt x="988" y="1631"/>
                </a:lnTo>
                <a:lnTo>
                  <a:pt x="995" y="1625"/>
                </a:lnTo>
                <a:lnTo>
                  <a:pt x="1003" y="1620"/>
                </a:lnTo>
                <a:lnTo>
                  <a:pt x="1020" y="1611"/>
                </a:lnTo>
                <a:lnTo>
                  <a:pt x="1044" y="1600"/>
                </a:lnTo>
                <a:lnTo>
                  <a:pt x="1073" y="1576"/>
                </a:lnTo>
                <a:lnTo>
                  <a:pt x="1092" y="1561"/>
                </a:lnTo>
                <a:lnTo>
                  <a:pt x="1106" y="1552"/>
                </a:lnTo>
                <a:lnTo>
                  <a:pt x="1124" y="1546"/>
                </a:lnTo>
                <a:lnTo>
                  <a:pt x="1125" y="1530"/>
                </a:lnTo>
                <a:lnTo>
                  <a:pt x="1127" y="1516"/>
                </a:lnTo>
                <a:lnTo>
                  <a:pt x="1129" y="1501"/>
                </a:lnTo>
                <a:lnTo>
                  <a:pt x="1132" y="1487"/>
                </a:lnTo>
                <a:lnTo>
                  <a:pt x="1150" y="1487"/>
                </a:lnTo>
                <a:lnTo>
                  <a:pt x="1170" y="1490"/>
                </a:lnTo>
                <a:lnTo>
                  <a:pt x="1184" y="1474"/>
                </a:lnTo>
                <a:lnTo>
                  <a:pt x="1197" y="1464"/>
                </a:lnTo>
                <a:lnTo>
                  <a:pt x="1202" y="1460"/>
                </a:lnTo>
                <a:lnTo>
                  <a:pt x="1210" y="1456"/>
                </a:lnTo>
                <a:lnTo>
                  <a:pt x="1218" y="1453"/>
                </a:lnTo>
                <a:lnTo>
                  <a:pt x="1227" y="1451"/>
                </a:lnTo>
                <a:lnTo>
                  <a:pt x="1232" y="1455"/>
                </a:lnTo>
                <a:lnTo>
                  <a:pt x="1236" y="1458"/>
                </a:lnTo>
                <a:lnTo>
                  <a:pt x="1239" y="1464"/>
                </a:lnTo>
                <a:lnTo>
                  <a:pt x="1243" y="1469"/>
                </a:lnTo>
                <a:lnTo>
                  <a:pt x="1249" y="1481"/>
                </a:lnTo>
                <a:lnTo>
                  <a:pt x="1254" y="1495"/>
                </a:lnTo>
                <a:lnTo>
                  <a:pt x="1266" y="1525"/>
                </a:lnTo>
                <a:lnTo>
                  <a:pt x="1278" y="1551"/>
                </a:lnTo>
                <a:lnTo>
                  <a:pt x="1289" y="1552"/>
                </a:lnTo>
                <a:lnTo>
                  <a:pt x="1301" y="1553"/>
                </a:lnTo>
                <a:lnTo>
                  <a:pt x="1313" y="1555"/>
                </a:lnTo>
                <a:lnTo>
                  <a:pt x="1323" y="1556"/>
                </a:lnTo>
                <a:lnTo>
                  <a:pt x="1325" y="1569"/>
                </a:lnTo>
                <a:lnTo>
                  <a:pt x="1327" y="1583"/>
                </a:lnTo>
                <a:lnTo>
                  <a:pt x="1341" y="1586"/>
                </a:lnTo>
                <a:lnTo>
                  <a:pt x="1357" y="1590"/>
                </a:lnTo>
                <a:lnTo>
                  <a:pt x="1371" y="1592"/>
                </a:lnTo>
                <a:lnTo>
                  <a:pt x="1387" y="1595"/>
                </a:lnTo>
                <a:lnTo>
                  <a:pt x="1391" y="1605"/>
                </a:lnTo>
                <a:lnTo>
                  <a:pt x="1396" y="1616"/>
                </a:lnTo>
                <a:lnTo>
                  <a:pt x="1400" y="1625"/>
                </a:lnTo>
                <a:lnTo>
                  <a:pt x="1404" y="1635"/>
                </a:lnTo>
                <a:lnTo>
                  <a:pt x="1414" y="1634"/>
                </a:lnTo>
                <a:lnTo>
                  <a:pt x="1422" y="1631"/>
                </a:lnTo>
                <a:lnTo>
                  <a:pt x="1430" y="1628"/>
                </a:lnTo>
                <a:lnTo>
                  <a:pt x="1436" y="1624"/>
                </a:lnTo>
                <a:lnTo>
                  <a:pt x="1443" y="1620"/>
                </a:lnTo>
                <a:lnTo>
                  <a:pt x="1448" y="1615"/>
                </a:lnTo>
                <a:lnTo>
                  <a:pt x="1453" y="1609"/>
                </a:lnTo>
                <a:lnTo>
                  <a:pt x="1459" y="1603"/>
                </a:lnTo>
                <a:lnTo>
                  <a:pt x="1466" y="1590"/>
                </a:lnTo>
                <a:lnTo>
                  <a:pt x="1472" y="1576"/>
                </a:lnTo>
                <a:lnTo>
                  <a:pt x="1477" y="1559"/>
                </a:lnTo>
                <a:lnTo>
                  <a:pt x="1482" y="1542"/>
                </a:lnTo>
                <a:lnTo>
                  <a:pt x="1512" y="1521"/>
                </a:lnTo>
                <a:lnTo>
                  <a:pt x="1534" y="1507"/>
                </a:lnTo>
                <a:lnTo>
                  <a:pt x="1542" y="1501"/>
                </a:lnTo>
                <a:lnTo>
                  <a:pt x="1548" y="1496"/>
                </a:lnTo>
                <a:lnTo>
                  <a:pt x="1554" y="1492"/>
                </a:lnTo>
                <a:lnTo>
                  <a:pt x="1556" y="1487"/>
                </a:lnTo>
                <a:lnTo>
                  <a:pt x="1554" y="1477"/>
                </a:lnTo>
                <a:lnTo>
                  <a:pt x="1550" y="1465"/>
                </a:lnTo>
                <a:lnTo>
                  <a:pt x="1544" y="1452"/>
                </a:lnTo>
                <a:lnTo>
                  <a:pt x="1538" y="1440"/>
                </a:lnTo>
                <a:lnTo>
                  <a:pt x="1524" y="1416"/>
                </a:lnTo>
                <a:lnTo>
                  <a:pt x="1507" y="1391"/>
                </a:lnTo>
                <a:lnTo>
                  <a:pt x="1491" y="1367"/>
                </a:lnTo>
                <a:lnTo>
                  <a:pt x="1478" y="1347"/>
                </a:lnTo>
                <a:lnTo>
                  <a:pt x="1474" y="1336"/>
                </a:lnTo>
                <a:lnTo>
                  <a:pt x="1470" y="1328"/>
                </a:lnTo>
                <a:lnTo>
                  <a:pt x="1469" y="1321"/>
                </a:lnTo>
                <a:lnTo>
                  <a:pt x="1470" y="1314"/>
                </a:lnTo>
                <a:lnTo>
                  <a:pt x="1483" y="1311"/>
                </a:lnTo>
                <a:lnTo>
                  <a:pt x="1496" y="1309"/>
                </a:lnTo>
                <a:lnTo>
                  <a:pt x="1496" y="1292"/>
                </a:lnTo>
                <a:lnTo>
                  <a:pt x="1496" y="1276"/>
                </a:lnTo>
                <a:lnTo>
                  <a:pt x="1514" y="1276"/>
                </a:lnTo>
                <a:lnTo>
                  <a:pt x="1531" y="1276"/>
                </a:lnTo>
                <a:lnTo>
                  <a:pt x="1550" y="1276"/>
                </a:lnTo>
                <a:lnTo>
                  <a:pt x="1568" y="1276"/>
                </a:lnTo>
                <a:lnTo>
                  <a:pt x="1570" y="1263"/>
                </a:lnTo>
                <a:lnTo>
                  <a:pt x="1572" y="1246"/>
                </a:lnTo>
                <a:lnTo>
                  <a:pt x="1573" y="1228"/>
                </a:lnTo>
                <a:lnTo>
                  <a:pt x="1573" y="1209"/>
                </a:lnTo>
                <a:lnTo>
                  <a:pt x="1572" y="1189"/>
                </a:lnTo>
                <a:lnTo>
                  <a:pt x="1569" y="1171"/>
                </a:lnTo>
                <a:lnTo>
                  <a:pt x="1565" y="1157"/>
                </a:lnTo>
                <a:lnTo>
                  <a:pt x="1560" y="1145"/>
                </a:lnTo>
                <a:lnTo>
                  <a:pt x="1535" y="1141"/>
                </a:lnTo>
                <a:lnTo>
                  <a:pt x="1512" y="1136"/>
                </a:lnTo>
                <a:lnTo>
                  <a:pt x="1487" y="1132"/>
                </a:lnTo>
                <a:lnTo>
                  <a:pt x="1464" y="1128"/>
                </a:lnTo>
                <a:lnTo>
                  <a:pt x="1459" y="1114"/>
                </a:lnTo>
                <a:lnTo>
                  <a:pt x="1452" y="1102"/>
                </a:lnTo>
                <a:lnTo>
                  <a:pt x="1439" y="1085"/>
                </a:lnTo>
                <a:lnTo>
                  <a:pt x="1416" y="1059"/>
                </a:lnTo>
                <a:lnTo>
                  <a:pt x="1414" y="1024"/>
                </a:lnTo>
                <a:lnTo>
                  <a:pt x="1413" y="993"/>
                </a:lnTo>
                <a:lnTo>
                  <a:pt x="1413" y="961"/>
                </a:lnTo>
                <a:lnTo>
                  <a:pt x="1416" y="933"/>
                </a:lnTo>
                <a:lnTo>
                  <a:pt x="1420" y="904"/>
                </a:lnTo>
                <a:lnTo>
                  <a:pt x="1425" y="876"/>
                </a:lnTo>
                <a:lnTo>
                  <a:pt x="1433" y="844"/>
                </a:lnTo>
                <a:lnTo>
                  <a:pt x="1443" y="812"/>
                </a:lnTo>
                <a:lnTo>
                  <a:pt x="1457" y="807"/>
                </a:lnTo>
                <a:lnTo>
                  <a:pt x="1473" y="799"/>
                </a:lnTo>
                <a:lnTo>
                  <a:pt x="1487" y="792"/>
                </a:lnTo>
                <a:lnTo>
                  <a:pt x="1501" y="783"/>
                </a:lnTo>
                <a:lnTo>
                  <a:pt x="1517" y="774"/>
                </a:lnTo>
                <a:lnTo>
                  <a:pt x="1531" y="764"/>
                </a:lnTo>
                <a:lnTo>
                  <a:pt x="1546" y="752"/>
                </a:lnTo>
                <a:lnTo>
                  <a:pt x="1560" y="740"/>
                </a:lnTo>
                <a:lnTo>
                  <a:pt x="1573" y="729"/>
                </a:lnTo>
                <a:lnTo>
                  <a:pt x="1587" y="716"/>
                </a:lnTo>
                <a:lnTo>
                  <a:pt x="1600" y="701"/>
                </a:lnTo>
                <a:lnTo>
                  <a:pt x="1612" y="688"/>
                </a:lnTo>
                <a:lnTo>
                  <a:pt x="1624" y="673"/>
                </a:lnTo>
                <a:lnTo>
                  <a:pt x="1635" y="658"/>
                </a:lnTo>
                <a:lnTo>
                  <a:pt x="1647" y="643"/>
                </a:lnTo>
                <a:lnTo>
                  <a:pt x="1658" y="627"/>
                </a:lnTo>
                <a:lnTo>
                  <a:pt x="1667" y="610"/>
                </a:lnTo>
                <a:lnTo>
                  <a:pt x="1675" y="595"/>
                </a:lnTo>
                <a:lnTo>
                  <a:pt x="1682" y="578"/>
                </a:lnTo>
                <a:lnTo>
                  <a:pt x="1690" y="561"/>
                </a:lnTo>
                <a:lnTo>
                  <a:pt x="1695" y="544"/>
                </a:lnTo>
                <a:lnTo>
                  <a:pt x="1701" y="527"/>
                </a:lnTo>
                <a:lnTo>
                  <a:pt x="1704" y="509"/>
                </a:lnTo>
                <a:lnTo>
                  <a:pt x="1707" y="492"/>
                </a:lnTo>
                <a:lnTo>
                  <a:pt x="1710" y="475"/>
                </a:lnTo>
                <a:lnTo>
                  <a:pt x="1710" y="457"/>
                </a:lnTo>
                <a:lnTo>
                  <a:pt x="1708" y="440"/>
                </a:lnTo>
                <a:lnTo>
                  <a:pt x="1707" y="423"/>
                </a:lnTo>
                <a:lnTo>
                  <a:pt x="1703" y="406"/>
                </a:lnTo>
                <a:lnTo>
                  <a:pt x="1698" y="389"/>
                </a:lnTo>
                <a:lnTo>
                  <a:pt x="1691" y="372"/>
                </a:lnTo>
                <a:lnTo>
                  <a:pt x="1684" y="357"/>
                </a:lnTo>
                <a:lnTo>
                  <a:pt x="1676" y="354"/>
                </a:lnTo>
                <a:lnTo>
                  <a:pt x="1669" y="353"/>
                </a:lnTo>
                <a:lnTo>
                  <a:pt x="1668" y="338"/>
                </a:lnTo>
                <a:lnTo>
                  <a:pt x="1669" y="323"/>
                </a:lnTo>
                <a:lnTo>
                  <a:pt x="1671" y="306"/>
                </a:lnTo>
                <a:lnTo>
                  <a:pt x="1675" y="290"/>
                </a:lnTo>
                <a:lnTo>
                  <a:pt x="1678" y="272"/>
                </a:lnTo>
                <a:lnTo>
                  <a:pt x="1684" y="255"/>
                </a:lnTo>
                <a:lnTo>
                  <a:pt x="1690" y="237"/>
                </a:lnTo>
                <a:lnTo>
                  <a:pt x="1697" y="220"/>
                </a:lnTo>
                <a:lnTo>
                  <a:pt x="1712" y="185"/>
                </a:lnTo>
                <a:lnTo>
                  <a:pt x="1728" y="151"/>
                </a:lnTo>
                <a:lnTo>
                  <a:pt x="1743" y="121"/>
                </a:lnTo>
                <a:lnTo>
                  <a:pt x="1756" y="95"/>
                </a:lnTo>
                <a:lnTo>
                  <a:pt x="1785" y="100"/>
                </a:lnTo>
                <a:lnTo>
                  <a:pt x="1805" y="103"/>
                </a:lnTo>
                <a:lnTo>
                  <a:pt x="1823" y="104"/>
                </a:lnTo>
                <a:lnTo>
                  <a:pt x="1849" y="103"/>
                </a:lnTo>
                <a:lnTo>
                  <a:pt x="1851" y="95"/>
                </a:lnTo>
                <a:lnTo>
                  <a:pt x="1854" y="89"/>
                </a:lnTo>
                <a:lnTo>
                  <a:pt x="1866" y="87"/>
                </a:lnTo>
                <a:lnTo>
                  <a:pt x="1875" y="86"/>
                </a:lnTo>
                <a:lnTo>
                  <a:pt x="1884" y="83"/>
                </a:lnTo>
                <a:lnTo>
                  <a:pt x="1892" y="81"/>
                </a:lnTo>
                <a:lnTo>
                  <a:pt x="1900" y="77"/>
                </a:lnTo>
                <a:lnTo>
                  <a:pt x="1906" y="73"/>
                </a:lnTo>
                <a:lnTo>
                  <a:pt x="1911" y="68"/>
                </a:lnTo>
                <a:lnTo>
                  <a:pt x="1916" y="63"/>
                </a:lnTo>
                <a:lnTo>
                  <a:pt x="1922" y="57"/>
                </a:lnTo>
                <a:lnTo>
                  <a:pt x="1926" y="51"/>
                </a:lnTo>
                <a:lnTo>
                  <a:pt x="1930" y="44"/>
                </a:lnTo>
                <a:lnTo>
                  <a:pt x="1933" y="37"/>
                </a:lnTo>
                <a:lnTo>
                  <a:pt x="1940" y="20"/>
                </a:lnTo>
                <a:lnTo>
                  <a:pt x="1945" y="0"/>
                </a:lnTo>
                <a:lnTo>
                  <a:pt x="1958" y="0"/>
                </a:lnTo>
                <a:lnTo>
                  <a:pt x="1971" y="0"/>
                </a:lnTo>
                <a:lnTo>
                  <a:pt x="1984" y="0"/>
                </a:lnTo>
                <a:lnTo>
                  <a:pt x="1997" y="0"/>
                </a:lnTo>
                <a:lnTo>
                  <a:pt x="2005" y="31"/>
                </a:lnTo>
                <a:lnTo>
                  <a:pt x="2011" y="55"/>
                </a:lnTo>
                <a:lnTo>
                  <a:pt x="2013" y="64"/>
                </a:lnTo>
                <a:lnTo>
                  <a:pt x="2013" y="72"/>
                </a:lnTo>
                <a:lnTo>
                  <a:pt x="2011" y="78"/>
                </a:lnTo>
                <a:lnTo>
                  <a:pt x="2010" y="83"/>
                </a:lnTo>
                <a:lnTo>
                  <a:pt x="2006" y="89"/>
                </a:lnTo>
                <a:lnTo>
                  <a:pt x="2002" y="92"/>
                </a:lnTo>
                <a:lnTo>
                  <a:pt x="1997" y="96"/>
                </a:lnTo>
                <a:lnTo>
                  <a:pt x="1989" y="100"/>
                </a:lnTo>
                <a:lnTo>
                  <a:pt x="1970" y="108"/>
                </a:lnTo>
                <a:lnTo>
                  <a:pt x="1945" y="116"/>
                </a:lnTo>
                <a:lnTo>
                  <a:pt x="1944" y="134"/>
                </a:lnTo>
                <a:lnTo>
                  <a:pt x="1944" y="152"/>
                </a:lnTo>
                <a:lnTo>
                  <a:pt x="1943" y="171"/>
                </a:lnTo>
                <a:lnTo>
                  <a:pt x="1943" y="189"/>
                </a:lnTo>
                <a:lnTo>
                  <a:pt x="1980" y="206"/>
                </a:lnTo>
                <a:lnTo>
                  <a:pt x="2019" y="220"/>
                </a:lnTo>
                <a:lnTo>
                  <a:pt x="2037" y="229"/>
                </a:lnTo>
                <a:lnTo>
                  <a:pt x="2057" y="237"/>
                </a:lnTo>
                <a:lnTo>
                  <a:pt x="2075" y="246"/>
                </a:lnTo>
                <a:lnTo>
                  <a:pt x="2093" y="256"/>
                </a:lnTo>
                <a:lnTo>
                  <a:pt x="2099" y="288"/>
                </a:lnTo>
                <a:lnTo>
                  <a:pt x="2104" y="319"/>
                </a:lnTo>
                <a:lnTo>
                  <a:pt x="2109" y="350"/>
                </a:lnTo>
                <a:lnTo>
                  <a:pt x="2113" y="381"/>
                </a:lnTo>
                <a:lnTo>
                  <a:pt x="2116" y="414"/>
                </a:lnTo>
                <a:lnTo>
                  <a:pt x="2116" y="445"/>
                </a:lnTo>
                <a:lnTo>
                  <a:pt x="2114" y="461"/>
                </a:lnTo>
                <a:lnTo>
                  <a:pt x="2113" y="476"/>
                </a:lnTo>
                <a:lnTo>
                  <a:pt x="2112" y="493"/>
                </a:lnTo>
                <a:lnTo>
                  <a:pt x="2109" y="509"/>
                </a:lnTo>
                <a:lnTo>
                  <a:pt x="2113" y="514"/>
                </a:lnTo>
                <a:lnTo>
                  <a:pt x="2117" y="519"/>
                </a:lnTo>
                <a:lnTo>
                  <a:pt x="2122" y="524"/>
                </a:lnTo>
                <a:lnTo>
                  <a:pt x="2130" y="530"/>
                </a:lnTo>
                <a:lnTo>
                  <a:pt x="2152" y="544"/>
                </a:lnTo>
                <a:lnTo>
                  <a:pt x="2195" y="570"/>
                </a:lnTo>
                <a:lnTo>
                  <a:pt x="2192" y="597"/>
                </a:lnTo>
                <a:lnTo>
                  <a:pt x="2190" y="625"/>
                </a:lnTo>
                <a:lnTo>
                  <a:pt x="2186" y="652"/>
                </a:lnTo>
                <a:lnTo>
                  <a:pt x="2183" y="679"/>
                </a:lnTo>
                <a:lnTo>
                  <a:pt x="2173" y="684"/>
                </a:lnTo>
                <a:lnTo>
                  <a:pt x="2164" y="688"/>
                </a:lnTo>
                <a:lnTo>
                  <a:pt x="2153" y="694"/>
                </a:lnTo>
                <a:lnTo>
                  <a:pt x="2143" y="699"/>
                </a:lnTo>
                <a:lnTo>
                  <a:pt x="2142" y="708"/>
                </a:lnTo>
                <a:lnTo>
                  <a:pt x="2142" y="716"/>
                </a:lnTo>
                <a:lnTo>
                  <a:pt x="2142" y="723"/>
                </a:lnTo>
                <a:lnTo>
                  <a:pt x="2142" y="735"/>
                </a:lnTo>
                <a:lnTo>
                  <a:pt x="2147" y="772"/>
                </a:lnTo>
                <a:lnTo>
                  <a:pt x="2157" y="839"/>
                </a:lnTo>
                <a:lnTo>
                  <a:pt x="2164" y="844"/>
                </a:lnTo>
                <a:lnTo>
                  <a:pt x="2171" y="851"/>
                </a:lnTo>
                <a:lnTo>
                  <a:pt x="2177" y="857"/>
                </a:lnTo>
                <a:lnTo>
                  <a:pt x="2182" y="864"/>
                </a:lnTo>
                <a:lnTo>
                  <a:pt x="2186" y="872"/>
                </a:lnTo>
                <a:lnTo>
                  <a:pt x="2190" y="880"/>
                </a:lnTo>
                <a:lnTo>
                  <a:pt x="2192" y="887"/>
                </a:lnTo>
                <a:lnTo>
                  <a:pt x="2195" y="895"/>
                </a:lnTo>
                <a:lnTo>
                  <a:pt x="2198" y="912"/>
                </a:lnTo>
                <a:lnTo>
                  <a:pt x="2198" y="930"/>
                </a:lnTo>
                <a:lnTo>
                  <a:pt x="2195" y="948"/>
                </a:lnTo>
                <a:lnTo>
                  <a:pt x="2192" y="968"/>
                </a:lnTo>
                <a:lnTo>
                  <a:pt x="2187" y="988"/>
                </a:lnTo>
                <a:lnTo>
                  <a:pt x="2181" y="1006"/>
                </a:lnTo>
                <a:lnTo>
                  <a:pt x="2174" y="1025"/>
                </a:lnTo>
                <a:lnTo>
                  <a:pt x="2168" y="1043"/>
                </a:lnTo>
                <a:lnTo>
                  <a:pt x="2152" y="1079"/>
                </a:lnTo>
                <a:lnTo>
                  <a:pt x="2139" y="1108"/>
                </a:lnTo>
                <a:lnTo>
                  <a:pt x="2139" y="1129"/>
                </a:lnTo>
                <a:lnTo>
                  <a:pt x="2138" y="1146"/>
                </a:lnTo>
                <a:lnTo>
                  <a:pt x="2136" y="1162"/>
                </a:lnTo>
                <a:lnTo>
                  <a:pt x="2132" y="1176"/>
                </a:lnTo>
                <a:lnTo>
                  <a:pt x="2129" y="1190"/>
                </a:lnTo>
                <a:lnTo>
                  <a:pt x="2121" y="1205"/>
                </a:lnTo>
                <a:lnTo>
                  <a:pt x="2113" y="1220"/>
                </a:lnTo>
                <a:lnTo>
                  <a:pt x="2101" y="1237"/>
                </a:lnTo>
                <a:lnTo>
                  <a:pt x="2101" y="1276"/>
                </a:lnTo>
                <a:lnTo>
                  <a:pt x="2103" y="1315"/>
                </a:lnTo>
                <a:lnTo>
                  <a:pt x="2104" y="1354"/>
                </a:lnTo>
                <a:lnTo>
                  <a:pt x="2105" y="1393"/>
                </a:lnTo>
                <a:lnTo>
                  <a:pt x="2132" y="1412"/>
                </a:lnTo>
                <a:lnTo>
                  <a:pt x="2161" y="1427"/>
                </a:lnTo>
                <a:lnTo>
                  <a:pt x="2175" y="1435"/>
                </a:lnTo>
                <a:lnTo>
                  <a:pt x="2190" y="1440"/>
                </a:lnTo>
                <a:lnTo>
                  <a:pt x="2204" y="1445"/>
                </a:lnTo>
                <a:lnTo>
                  <a:pt x="2218" y="1448"/>
                </a:lnTo>
                <a:lnTo>
                  <a:pt x="2231" y="1448"/>
                </a:lnTo>
                <a:lnTo>
                  <a:pt x="2244" y="1445"/>
                </a:lnTo>
                <a:lnTo>
                  <a:pt x="2250" y="1444"/>
                </a:lnTo>
                <a:lnTo>
                  <a:pt x="2256" y="1442"/>
                </a:lnTo>
                <a:lnTo>
                  <a:pt x="2261" y="1438"/>
                </a:lnTo>
                <a:lnTo>
                  <a:pt x="2266" y="1434"/>
                </a:lnTo>
                <a:lnTo>
                  <a:pt x="2272" y="1429"/>
                </a:lnTo>
                <a:lnTo>
                  <a:pt x="2276" y="1422"/>
                </a:lnTo>
                <a:lnTo>
                  <a:pt x="2281" y="1416"/>
                </a:lnTo>
                <a:lnTo>
                  <a:pt x="2285" y="1408"/>
                </a:lnTo>
                <a:lnTo>
                  <a:pt x="2289" y="1399"/>
                </a:lnTo>
                <a:lnTo>
                  <a:pt x="2291" y="1389"/>
                </a:lnTo>
                <a:lnTo>
                  <a:pt x="2294" y="1378"/>
                </a:lnTo>
                <a:lnTo>
                  <a:pt x="2296" y="1366"/>
                </a:lnTo>
                <a:lnTo>
                  <a:pt x="2315" y="1371"/>
                </a:lnTo>
                <a:lnTo>
                  <a:pt x="2332" y="1376"/>
                </a:lnTo>
                <a:lnTo>
                  <a:pt x="2350" y="1382"/>
                </a:lnTo>
                <a:lnTo>
                  <a:pt x="2368" y="1387"/>
                </a:lnTo>
                <a:lnTo>
                  <a:pt x="2377" y="1382"/>
                </a:lnTo>
                <a:lnTo>
                  <a:pt x="2386" y="1378"/>
                </a:lnTo>
                <a:lnTo>
                  <a:pt x="2395" y="1375"/>
                </a:lnTo>
                <a:lnTo>
                  <a:pt x="2406" y="1371"/>
                </a:lnTo>
                <a:lnTo>
                  <a:pt x="2426" y="1367"/>
                </a:lnTo>
                <a:lnTo>
                  <a:pt x="2447" y="1365"/>
                </a:lnTo>
                <a:lnTo>
                  <a:pt x="2489" y="1363"/>
                </a:lnTo>
                <a:lnTo>
                  <a:pt x="2529" y="1361"/>
                </a:lnTo>
                <a:lnTo>
                  <a:pt x="2538" y="1348"/>
                </a:lnTo>
                <a:lnTo>
                  <a:pt x="2547" y="1335"/>
                </a:lnTo>
                <a:lnTo>
                  <a:pt x="2557" y="1322"/>
                </a:lnTo>
                <a:lnTo>
                  <a:pt x="2566" y="1310"/>
                </a:lnTo>
                <a:lnTo>
                  <a:pt x="2571" y="1318"/>
                </a:lnTo>
                <a:lnTo>
                  <a:pt x="2575" y="1324"/>
                </a:lnTo>
                <a:lnTo>
                  <a:pt x="2580" y="1331"/>
                </a:lnTo>
                <a:lnTo>
                  <a:pt x="2585" y="1336"/>
                </a:lnTo>
                <a:lnTo>
                  <a:pt x="2596" y="1347"/>
                </a:lnTo>
                <a:lnTo>
                  <a:pt x="2605" y="1356"/>
                </a:lnTo>
                <a:lnTo>
                  <a:pt x="2609" y="1360"/>
                </a:lnTo>
                <a:lnTo>
                  <a:pt x="2613" y="1365"/>
                </a:lnTo>
                <a:lnTo>
                  <a:pt x="2615" y="1370"/>
                </a:lnTo>
                <a:lnTo>
                  <a:pt x="2616" y="1376"/>
                </a:lnTo>
                <a:lnTo>
                  <a:pt x="2616" y="1383"/>
                </a:lnTo>
                <a:lnTo>
                  <a:pt x="2616" y="1391"/>
                </a:lnTo>
                <a:lnTo>
                  <a:pt x="2614" y="1400"/>
                </a:lnTo>
                <a:lnTo>
                  <a:pt x="2610" y="1410"/>
                </a:lnTo>
                <a:lnTo>
                  <a:pt x="2626" y="1409"/>
                </a:lnTo>
                <a:lnTo>
                  <a:pt x="2641" y="1406"/>
                </a:lnTo>
                <a:lnTo>
                  <a:pt x="2657" y="1400"/>
                </a:lnTo>
                <a:lnTo>
                  <a:pt x="2671" y="1393"/>
                </a:lnTo>
                <a:lnTo>
                  <a:pt x="2687" y="1384"/>
                </a:lnTo>
                <a:lnTo>
                  <a:pt x="2701" y="1374"/>
                </a:lnTo>
                <a:lnTo>
                  <a:pt x="2715" y="1362"/>
                </a:lnTo>
                <a:lnTo>
                  <a:pt x="2730" y="1349"/>
                </a:lnTo>
                <a:lnTo>
                  <a:pt x="2743" y="1336"/>
                </a:lnTo>
                <a:lnTo>
                  <a:pt x="2754" y="1322"/>
                </a:lnTo>
                <a:lnTo>
                  <a:pt x="2766" y="1306"/>
                </a:lnTo>
                <a:lnTo>
                  <a:pt x="2776" y="1292"/>
                </a:lnTo>
                <a:lnTo>
                  <a:pt x="2787" y="1276"/>
                </a:lnTo>
                <a:lnTo>
                  <a:pt x="2795" y="1262"/>
                </a:lnTo>
                <a:lnTo>
                  <a:pt x="2802" y="1248"/>
                </a:lnTo>
                <a:lnTo>
                  <a:pt x="2809" y="1233"/>
                </a:lnTo>
                <a:lnTo>
                  <a:pt x="2821" y="1229"/>
                </a:lnTo>
                <a:lnTo>
                  <a:pt x="2831" y="1226"/>
                </a:lnTo>
                <a:lnTo>
                  <a:pt x="2843" y="1222"/>
                </a:lnTo>
                <a:lnTo>
                  <a:pt x="2855" y="1218"/>
                </a:lnTo>
                <a:lnTo>
                  <a:pt x="2862" y="1197"/>
                </a:lnTo>
                <a:lnTo>
                  <a:pt x="2870" y="1177"/>
                </a:lnTo>
                <a:lnTo>
                  <a:pt x="2879" y="1158"/>
                </a:lnTo>
                <a:lnTo>
                  <a:pt x="2890" y="1138"/>
                </a:lnTo>
                <a:lnTo>
                  <a:pt x="2900" y="1120"/>
                </a:lnTo>
                <a:lnTo>
                  <a:pt x="2912" y="1103"/>
                </a:lnTo>
                <a:lnTo>
                  <a:pt x="2925" y="1088"/>
                </a:lnTo>
                <a:lnTo>
                  <a:pt x="2938" y="1072"/>
                </a:lnTo>
                <a:lnTo>
                  <a:pt x="2952" y="1058"/>
                </a:lnTo>
                <a:lnTo>
                  <a:pt x="2968" y="1046"/>
                </a:lnTo>
                <a:lnTo>
                  <a:pt x="2985" y="1034"/>
                </a:lnTo>
                <a:lnTo>
                  <a:pt x="3002" y="1025"/>
                </a:lnTo>
                <a:lnTo>
                  <a:pt x="3021" y="1016"/>
                </a:lnTo>
                <a:lnTo>
                  <a:pt x="3042" y="1010"/>
                </a:lnTo>
                <a:lnTo>
                  <a:pt x="3063" y="1006"/>
                </a:lnTo>
                <a:lnTo>
                  <a:pt x="3086" y="1003"/>
                </a:lnTo>
                <a:lnTo>
                  <a:pt x="3108" y="1008"/>
                </a:lnTo>
                <a:lnTo>
                  <a:pt x="3129" y="1015"/>
                </a:lnTo>
                <a:lnTo>
                  <a:pt x="3147" y="1023"/>
                </a:lnTo>
                <a:lnTo>
                  <a:pt x="3164" y="1029"/>
                </a:lnTo>
                <a:lnTo>
                  <a:pt x="3181" y="1038"/>
                </a:lnTo>
                <a:lnTo>
                  <a:pt x="3195" y="1046"/>
                </a:lnTo>
                <a:lnTo>
                  <a:pt x="3208" y="1056"/>
                </a:lnTo>
                <a:lnTo>
                  <a:pt x="3220" y="1067"/>
                </a:lnTo>
                <a:lnTo>
                  <a:pt x="3231" y="1077"/>
                </a:lnTo>
                <a:lnTo>
                  <a:pt x="3241" y="1090"/>
                </a:lnTo>
                <a:lnTo>
                  <a:pt x="3250" y="1105"/>
                </a:lnTo>
                <a:lnTo>
                  <a:pt x="3259" y="1119"/>
                </a:lnTo>
                <a:lnTo>
                  <a:pt x="3267" y="1136"/>
                </a:lnTo>
                <a:lnTo>
                  <a:pt x="3275" y="1154"/>
                </a:lnTo>
                <a:lnTo>
                  <a:pt x="3283" y="1174"/>
                </a:lnTo>
                <a:lnTo>
                  <a:pt x="3289" y="1194"/>
                </a:lnTo>
                <a:lnTo>
                  <a:pt x="3310" y="1205"/>
                </a:lnTo>
                <a:lnTo>
                  <a:pt x="3331" y="1213"/>
                </a:lnTo>
                <a:lnTo>
                  <a:pt x="3353" y="1219"/>
                </a:lnTo>
                <a:lnTo>
                  <a:pt x="3375" y="1223"/>
                </a:lnTo>
                <a:lnTo>
                  <a:pt x="3385" y="1224"/>
                </a:lnTo>
                <a:lnTo>
                  <a:pt x="3396" y="1224"/>
                </a:lnTo>
                <a:lnTo>
                  <a:pt x="3407" y="1224"/>
                </a:lnTo>
                <a:lnTo>
                  <a:pt x="3418" y="1223"/>
                </a:lnTo>
                <a:lnTo>
                  <a:pt x="3428" y="1220"/>
                </a:lnTo>
                <a:lnTo>
                  <a:pt x="3440" y="1218"/>
                </a:lnTo>
                <a:lnTo>
                  <a:pt x="3450" y="1214"/>
                </a:lnTo>
                <a:lnTo>
                  <a:pt x="3461" y="1209"/>
                </a:lnTo>
                <a:lnTo>
                  <a:pt x="3474" y="1215"/>
                </a:lnTo>
                <a:lnTo>
                  <a:pt x="3488" y="1222"/>
                </a:lnTo>
                <a:lnTo>
                  <a:pt x="3502" y="1228"/>
                </a:lnTo>
                <a:lnTo>
                  <a:pt x="3517" y="1236"/>
                </a:lnTo>
                <a:lnTo>
                  <a:pt x="3518" y="1253"/>
                </a:lnTo>
                <a:lnTo>
                  <a:pt x="3519" y="1271"/>
                </a:lnTo>
                <a:lnTo>
                  <a:pt x="3522" y="1289"/>
                </a:lnTo>
                <a:lnTo>
                  <a:pt x="3525" y="1309"/>
                </a:lnTo>
                <a:lnTo>
                  <a:pt x="3532" y="1327"/>
                </a:lnTo>
                <a:lnTo>
                  <a:pt x="3538" y="1341"/>
                </a:lnTo>
                <a:lnTo>
                  <a:pt x="3540" y="1354"/>
                </a:lnTo>
                <a:lnTo>
                  <a:pt x="3541" y="1366"/>
                </a:lnTo>
                <a:lnTo>
                  <a:pt x="3541" y="1389"/>
                </a:lnTo>
                <a:lnTo>
                  <a:pt x="3539" y="1423"/>
                </a:lnTo>
                <a:lnTo>
                  <a:pt x="3554" y="1432"/>
                </a:lnTo>
                <a:lnTo>
                  <a:pt x="3570" y="1442"/>
                </a:lnTo>
                <a:lnTo>
                  <a:pt x="3570" y="1464"/>
                </a:lnTo>
                <a:lnTo>
                  <a:pt x="3571" y="1487"/>
                </a:lnTo>
                <a:lnTo>
                  <a:pt x="3573" y="1510"/>
                </a:lnTo>
                <a:lnTo>
                  <a:pt x="3574" y="1534"/>
                </a:lnTo>
                <a:lnTo>
                  <a:pt x="3558" y="1534"/>
                </a:lnTo>
                <a:lnTo>
                  <a:pt x="3544" y="1534"/>
                </a:lnTo>
                <a:lnTo>
                  <a:pt x="3528" y="1534"/>
                </a:lnTo>
                <a:lnTo>
                  <a:pt x="3514" y="1534"/>
                </a:lnTo>
                <a:lnTo>
                  <a:pt x="3502" y="1520"/>
                </a:lnTo>
                <a:lnTo>
                  <a:pt x="3492" y="1504"/>
                </a:lnTo>
                <a:lnTo>
                  <a:pt x="3461" y="1504"/>
                </a:lnTo>
                <a:lnTo>
                  <a:pt x="3440" y="1504"/>
                </a:lnTo>
                <a:lnTo>
                  <a:pt x="3420" y="1507"/>
                </a:lnTo>
                <a:lnTo>
                  <a:pt x="3393" y="1512"/>
                </a:lnTo>
                <a:lnTo>
                  <a:pt x="3392" y="1534"/>
                </a:lnTo>
                <a:lnTo>
                  <a:pt x="3394" y="1549"/>
                </a:lnTo>
                <a:lnTo>
                  <a:pt x="3396" y="1564"/>
                </a:lnTo>
                <a:lnTo>
                  <a:pt x="3397" y="1578"/>
                </a:lnTo>
                <a:lnTo>
                  <a:pt x="3391" y="1590"/>
                </a:lnTo>
                <a:lnTo>
                  <a:pt x="3384" y="1603"/>
                </a:lnTo>
                <a:lnTo>
                  <a:pt x="3378" y="1618"/>
                </a:lnTo>
                <a:lnTo>
                  <a:pt x="3372" y="1635"/>
                </a:lnTo>
                <a:lnTo>
                  <a:pt x="3367" y="1654"/>
                </a:lnTo>
                <a:lnTo>
                  <a:pt x="3363" y="1673"/>
                </a:lnTo>
                <a:lnTo>
                  <a:pt x="3359" y="1693"/>
                </a:lnTo>
                <a:lnTo>
                  <a:pt x="3358" y="1712"/>
                </a:lnTo>
                <a:lnTo>
                  <a:pt x="3357" y="1733"/>
                </a:lnTo>
                <a:lnTo>
                  <a:pt x="3355" y="1752"/>
                </a:lnTo>
                <a:lnTo>
                  <a:pt x="3357" y="1771"/>
                </a:lnTo>
                <a:lnTo>
                  <a:pt x="3358" y="1789"/>
                </a:lnTo>
                <a:lnTo>
                  <a:pt x="3362" y="1806"/>
                </a:lnTo>
                <a:lnTo>
                  <a:pt x="3366" y="1821"/>
                </a:lnTo>
                <a:lnTo>
                  <a:pt x="3372" y="1836"/>
                </a:lnTo>
                <a:lnTo>
                  <a:pt x="3380" y="1847"/>
                </a:lnTo>
                <a:lnTo>
                  <a:pt x="3394" y="1849"/>
                </a:lnTo>
                <a:lnTo>
                  <a:pt x="3409" y="1850"/>
                </a:lnTo>
                <a:lnTo>
                  <a:pt x="3424" y="1851"/>
                </a:lnTo>
                <a:lnTo>
                  <a:pt x="3440" y="1853"/>
                </a:lnTo>
                <a:lnTo>
                  <a:pt x="3432" y="1879"/>
                </a:lnTo>
                <a:lnTo>
                  <a:pt x="3426" y="1905"/>
                </a:lnTo>
                <a:lnTo>
                  <a:pt x="3420" y="1931"/>
                </a:lnTo>
                <a:lnTo>
                  <a:pt x="3414" y="1957"/>
                </a:lnTo>
                <a:lnTo>
                  <a:pt x="3383" y="1963"/>
                </a:lnTo>
                <a:lnTo>
                  <a:pt x="3354" y="1972"/>
                </a:lnTo>
                <a:lnTo>
                  <a:pt x="3327" y="1983"/>
                </a:lnTo>
                <a:lnTo>
                  <a:pt x="3297" y="1997"/>
                </a:lnTo>
                <a:lnTo>
                  <a:pt x="3280" y="1992"/>
                </a:lnTo>
                <a:lnTo>
                  <a:pt x="3263" y="1985"/>
                </a:lnTo>
                <a:lnTo>
                  <a:pt x="3246" y="1980"/>
                </a:lnTo>
                <a:lnTo>
                  <a:pt x="3229" y="1974"/>
                </a:lnTo>
                <a:lnTo>
                  <a:pt x="3233" y="1968"/>
                </a:lnTo>
                <a:lnTo>
                  <a:pt x="3237" y="1962"/>
                </a:lnTo>
                <a:lnTo>
                  <a:pt x="3238" y="1957"/>
                </a:lnTo>
                <a:lnTo>
                  <a:pt x="3240" y="1951"/>
                </a:lnTo>
                <a:lnTo>
                  <a:pt x="3240" y="1946"/>
                </a:lnTo>
                <a:lnTo>
                  <a:pt x="3240" y="1942"/>
                </a:lnTo>
                <a:lnTo>
                  <a:pt x="3240" y="1937"/>
                </a:lnTo>
                <a:lnTo>
                  <a:pt x="3238" y="1933"/>
                </a:lnTo>
                <a:lnTo>
                  <a:pt x="3233" y="1925"/>
                </a:lnTo>
                <a:lnTo>
                  <a:pt x="3227" y="1919"/>
                </a:lnTo>
                <a:lnTo>
                  <a:pt x="3219" y="1914"/>
                </a:lnTo>
                <a:lnTo>
                  <a:pt x="3208" y="1910"/>
                </a:lnTo>
                <a:lnTo>
                  <a:pt x="3198" y="1907"/>
                </a:lnTo>
                <a:lnTo>
                  <a:pt x="3186" y="1906"/>
                </a:lnTo>
                <a:lnTo>
                  <a:pt x="3175" y="1905"/>
                </a:lnTo>
                <a:lnTo>
                  <a:pt x="3163" y="1906"/>
                </a:lnTo>
                <a:lnTo>
                  <a:pt x="3151" y="1910"/>
                </a:lnTo>
                <a:lnTo>
                  <a:pt x="3139" y="1914"/>
                </a:lnTo>
                <a:lnTo>
                  <a:pt x="3129" y="1920"/>
                </a:lnTo>
                <a:lnTo>
                  <a:pt x="3120" y="1928"/>
                </a:lnTo>
                <a:lnTo>
                  <a:pt x="3106" y="1933"/>
                </a:lnTo>
                <a:lnTo>
                  <a:pt x="3091" y="1940"/>
                </a:lnTo>
                <a:lnTo>
                  <a:pt x="3078" y="1946"/>
                </a:lnTo>
                <a:lnTo>
                  <a:pt x="3064" y="1953"/>
                </a:lnTo>
                <a:lnTo>
                  <a:pt x="3054" y="1979"/>
                </a:lnTo>
                <a:lnTo>
                  <a:pt x="3042" y="2001"/>
                </a:lnTo>
                <a:lnTo>
                  <a:pt x="3030" y="2020"/>
                </a:lnTo>
                <a:lnTo>
                  <a:pt x="3017" y="2037"/>
                </a:lnTo>
                <a:lnTo>
                  <a:pt x="3003" y="2050"/>
                </a:lnTo>
                <a:lnTo>
                  <a:pt x="2987" y="2062"/>
                </a:lnTo>
                <a:lnTo>
                  <a:pt x="2972" y="2071"/>
                </a:lnTo>
                <a:lnTo>
                  <a:pt x="2955" y="2079"/>
                </a:lnTo>
                <a:lnTo>
                  <a:pt x="2935" y="2085"/>
                </a:lnTo>
                <a:lnTo>
                  <a:pt x="2916" y="2089"/>
                </a:lnTo>
                <a:lnTo>
                  <a:pt x="2895" y="2093"/>
                </a:lnTo>
                <a:lnTo>
                  <a:pt x="2873" y="2096"/>
                </a:lnTo>
                <a:lnTo>
                  <a:pt x="2822" y="2100"/>
                </a:lnTo>
                <a:lnTo>
                  <a:pt x="2766" y="2105"/>
                </a:lnTo>
                <a:lnTo>
                  <a:pt x="2760" y="2101"/>
                </a:lnTo>
                <a:lnTo>
                  <a:pt x="2753" y="2097"/>
                </a:lnTo>
                <a:lnTo>
                  <a:pt x="2747" y="2093"/>
                </a:lnTo>
                <a:lnTo>
                  <a:pt x="2741" y="2089"/>
                </a:lnTo>
                <a:lnTo>
                  <a:pt x="2732" y="2078"/>
                </a:lnTo>
                <a:lnTo>
                  <a:pt x="2726" y="2066"/>
                </a:lnTo>
                <a:lnTo>
                  <a:pt x="2714" y="2039"/>
                </a:lnTo>
                <a:lnTo>
                  <a:pt x="2702" y="2010"/>
                </a:lnTo>
                <a:lnTo>
                  <a:pt x="2693" y="2011"/>
                </a:lnTo>
                <a:lnTo>
                  <a:pt x="2685" y="2013"/>
                </a:lnTo>
                <a:lnTo>
                  <a:pt x="2678" y="2014"/>
                </a:lnTo>
                <a:lnTo>
                  <a:pt x="2672" y="2018"/>
                </a:lnTo>
                <a:lnTo>
                  <a:pt x="2667" y="2022"/>
                </a:lnTo>
                <a:lnTo>
                  <a:pt x="2662" y="2028"/>
                </a:lnTo>
                <a:lnTo>
                  <a:pt x="2659" y="2036"/>
                </a:lnTo>
                <a:lnTo>
                  <a:pt x="2657" y="2045"/>
                </a:lnTo>
                <a:lnTo>
                  <a:pt x="2628" y="2037"/>
                </a:lnTo>
                <a:lnTo>
                  <a:pt x="2602" y="2032"/>
                </a:lnTo>
                <a:lnTo>
                  <a:pt x="2576" y="2028"/>
                </a:lnTo>
                <a:lnTo>
                  <a:pt x="2547" y="2026"/>
                </a:lnTo>
                <a:lnTo>
                  <a:pt x="2541" y="2009"/>
                </a:lnTo>
                <a:lnTo>
                  <a:pt x="2536" y="1993"/>
                </a:lnTo>
                <a:lnTo>
                  <a:pt x="2520" y="1993"/>
                </a:lnTo>
                <a:lnTo>
                  <a:pt x="2508" y="1993"/>
                </a:lnTo>
                <a:lnTo>
                  <a:pt x="2498" y="1996"/>
                </a:lnTo>
                <a:lnTo>
                  <a:pt x="2484" y="2001"/>
                </a:lnTo>
                <a:lnTo>
                  <a:pt x="2480" y="2009"/>
                </a:lnTo>
                <a:lnTo>
                  <a:pt x="2476" y="2017"/>
                </a:lnTo>
                <a:lnTo>
                  <a:pt x="2471" y="2023"/>
                </a:lnTo>
                <a:lnTo>
                  <a:pt x="2466" y="2030"/>
                </a:lnTo>
                <a:lnTo>
                  <a:pt x="2454" y="2040"/>
                </a:lnTo>
                <a:lnTo>
                  <a:pt x="2439" y="2049"/>
                </a:lnTo>
                <a:lnTo>
                  <a:pt x="2425" y="2057"/>
                </a:lnTo>
                <a:lnTo>
                  <a:pt x="2410" y="2062"/>
                </a:lnTo>
                <a:lnTo>
                  <a:pt x="2393" y="2065"/>
                </a:lnTo>
                <a:lnTo>
                  <a:pt x="2376" y="2066"/>
                </a:lnTo>
                <a:lnTo>
                  <a:pt x="2359" y="2066"/>
                </a:lnTo>
                <a:lnTo>
                  <a:pt x="2341" y="2063"/>
                </a:lnTo>
                <a:lnTo>
                  <a:pt x="2324" y="2061"/>
                </a:lnTo>
                <a:lnTo>
                  <a:pt x="2307" y="2056"/>
                </a:lnTo>
                <a:lnTo>
                  <a:pt x="2290" y="2049"/>
                </a:lnTo>
                <a:lnTo>
                  <a:pt x="2274" y="2041"/>
                </a:lnTo>
                <a:lnTo>
                  <a:pt x="2260" y="2032"/>
                </a:lnTo>
                <a:lnTo>
                  <a:pt x="2247" y="2022"/>
                </a:lnTo>
                <a:lnTo>
                  <a:pt x="2231" y="2022"/>
                </a:lnTo>
                <a:lnTo>
                  <a:pt x="2216" y="2024"/>
                </a:lnTo>
                <a:lnTo>
                  <a:pt x="2207" y="2044"/>
                </a:lnTo>
                <a:lnTo>
                  <a:pt x="2201" y="2059"/>
                </a:lnTo>
                <a:lnTo>
                  <a:pt x="2198" y="2076"/>
                </a:lnTo>
                <a:lnTo>
                  <a:pt x="2195" y="2097"/>
                </a:lnTo>
                <a:lnTo>
                  <a:pt x="2182" y="2095"/>
                </a:lnTo>
                <a:lnTo>
                  <a:pt x="2169" y="2091"/>
                </a:lnTo>
                <a:lnTo>
                  <a:pt x="2156" y="2088"/>
                </a:lnTo>
                <a:lnTo>
                  <a:pt x="2143" y="2085"/>
                </a:lnTo>
                <a:lnTo>
                  <a:pt x="2092" y="2124"/>
                </a:lnTo>
                <a:lnTo>
                  <a:pt x="2053" y="2152"/>
                </a:lnTo>
                <a:lnTo>
                  <a:pt x="2047" y="2160"/>
                </a:lnTo>
                <a:lnTo>
                  <a:pt x="2040" y="2167"/>
                </a:lnTo>
                <a:lnTo>
                  <a:pt x="2036" y="2178"/>
                </a:lnTo>
                <a:lnTo>
                  <a:pt x="2032" y="2188"/>
                </a:lnTo>
                <a:lnTo>
                  <a:pt x="2028" y="2201"/>
                </a:lnTo>
                <a:lnTo>
                  <a:pt x="2027" y="2216"/>
                </a:lnTo>
                <a:lnTo>
                  <a:pt x="2027" y="2231"/>
                </a:lnTo>
                <a:lnTo>
                  <a:pt x="2027" y="2251"/>
                </a:lnTo>
                <a:lnTo>
                  <a:pt x="2043" y="2258"/>
                </a:lnTo>
                <a:lnTo>
                  <a:pt x="2057" y="2265"/>
                </a:lnTo>
                <a:lnTo>
                  <a:pt x="2071" y="2273"/>
                </a:lnTo>
                <a:lnTo>
                  <a:pt x="2087" y="2282"/>
                </a:lnTo>
                <a:lnTo>
                  <a:pt x="2093" y="2298"/>
                </a:lnTo>
                <a:lnTo>
                  <a:pt x="2100" y="2312"/>
                </a:lnTo>
                <a:lnTo>
                  <a:pt x="2105" y="2318"/>
                </a:lnTo>
                <a:lnTo>
                  <a:pt x="2110" y="2324"/>
                </a:lnTo>
                <a:lnTo>
                  <a:pt x="2116" y="2329"/>
                </a:lnTo>
                <a:lnTo>
                  <a:pt x="2123" y="2334"/>
                </a:lnTo>
                <a:lnTo>
                  <a:pt x="2122" y="2346"/>
                </a:lnTo>
                <a:lnTo>
                  <a:pt x="2119" y="2357"/>
                </a:lnTo>
                <a:lnTo>
                  <a:pt x="2117" y="2369"/>
                </a:lnTo>
                <a:lnTo>
                  <a:pt x="2113" y="2379"/>
                </a:lnTo>
                <a:lnTo>
                  <a:pt x="2105" y="2398"/>
                </a:lnTo>
                <a:lnTo>
                  <a:pt x="2096" y="2417"/>
                </a:lnTo>
                <a:lnTo>
                  <a:pt x="2088" y="2435"/>
                </a:lnTo>
                <a:lnTo>
                  <a:pt x="2082" y="2455"/>
                </a:lnTo>
                <a:lnTo>
                  <a:pt x="2079" y="2465"/>
                </a:lnTo>
                <a:lnTo>
                  <a:pt x="2078" y="2477"/>
                </a:lnTo>
                <a:lnTo>
                  <a:pt x="2078" y="2490"/>
                </a:lnTo>
                <a:lnTo>
                  <a:pt x="2078" y="2503"/>
                </a:lnTo>
                <a:lnTo>
                  <a:pt x="2082" y="2511"/>
                </a:lnTo>
                <a:lnTo>
                  <a:pt x="2086" y="2519"/>
                </a:lnTo>
                <a:lnTo>
                  <a:pt x="2088" y="2526"/>
                </a:lnTo>
                <a:lnTo>
                  <a:pt x="2091" y="2536"/>
                </a:lnTo>
                <a:lnTo>
                  <a:pt x="2093" y="2552"/>
                </a:lnTo>
                <a:lnTo>
                  <a:pt x="2095" y="2572"/>
                </a:lnTo>
                <a:lnTo>
                  <a:pt x="2086" y="2615"/>
                </a:lnTo>
                <a:lnTo>
                  <a:pt x="2079" y="2658"/>
                </a:lnTo>
                <a:lnTo>
                  <a:pt x="2074" y="2701"/>
                </a:lnTo>
                <a:lnTo>
                  <a:pt x="2069" y="2742"/>
                </a:lnTo>
                <a:lnTo>
                  <a:pt x="2064" y="2784"/>
                </a:lnTo>
                <a:lnTo>
                  <a:pt x="2056" y="2824"/>
                </a:lnTo>
                <a:lnTo>
                  <a:pt x="2051" y="2845"/>
                </a:lnTo>
                <a:lnTo>
                  <a:pt x="2044" y="2866"/>
                </a:lnTo>
                <a:lnTo>
                  <a:pt x="2036" y="2886"/>
                </a:lnTo>
                <a:lnTo>
                  <a:pt x="2027" y="2906"/>
                </a:lnTo>
                <a:lnTo>
                  <a:pt x="1997" y="2948"/>
                </a:lnTo>
                <a:lnTo>
                  <a:pt x="1961" y="2996"/>
                </a:lnTo>
                <a:lnTo>
                  <a:pt x="1941" y="3021"/>
                </a:lnTo>
                <a:lnTo>
                  <a:pt x="1922" y="3043"/>
                </a:lnTo>
                <a:lnTo>
                  <a:pt x="1911" y="3053"/>
                </a:lnTo>
                <a:lnTo>
                  <a:pt x="1901" y="3062"/>
                </a:lnTo>
                <a:lnTo>
                  <a:pt x="1892" y="3070"/>
                </a:lnTo>
                <a:lnTo>
                  <a:pt x="1881" y="3078"/>
                </a:lnTo>
                <a:lnTo>
                  <a:pt x="1881" y="3083"/>
                </a:lnTo>
                <a:lnTo>
                  <a:pt x="1881" y="3091"/>
                </a:lnTo>
                <a:lnTo>
                  <a:pt x="1876" y="3092"/>
                </a:lnTo>
                <a:lnTo>
                  <a:pt x="1870" y="3095"/>
                </a:lnTo>
                <a:lnTo>
                  <a:pt x="1864" y="3099"/>
                </a:lnTo>
                <a:lnTo>
                  <a:pt x="1858" y="3103"/>
                </a:lnTo>
                <a:lnTo>
                  <a:pt x="1846" y="3112"/>
                </a:lnTo>
                <a:lnTo>
                  <a:pt x="1836" y="3124"/>
                </a:lnTo>
                <a:lnTo>
                  <a:pt x="1824" y="3138"/>
                </a:lnTo>
                <a:lnTo>
                  <a:pt x="1812" y="3154"/>
                </a:lnTo>
                <a:lnTo>
                  <a:pt x="1802" y="3169"/>
                </a:lnTo>
                <a:lnTo>
                  <a:pt x="1790" y="3187"/>
                </a:lnTo>
                <a:lnTo>
                  <a:pt x="1771" y="3222"/>
                </a:lnTo>
                <a:lnTo>
                  <a:pt x="1753" y="3256"/>
                </a:lnTo>
                <a:lnTo>
                  <a:pt x="1736" y="3286"/>
                </a:lnTo>
                <a:lnTo>
                  <a:pt x="1721" y="3308"/>
                </a:lnTo>
                <a:lnTo>
                  <a:pt x="1707" y="3317"/>
                </a:lnTo>
                <a:lnTo>
                  <a:pt x="1693" y="3328"/>
                </a:lnTo>
                <a:lnTo>
                  <a:pt x="1680" y="3338"/>
                </a:lnTo>
                <a:lnTo>
                  <a:pt x="1667" y="3349"/>
                </a:lnTo>
                <a:lnTo>
                  <a:pt x="1642" y="3372"/>
                </a:lnTo>
                <a:lnTo>
                  <a:pt x="1619" y="3397"/>
                </a:lnTo>
                <a:lnTo>
                  <a:pt x="1595" y="3423"/>
                </a:lnTo>
                <a:lnTo>
                  <a:pt x="1573" y="3449"/>
                </a:lnTo>
                <a:lnTo>
                  <a:pt x="1548" y="3475"/>
                </a:lnTo>
                <a:lnTo>
                  <a:pt x="1524" y="3500"/>
                </a:lnTo>
                <a:lnTo>
                  <a:pt x="1492" y="3506"/>
                </a:lnTo>
                <a:lnTo>
                  <a:pt x="1461" y="3513"/>
                </a:lnTo>
                <a:lnTo>
                  <a:pt x="1431" y="3519"/>
                </a:lnTo>
                <a:lnTo>
                  <a:pt x="1400" y="3526"/>
                </a:lnTo>
                <a:lnTo>
                  <a:pt x="1369" y="3532"/>
                </a:lnTo>
                <a:lnTo>
                  <a:pt x="1338" y="3539"/>
                </a:lnTo>
                <a:lnTo>
                  <a:pt x="1306" y="3545"/>
                </a:lnTo>
                <a:lnTo>
                  <a:pt x="1275" y="3550"/>
                </a:lnTo>
                <a:lnTo>
                  <a:pt x="1275" y="3563"/>
                </a:lnTo>
                <a:lnTo>
                  <a:pt x="1276" y="3576"/>
                </a:lnTo>
                <a:lnTo>
                  <a:pt x="1276" y="3589"/>
                </a:lnTo>
                <a:lnTo>
                  <a:pt x="1278" y="3602"/>
                </a:lnTo>
                <a:lnTo>
                  <a:pt x="1313" y="3619"/>
                </a:lnTo>
                <a:lnTo>
                  <a:pt x="1348" y="3635"/>
                </a:lnTo>
                <a:lnTo>
                  <a:pt x="1383" y="3648"/>
                </a:lnTo>
                <a:lnTo>
                  <a:pt x="1420" y="3658"/>
                </a:lnTo>
                <a:lnTo>
                  <a:pt x="1414" y="3674"/>
                </a:lnTo>
                <a:lnTo>
                  <a:pt x="1409" y="3687"/>
                </a:lnTo>
                <a:lnTo>
                  <a:pt x="1403" y="3697"/>
                </a:lnTo>
                <a:lnTo>
                  <a:pt x="1395" y="3706"/>
                </a:lnTo>
                <a:lnTo>
                  <a:pt x="1386" y="3714"/>
                </a:lnTo>
                <a:lnTo>
                  <a:pt x="1375" y="3722"/>
                </a:lnTo>
                <a:lnTo>
                  <a:pt x="1364" y="3727"/>
                </a:lnTo>
                <a:lnTo>
                  <a:pt x="1349" y="3731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46" name="Freeform 11"/>
          <p:cNvSpPr>
            <a:spLocks/>
          </p:cNvSpPr>
          <p:nvPr/>
        </p:nvSpPr>
        <p:spPr bwMode="auto">
          <a:xfrm>
            <a:off x="6291263" y="4052888"/>
            <a:ext cx="1042987" cy="763587"/>
          </a:xfrm>
          <a:custGeom>
            <a:avLst/>
            <a:gdLst>
              <a:gd name="T0" fmla="*/ 2147483647 w 2629"/>
              <a:gd name="T1" fmla="*/ 2147483647 h 1922"/>
              <a:gd name="T2" fmla="*/ 2147483647 w 2629"/>
              <a:gd name="T3" fmla="*/ 2147483647 h 1922"/>
              <a:gd name="T4" fmla="*/ 2147483647 w 2629"/>
              <a:gd name="T5" fmla="*/ 2147483647 h 1922"/>
              <a:gd name="T6" fmla="*/ 2147483647 w 2629"/>
              <a:gd name="T7" fmla="*/ 2147483647 h 1922"/>
              <a:gd name="T8" fmla="*/ 2147483647 w 2629"/>
              <a:gd name="T9" fmla="*/ 2147483647 h 1922"/>
              <a:gd name="T10" fmla="*/ 2147483647 w 2629"/>
              <a:gd name="T11" fmla="*/ 2147483647 h 1922"/>
              <a:gd name="T12" fmla="*/ 2147483647 w 2629"/>
              <a:gd name="T13" fmla="*/ 2147483647 h 1922"/>
              <a:gd name="T14" fmla="*/ 2147483647 w 2629"/>
              <a:gd name="T15" fmla="*/ 2147483647 h 1922"/>
              <a:gd name="T16" fmla="*/ 2147483647 w 2629"/>
              <a:gd name="T17" fmla="*/ 2147483647 h 1922"/>
              <a:gd name="T18" fmla="*/ 2147483647 w 2629"/>
              <a:gd name="T19" fmla="*/ 2147483647 h 1922"/>
              <a:gd name="T20" fmla="*/ 2147483647 w 2629"/>
              <a:gd name="T21" fmla="*/ 2147483647 h 1922"/>
              <a:gd name="T22" fmla="*/ 2147483647 w 2629"/>
              <a:gd name="T23" fmla="*/ 2147483647 h 1922"/>
              <a:gd name="T24" fmla="*/ 2147483647 w 2629"/>
              <a:gd name="T25" fmla="*/ 2147483647 h 1922"/>
              <a:gd name="T26" fmla="*/ 2147483647 w 2629"/>
              <a:gd name="T27" fmla="*/ 2147483647 h 1922"/>
              <a:gd name="T28" fmla="*/ 2147483647 w 2629"/>
              <a:gd name="T29" fmla="*/ 2147483647 h 1922"/>
              <a:gd name="T30" fmla="*/ 2147483647 w 2629"/>
              <a:gd name="T31" fmla="*/ 2147483647 h 1922"/>
              <a:gd name="T32" fmla="*/ 2147483647 w 2629"/>
              <a:gd name="T33" fmla="*/ 2147483647 h 1922"/>
              <a:gd name="T34" fmla="*/ 2147483647 w 2629"/>
              <a:gd name="T35" fmla="*/ 2147483647 h 1922"/>
              <a:gd name="T36" fmla="*/ 2147483647 w 2629"/>
              <a:gd name="T37" fmla="*/ 2147483647 h 1922"/>
              <a:gd name="T38" fmla="*/ 2147483647 w 2629"/>
              <a:gd name="T39" fmla="*/ 2147483647 h 1922"/>
              <a:gd name="T40" fmla="*/ 2147483647 w 2629"/>
              <a:gd name="T41" fmla="*/ 2147483647 h 1922"/>
              <a:gd name="T42" fmla="*/ 2147483647 w 2629"/>
              <a:gd name="T43" fmla="*/ 2147483647 h 1922"/>
              <a:gd name="T44" fmla="*/ 2147483647 w 2629"/>
              <a:gd name="T45" fmla="*/ 2147483647 h 1922"/>
              <a:gd name="T46" fmla="*/ 2147483647 w 2629"/>
              <a:gd name="T47" fmla="*/ 2147483647 h 1922"/>
              <a:gd name="T48" fmla="*/ 2147483647 w 2629"/>
              <a:gd name="T49" fmla="*/ 2147483647 h 1922"/>
              <a:gd name="T50" fmla="*/ 2147483647 w 2629"/>
              <a:gd name="T51" fmla="*/ 2147483647 h 1922"/>
              <a:gd name="T52" fmla="*/ 2147483647 w 2629"/>
              <a:gd name="T53" fmla="*/ 2147483647 h 1922"/>
              <a:gd name="T54" fmla="*/ 2147483647 w 2629"/>
              <a:gd name="T55" fmla="*/ 2147483647 h 1922"/>
              <a:gd name="T56" fmla="*/ 2147483647 w 2629"/>
              <a:gd name="T57" fmla="*/ 2147483647 h 1922"/>
              <a:gd name="T58" fmla="*/ 2147483647 w 2629"/>
              <a:gd name="T59" fmla="*/ 2147483647 h 1922"/>
              <a:gd name="T60" fmla="*/ 2147483647 w 2629"/>
              <a:gd name="T61" fmla="*/ 2147483647 h 1922"/>
              <a:gd name="T62" fmla="*/ 2147483647 w 2629"/>
              <a:gd name="T63" fmla="*/ 2147483647 h 1922"/>
              <a:gd name="T64" fmla="*/ 2147483647 w 2629"/>
              <a:gd name="T65" fmla="*/ 2147483647 h 1922"/>
              <a:gd name="T66" fmla="*/ 2147483647 w 2629"/>
              <a:gd name="T67" fmla="*/ 2147483647 h 1922"/>
              <a:gd name="T68" fmla="*/ 2147483647 w 2629"/>
              <a:gd name="T69" fmla="*/ 2147483647 h 1922"/>
              <a:gd name="T70" fmla="*/ 2147483647 w 2629"/>
              <a:gd name="T71" fmla="*/ 2147483647 h 1922"/>
              <a:gd name="T72" fmla="*/ 2147483647 w 2629"/>
              <a:gd name="T73" fmla="*/ 2147483647 h 1922"/>
              <a:gd name="T74" fmla="*/ 2147483647 w 2629"/>
              <a:gd name="T75" fmla="*/ 2147483647 h 1922"/>
              <a:gd name="T76" fmla="*/ 2147483647 w 2629"/>
              <a:gd name="T77" fmla="*/ 2147483647 h 1922"/>
              <a:gd name="T78" fmla="*/ 2147483647 w 2629"/>
              <a:gd name="T79" fmla="*/ 2147483647 h 1922"/>
              <a:gd name="T80" fmla="*/ 2147483647 w 2629"/>
              <a:gd name="T81" fmla="*/ 2147483647 h 1922"/>
              <a:gd name="T82" fmla="*/ 2147483647 w 2629"/>
              <a:gd name="T83" fmla="*/ 2147483647 h 1922"/>
              <a:gd name="T84" fmla="*/ 2147483647 w 2629"/>
              <a:gd name="T85" fmla="*/ 2147483647 h 1922"/>
              <a:gd name="T86" fmla="*/ 2147483647 w 2629"/>
              <a:gd name="T87" fmla="*/ 2147483647 h 1922"/>
              <a:gd name="T88" fmla="*/ 2147483647 w 2629"/>
              <a:gd name="T89" fmla="*/ 2147483647 h 1922"/>
              <a:gd name="T90" fmla="*/ 2147483647 w 2629"/>
              <a:gd name="T91" fmla="*/ 2147483647 h 1922"/>
              <a:gd name="T92" fmla="*/ 2147483647 w 2629"/>
              <a:gd name="T93" fmla="*/ 2147483647 h 1922"/>
              <a:gd name="T94" fmla="*/ 2147483647 w 2629"/>
              <a:gd name="T95" fmla="*/ 2147483647 h 1922"/>
              <a:gd name="T96" fmla="*/ 2147483647 w 2629"/>
              <a:gd name="T97" fmla="*/ 2147483647 h 1922"/>
              <a:gd name="T98" fmla="*/ 2147483647 w 2629"/>
              <a:gd name="T99" fmla="*/ 2147483647 h 1922"/>
              <a:gd name="T100" fmla="*/ 2147483647 w 2629"/>
              <a:gd name="T101" fmla="*/ 2147483647 h 1922"/>
              <a:gd name="T102" fmla="*/ 2147483647 w 2629"/>
              <a:gd name="T103" fmla="*/ 2147483647 h 1922"/>
              <a:gd name="T104" fmla="*/ 2147483647 w 2629"/>
              <a:gd name="T105" fmla="*/ 2147483647 h 1922"/>
              <a:gd name="T106" fmla="*/ 2147483647 w 2629"/>
              <a:gd name="T107" fmla="*/ 2147483647 h 1922"/>
              <a:gd name="T108" fmla="*/ 2147483647 w 2629"/>
              <a:gd name="T109" fmla="*/ 2147483647 h 1922"/>
              <a:gd name="T110" fmla="*/ 2147483647 w 2629"/>
              <a:gd name="T111" fmla="*/ 2147483647 h 1922"/>
              <a:gd name="T112" fmla="*/ 2147483647 w 2629"/>
              <a:gd name="T113" fmla="*/ 2147483647 h 1922"/>
              <a:gd name="T114" fmla="*/ 2147483647 w 2629"/>
              <a:gd name="T115" fmla="*/ 2147483647 h 1922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629"/>
              <a:gd name="T175" fmla="*/ 0 h 1922"/>
              <a:gd name="T176" fmla="*/ 2629 w 2629"/>
              <a:gd name="T177" fmla="*/ 1922 h 1922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629" h="1922">
                <a:moveTo>
                  <a:pt x="2173" y="1922"/>
                </a:moveTo>
                <a:lnTo>
                  <a:pt x="2159" y="1905"/>
                </a:lnTo>
                <a:lnTo>
                  <a:pt x="2145" y="1888"/>
                </a:lnTo>
                <a:lnTo>
                  <a:pt x="2128" y="1870"/>
                </a:lnTo>
                <a:lnTo>
                  <a:pt x="2111" y="1853"/>
                </a:lnTo>
                <a:lnTo>
                  <a:pt x="2102" y="1846"/>
                </a:lnTo>
                <a:lnTo>
                  <a:pt x="2092" y="1840"/>
                </a:lnTo>
                <a:lnTo>
                  <a:pt x="2081" y="1833"/>
                </a:lnTo>
                <a:lnTo>
                  <a:pt x="2072" y="1830"/>
                </a:lnTo>
                <a:lnTo>
                  <a:pt x="2060" y="1826"/>
                </a:lnTo>
                <a:lnTo>
                  <a:pt x="2050" y="1824"/>
                </a:lnTo>
                <a:lnTo>
                  <a:pt x="2038" y="1823"/>
                </a:lnTo>
                <a:lnTo>
                  <a:pt x="2026" y="1824"/>
                </a:lnTo>
                <a:lnTo>
                  <a:pt x="2019" y="1832"/>
                </a:lnTo>
                <a:lnTo>
                  <a:pt x="2010" y="1837"/>
                </a:lnTo>
                <a:lnTo>
                  <a:pt x="2000" y="1841"/>
                </a:lnTo>
                <a:lnTo>
                  <a:pt x="1991" y="1844"/>
                </a:lnTo>
                <a:lnTo>
                  <a:pt x="1971" y="1846"/>
                </a:lnTo>
                <a:lnTo>
                  <a:pt x="1948" y="1846"/>
                </a:lnTo>
                <a:lnTo>
                  <a:pt x="1928" y="1836"/>
                </a:lnTo>
                <a:lnTo>
                  <a:pt x="1909" y="1827"/>
                </a:lnTo>
                <a:lnTo>
                  <a:pt x="1900" y="1824"/>
                </a:lnTo>
                <a:lnTo>
                  <a:pt x="1892" y="1822"/>
                </a:lnTo>
                <a:lnTo>
                  <a:pt x="1885" y="1820"/>
                </a:lnTo>
                <a:lnTo>
                  <a:pt x="1877" y="1820"/>
                </a:lnTo>
                <a:lnTo>
                  <a:pt x="1869" y="1820"/>
                </a:lnTo>
                <a:lnTo>
                  <a:pt x="1861" y="1822"/>
                </a:lnTo>
                <a:lnTo>
                  <a:pt x="1853" y="1824"/>
                </a:lnTo>
                <a:lnTo>
                  <a:pt x="1844" y="1828"/>
                </a:lnTo>
                <a:lnTo>
                  <a:pt x="1837" y="1833"/>
                </a:lnTo>
                <a:lnTo>
                  <a:pt x="1827" y="1840"/>
                </a:lnTo>
                <a:lnTo>
                  <a:pt x="1818" y="1848"/>
                </a:lnTo>
                <a:lnTo>
                  <a:pt x="1809" y="1857"/>
                </a:lnTo>
                <a:lnTo>
                  <a:pt x="1792" y="1857"/>
                </a:lnTo>
                <a:lnTo>
                  <a:pt x="1775" y="1858"/>
                </a:lnTo>
                <a:lnTo>
                  <a:pt x="1758" y="1859"/>
                </a:lnTo>
                <a:lnTo>
                  <a:pt x="1742" y="1861"/>
                </a:lnTo>
                <a:lnTo>
                  <a:pt x="1717" y="1836"/>
                </a:lnTo>
                <a:lnTo>
                  <a:pt x="1701" y="1823"/>
                </a:lnTo>
                <a:lnTo>
                  <a:pt x="1693" y="1817"/>
                </a:lnTo>
                <a:lnTo>
                  <a:pt x="1684" y="1813"/>
                </a:lnTo>
                <a:lnTo>
                  <a:pt x="1682" y="1787"/>
                </a:lnTo>
                <a:lnTo>
                  <a:pt x="1678" y="1763"/>
                </a:lnTo>
                <a:lnTo>
                  <a:pt x="1671" y="1742"/>
                </a:lnTo>
                <a:lnTo>
                  <a:pt x="1663" y="1722"/>
                </a:lnTo>
                <a:lnTo>
                  <a:pt x="1658" y="1712"/>
                </a:lnTo>
                <a:lnTo>
                  <a:pt x="1653" y="1703"/>
                </a:lnTo>
                <a:lnTo>
                  <a:pt x="1648" y="1694"/>
                </a:lnTo>
                <a:lnTo>
                  <a:pt x="1640" y="1685"/>
                </a:lnTo>
                <a:lnTo>
                  <a:pt x="1634" y="1677"/>
                </a:lnTo>
                <a:lnTo>
                  <a:pt x="1624" y="1670"/>
                </a:lnTo>
                <a:lnTo>
                  <a:pt x="1615" y="1660"/>
                </a:lnTo>
                <a:lnTo>
                  <a:pt x="1605" y="1653"/>
                </a:lnTo>
                <a:lnTo>
                  <a:pt x="1600" y="1630"/>
                </a:lnTo>
                <a:lnTo>
                  <a:pt x="1592" y="1604"/>
                </a:lnTo>
                <a:lnTo>
                  <a:pt x="1583" y="1578"/>
                </a:lnTo>
                <a:lnTo>
                  <a:pt x="1571" y="1552"/>
                </a:lnTo>
                <a:lnTo>
                  <a:pt x="1563" y="1541"/>
                </a:lnTo>
                <a:lnTo>
                  <a:pt x="1557" y="1528"/>
                </a:lnTo>
                <a:lnTo>
                  <a:pt x="1548" y="1517"/>
                </a:lnTo>
                <a:lnTo>
                  <a:pt x="1540" y="1507"/>
                </a:lnTo>
                <a:lnTo>
                  <a:pt x="1531" y="1498"/>
                </a:lnTo>
                <a:lnTo>
                  <a:pt x="1520" y="1490"/>
                </a:lnTo>
                <a:lnTo>
                  <a:pt x="1510" y="1485"/>
                </a:lnTo>
                <a:lnTo>
                  <a:pt x="1500" y="1480"/>
                </a:lnTo>
                <a:lnTo>
                  <a:pt x="1494" y="1465"/>
                </a:lnTo>
                <a:lnTo>
                  <a:pt x="1489" y="1450"/>
                </a:lnTo>
                <a:lnTo>
                  <a:pt x="1484" y="1435"/>
                </a:lnTo>
                <a:lnTo>
                  <a:pt x="1477" y="1421"/>
                </a:lnTo>
                <a:lnTo>
                  <a:pt x="1462" y="1394"/>
                </a:lnTo>
                <a:lnTo>
                  <a:pt x="1446" y="1366"/>
                </a:lnTo>
                <a:lnTo>
                  <a:pt x="1428" y="1340"/>
                </a:lnTo>
                <a:lnTo>
                  <a:pt x="1409" y="1316"/>
                </a:lnTo>
                <a:lnTo>
                  <a:pt x="1388" y="1291"/>
                </a:lnTo>
                <a:lnTo>
                  <a:pt x="1367" y="1268"/>
                </a:lnTo>
                <a:lnTo>
                  <a:pt x="1358" y="1248"/>
                </a:lnTo>
                <a:lnTo>
                  <a:pt x="1345" y="1227"/>
                </a:lnTo>
                <a:lnTo>
                  <a:pt x="1330" y="1205"/>
                </a:lnTo>
                <a:lnTo>
                  <a:pt x="1315" y="1182"/>
                </a:lnTo>
                <a:lnTo>
                  <a:pt x="1298" y="1160"/>
                </a:lnTo>
                <a:lnTo>
                  <a:pt x="1278" y="1137"/>
                </a:lnTo>
                <a:lnTo>
                  <a:pt x="1258" y="1117"/>
                </a:lnTo>
                <a:lnTo>
                  <a:pt x="1237" y="1096"/>
                </a:lnTo>
                <a:lnTo>
                  <a:pt x="1215" y="1076"/>
                </a:lnTo>
                <a:lnTo>
                  <a:pt x="1191" y="1059"/>
                </a:lnTo>
                <a:lnTo>
                  <a:pt x="1168" y="1045"/>
                </a:lnTo>
                <a:lnTo>
                  <a:pt x="1144" y="1032"/>
                </a:lnTo>
                <a:lnTo>
                  <a:pt x="1131" y="1027"/>
                </a:lnTo>
                <a:lnTo>
                  <a:pt x="1120" y="1023"/>
                </a:lnTo>
                <a:lnTo>
                  <a:pt x="1108" y="1019"/>
                </a:lnTo>
                <a:lnTo>
                  <a:pt x="1096" y="1016"/>
                </a:lnTo>
                <a:lnTo>
                  <a:pt x="1085" y="1014"/>
                </a:lnTo>
                <a:lnTo>
                  <a:pt x="1073" y="1013"/>
                </a:lnTo>
                <a:lnTo>
                  <a:pt x="1061" y="1013"/>
                </a:lnTo>
                <a:lnTo>
                  <a:pt x="1049" y="1014"/>
                </a:lnTo>
                <a:lnTo>
                  <a:pt x="1038" y="1020"/>
                </a:lnTo>
                <a:lnTo>
                  <a:pt x="1026" y="1024"/>
                </a:lnTo>
                <a:lnTo>
                  <a:pt x="1016" y="1027"/>
                </a:lnTo>
                <a:lnTo>
                  <a:pt x="1004" y="1027"/>
                </a:lnTo>
                <a:lnTo>
                  <a:pt x="992" y="1027"/>
                </a:lnTo>
                <a:lnTo>
                  <a:pt x="980" y="1024"/>
                </a:lnTo>
                <a:lnTo>
                  <a:pt x="969" y="1022"/>
                </a:lnTo>
                <a:lnTo>
                  <a:pt x="957" y="1018"/>
                </a:lnTo>
                <a:lnTo>
                  <a:pt x="909" y="997"/>
                </a:lnTo>
                <a:lnTo>
                  <a:pt x="857" y="976"/>
                </a:lnTo>
                <a:lnTo>
                  <a:pt x="831" y="975"/>
                </a:lnTo>
                <a:lnTo>
                  <a:pt x="806" y="974"/>
                </a:lnTo>
                <a:lnTo>
                  <a:pt x="780" y="971"/>
                </a:lnTo>
                <a:lnTo>
                  <a:pt x="755" y="970"/>
                </a:lnTo>
                <a:lnTo>
                  <a:pt x="686" y="1005"/>
                </a:lnTo>
                <a:lnTo>
                  <a:pt x="649" y="1023"/>
                </a:lnTo>
                <a:lnTo>
                  <a:pt x="638" y="1027"/>
                </a:lnTo>
                <a:lnTo>
                  <a:pt x="631" y="1029"/>
                </a:lnTo>
                <a:lnTo>
                  <a:pt x="625" y="1031"/>
                </a:lnTo>
                <a:lnTo>
                  <a:pt x="619" y="1032"/>
                </a:lnTo>
                <a:lnTo>
                  <a:pt x="607" y="1016"/>
                </a:lnTo>
                <a:lnTo>
                  <a:pt x="595" y="1003"/>
                </a:lnTo>
                <a:lnTo>
                  <a:pt x="582" y="992"/>
                </a:lnTo>
                <a:lnTo>
                  <a:pt x="569" y="980"/>
                </a:lnTo>
                <a:lnTo>
                  <a:pt x="539" y="962"/>
                </a:lnTo>
                <a:lnTo>
                  <a:pt x="510" y="941"/>
                </a:lnTo>
                <a:lnTo>
                  <a:pt x="504" y="927"/>
                </a:lnTo>
                <a:lnTo>
                  <a:pt x="500" y="914"/>
                </a:lnTo>
                <a:lnTo>
                  <a:pt x="497" y="901"/>
                </a:lnTo>
                <a:lnTo>
                  <a:pt x="494" y="888"/>
                </a:lnTo>
                <a:lnTo>
                  <a:pt x="477" y="881"/>
                </a:lnTo>
                <a:lnTo>
                  <a:pt x="461" y="877"/>
                </a:lnTo>
                <a:lnTo>
                  <a:pt x="461" y="862"/>
                </a:lnTo>
                <a:lnTo>
                  <a:pt x="463" y="846"/>
                </a:lnTo>
                <a:lnTo>
                  <a:pt x="464" y="830"/>
                </a:lnTo>
                <a:lnTo>
                  <a:pt x="465" y="816"/>
                </a:lnTo>
                <a:lnTo>
                  <a:pt x="483" y="794"/>
                </a:lnTo>
                <a:lnTo>
                  <a:pt x="499" y="773"/>
                </a:lnTo>
                <a:lnTo>
                  <a:pt x="504" y="763"/>
                </a:lnTo>
                <a:lnTo>
                  <a:pt x="510" y="754"/>
                </a:lnTo>
                <a:lnTo>
                  <a:pt x="512" y="745"/>
                </a:lnTo>
                <a:lnTo>
                  <a:pt x="513" y="735"/>
                </a:lnTo>
                <a:lnTo>
                  <a:pt x="512" y="728"/>
                </a:lnTo>
                <a:lnTo>
                  <a:pt x="511" y="720"/>
                </a:lnTo>
                <a:lnTo>
                  <a:pt x="506" y="712"/>
                </a:lnTo>
                <a:lnTo>
                  <a:pt x="499" y="706"/>
                </a:lnTo>
                <a:lnTo>
                  <a:pt x="490" y="699"/>
                </a:lnTo>
                <a:lnTo>
                  <a:pt x="478" y="694"/>
                </a:lnTo>
                <a:lnTo>
                  <a:pt x="464" y="690"/>
                </a:lnTo>
                <a:lnTo>
                  <a:pt x="447" y="686"/>
                </a:lnTo>
                <a:lnTo>
                  <a:pt x="451" y="638"/>
                </a:lnTo>
                <a:lnTo>
                  <a:pt x="454" y="591"/>
                </a:lnTo>
                <a:lnTo>
                  <a:pt x="454" y="568"/>
                </a:lnTo>
                <a:lnTo>
                  <a:pt x="452" y="546"/>
                </a:lnTo>
                <a:lnTo>
                  <a:pt x="450" y="534"/>
                </a:lnTo>
                <a:lnTo>
                  <a:pt x="447" y="523"/>
                </a:lnTo>
                <a:lnTo>
                  <a:pt x="444" y="512"/>
                </a:lnTo>
                <a:lnTo>
                  <a:pt x="441" y="501"/>
                </a:lnTo>
                <a:lnTo>
                  <a:pt x="424" y="492"/>
                </a:lnTo>
                <a:lnTo>
                  <a:pt x="403" y="486"/>
                </a:lnTo>
                <a:lnTo>
                  <a:pt x="382" y="478"/>
                </a:lnTo>
                <a:lnTo>
                  <a:pt x="362" y="467"/>
                </a:lnTo>
                <a:lnTo>
                  <a:pt x="360" y="447"/>
                </a:lnTo>
                <a:lnTo>
                  <a:pt x="355" y="428"/>
                </a:lnTo>
                <a:lnTo>
                  <a:pt x="349" y="412"/>
                </a:lnTo>
                <a:lnTo>
                  <a:pt x="343" y="396"/>
                </a:lnTo>
                <a:lnTo>
                  <a:pt x="335" y="384"/>
                </a:lnTo>
                <a:lnTo>
                  <a:pt x="327" y="374"/>
                </a:lnTo>
                <a:lnTo>
                  <a:pt x="318" y="366"/>
                </a:lnTo>
                <a:lnTo>
                  <a:pt x="308" y="359"/>
                </a:lnTo>
                <a:lnTo>
                  <a:pt x="296" y="356"/>
                </a:lnTo>
                <a:lnTo>
                  <a:pt x="283" y="354"/>
                </a:lnTo>
                <a:lnTo>
                  <a:pt x="269" y="354"/>
                </a:lnTo>
                <a:lnTo>
                  <a:pt x="255" y="357"/>
                </a:lnTo>
                <a:lnTo>
                  <a:pt x="238" y="362"/>
                </a:lnTo>
                <a:lnTo>
                  <a:pt x="219" y="369"/>
                </a:lnTo>
                <a:lnTo>
                  <a:pt x="201" y="376"/>
                </a:lnTo>
                <a:lnTo>
                  <a:pt x="180" y="387"/>
                </a:lnTo>
                <a:lnTo>
                  <a:pt x="169" y="401"/>
                </a:lnTo>
                <a:lnTo>
                  <a:pt x="160" y="417"/>
                </a:lnTo>
                <a:lnTo>
                  <a:pt x="148" y="415"/>
                </a:lnTo>
                <a:lnTo>
                  <a:pt x="137" y="414"/>
                </a:lnTo>
                <a:lnTo>
                  <a:pt x="127" y="414"/>
                </a:lnTo>
                <a:lnTo>
                  <a:pt x="117" y="414"/>
                </a:lnTo>
                <a:lnTo>
                  <a:pt x="114" y="402"/>
                </a:lnTo>
                <a:lnTo>
                  <a:pt x="113" y="391"/>
                </a:lnTo>
                <a:lnTo>
                  <a:pt x="124" y="382"/>
                </a:lnTo>
                <a:lnTo>
                  <a:pt x="136" y="371"/>
                </a:lnTo>
                <a:lnTo>
                  <a:pt x="148" y="361"/>
                </a:lnTo>
                <a:lnTo>
                  <a:pt x="160" y="350"/>
                </a:lnTo>
                <a:lnTo>
                  <a:pt x="158" y="336"/>
                </a:lnTo>
                <a:lnTo>
                  <a:pt x="156" y="323"/>
                </a:lnTo>
                <a:lnTo>
                  <a:pt x="154" y="310"/>
                </a:lnTo>
                <a:lnTo>
                  <a:pt x="153" y="297"/>
                </a:lnTo>
                <a:lnTo>
                  <a:pt x="136" y="292"/>
                </a:lnTo>
                <a:lnTo>
                  <a:pt x="119" y="287"/>
                </a:lnTo>
                <a:lnTo>
                  <a:pt x="117" y="275"/>
                </a:lnTo>
                <a:lnTo>
                  <a:pt x="115" y="262"/>
                </a:lnTo>
                <a:lnTo>
                  <a:pt x="114" y="249"/>
                </a:lnTo>
                <a:lnTo>
                  <a:pt x="113" y="237"/>
                </a:lnTo>
                <a:lnTo>
                  <a:pt x="105" y="232"/>
                </a:lnTo>
                <a:lnTo>
                  <a:pt x="96" y="228"/>
                </a:lnTo>
                <a:lnTo>
                  <a:pt x="87" y="225"/>
                </a:lnTo>
                <a:lnTo>
                  <a:pt x="79" y="223"/>
                </a:lnTo>
                <a:lnTo>
                  <a:pt x="63" y="219"/>
                </a:lnTo>
                <a:lnTo>
                  <a:pt x="48" y="216"/>
                </a:lnTo>
                <a:lnTo>
                  <a:pt x="40" y="214"/>
                </a:lnTo>
                <a:lnTo>
                  <a:pt x="33" y="211"/>
                </a:lnTo>
                <a:lnTo>
                  <a:pt x="27" y="209"/>
                </a:lnTo>
                <a:lnTo>
                  <a:pt x="20" y="203"/>
                </a:lnTo>
                <a:lnTo>
                  <a:pt x="15" y="198"/>
                </a:lnTo>
                <a:lnTo>
                  <a:pt x="9" y="192"/>
                </a:lnTo>
                <a:lnTo>
                  <a:pt x="3" y="183"/>
                </a:lnTo>
                <a:lnTo>
                  <a:pt x="0" y="172"/>
                </a:lnTo>
                <a:lnTo>
                  <a:pt x="15" y="164"/>
                </a:lnTo>
                <a:lnTo>
                  <a:pt x="26" y="157"/>
                </a:lnTo>
                <a:lnTo>
                  <a:pt x="35" y="150"/>
                </a:lnTo>
                <a:lnTo>
                  <a:pt x="40" y="142"/>
                </a:lnTo>
                <a:lnTo>
                  <a:pt x="44" y="133"/>
                </a:lnTo>
                <a:lnTo>
                  <a:pt x="45" y="123"/>
                </a:lnTo>
                <a:lnTo>
                  <a:pt x="48" y="111"/>
                </a:lnTo>
                <a:lnTo>
                  <a:pt x="49" y="95"/>
                </a:lnTo>
                <a:lnTo>
                  <a:pt x="68" y="88"/>
                </a:lnTo>
                <a:lnTo>
                  <a:pt x="87" y="81"/>
                </a:lnTo>
                <a:lnTo>
                  <a:pt x="105" y="77"/>
                </a:lnTo>
                <a:lnTo>
                  <a:pt x="122" y="75"/>
                </a:lnTo>
                <a:lnTo>
                  <a:pt x="140" y="73"/>
                </a:lnTo>
                <a:lnTo>
                  <a:pt x="158" y="73"/>
                </a:lnTo>
                <a:lnTo>
                  <a:pt x="178" y="73"/>
                </a:lnTo>
                <a:lnTo>
                  <a:pt x="200" y="73"/>
                </a:lnTo>
                <a:lnTo>
                  <a:pt x="231" y="97"/>
                </a:lnTo>
                <a:lnTo>
                  <a:pt x="258" y="115"/>
                </a:lnTo>
                <a:lnTo>
                  <a:pt x="273" y="123"/>
                </a:lnTo>
                <a:lnTo>
                  <a:pt x="286" y="129"/>
                </a:lnTo>
                <a:lnTo>
                  <a:pt x="299" y="134"/>
                </a:lnTo>
                <a:lnTo>
                  <a:pt x="312" y="138"/>
                </a:lnTo>
                <a:lnTo>
                  <a:pt x="326" y="142"/>
                </a:lnTo>
                <a:lnTo>
                  <a:pt x="339" y="146"/>
                </a:lnTo>
                <a:lnTo>
                  <a:pt x="353" y="147"/>
                </a:lnTo>
                <a:lnTo>
                  <a:pt x="369" y="150"/>
                </a:lnTo>
                <a:lnTo>
                  <a:pt x="403" y="153"/>
                </a:lnTo>
                <a:lnTo>
                  <a:pt x="442" y="154"/>
                </a:lnTo>
                <a:lnTo>
                  <a:pt x="486" y="168"/>
                </a:lnTo>
                <a:lnTo>
                  <a:pt x="530" y="181"/>
                </a:lnTo>
                <a:lnTo>
                  <a:pt x="552" y="186"/>
                </a:lnTo>
                <a:lnTo>
                  <a:pt x="575" y="192"/>
                </a:lnTo>
                <a:lnTo>
                  <a:pt x="598" y="196"/>
                </a:lnTo>
                <a:lnTo>
                  <a:pt x="620" y="198"/>
                </a:lnTo>
                <a:lnTo>
                  <a:pt x="633" y="193"/>
                </a:lnTo>
                <a:lnTo>
                  <a:pt x="646" y="189"/>
                </a:lnTo>
                <a:lnTo>
                  <a:pt x="658" y="186"/>
                </a:lnTo>
                <a:lnTo>
                  <a:pt x="668" y="186"/>
                </a:lnTo>
                <a:lnTo>
                  <a:pt x="679" y="186"/>
                </a:lnTo>
                <a:lnTo>
                  <a:pt x="688" y="189"/>
                </a:lnTo>
                <a:lnTo>
                  <a:pt x="698" y="192"/>
                </a:lnTo>
                <a:lnTo>
                  <a:pt x="707" y="196"/>
                </a:lnTo>
                <a:lnTo>
                  <a:pt x="725" y="206"/>
                </a:lnTo>
                <a:lnTo>
                  <a:pt x="744" y="220"/>
                </a:lnTo>
                <a:lnTo>
                  <a:pt x="762" y="236"/>
                </a:lnTo>
                <a:lnTo>
                  <a:pt x="783" y="253"/>
                </a:lnTo>
                <a:lnTo>
                  <a:pt x="794" y="267"/>
                </a:lnTo>
                <a:lnTo>
                  <a:pt x="805" y="284"/>
                </a:lnTo>
                <a:lnTo>
                  <a:pt x="818" y="288"/>
                </a:lnTo>
                <a:lnTo>
                  <a:pt x="832" y="292"/>
                </a:lnTo>
                <a:lnTo>
                  <a:pt x="849" y="294"/>
                </a:lnTo>
                <a:lnTo>
                  <a:pt x="869" y="298"/>
                </a:lnTo>
                <a:lnTo>
                  <a:pt x="910" y="302"/>
                </a:lnTo>
                <a:lnTo>
                  <a:pt x="954" y="305"/>
                </a:lnTo>
                <a:lnTo>
                  <a:pt x="1000" y="306"/>
                </a:lnTo>
                <a:lnTo>
                  <a:pt x="1043" y="306"/>
                </a:lnTo>
                <a:lnTo>
                  <a:pt x="1083" y="305"/>
                </a:lnTo>
                <a:lnTo>
                  <a:pt x="1114" y="302"/>
                </a:lnTo>
                <a:lnTo>
                  <a:pt x="1140" y="289"/>
                </a:lnTo>
                <a:lnTo>
                  <a:pt x="1164" y="278"/>
                </a:lnTo>
                <a:lnTo>
                  <a:pt x="1187" y="270"/>
                </a:lnTo>
                <a:lnTo>
                  <a:pt x="1208" y="263"/>
                </a:lnTo>
                <a:lnTo>
                  <a:pt x="1230" y="258"/>
                </a:lnTo>
                <a:lnTo>
                  <a:pt x="1254" y="254"/>
                </a:lnTo>
                <a:lnTo>
                  <a:pt x="1278" y="252"/>
                </a:lnTo>
                <a:lnTo>
                  <a:pt x="1307" y="249"/>
                </a:lnTo>
                <a:lnTo>
                  <a:pt x="1314" y="235"/>
                </a:lnTo>
                <a:lnTo>
                  <a:pt x="1319" y="222"/>
                </a:lnTo>
                <a:lnTo>
                  <a:pt x="1340" y="215"/>
                </a:lnTo>
                <a:lnTo>
                  <a:pt x="1359" y="209"/>
                </a:lnTo>
                <a:lnTo>
                  <a:pt x="1377" y="205"/>
                </a:lnTo>
                <a:lnTo>
                  <a:pt x="1395" y="202"/>
                </a:lnTo>
                <a:lnTo>
                  <a:pt x="1405" y="201"/>
                </a:lnTo>
                <a:lnTo>
                  <a:pt x="1414" y="202"/>
                </a:lnTo>
                <a:lnTo>
                  <a:pt x="1423" y="202"/>
                </a:lnTo>
                <a:lnTo>
                  <a:pt x="1432" y="203"/>
                </a:lnTo>
                <a:lnTo>
                  <a:pt x="1441" y="206"/>
                </a:lnTo>
                <a:lnTo>
                  <a:pt x="1451" y="209"/>
                </a:lnTo>
                <a:lnTo>
                  <a:pt x="1462" y="212"/>
                </a:lnTo>
                <a:lnTo>
                  <a:pt x="1472" y="218"/>
                </a:lnTo>
                <a:lnTo>
                  <a:pt x="1485" y="215"/>
                </a:lnTo>
                <a:lnTo>
                  <a:pt x="1496" y="211"/>
                </a:lnTo>
                <a:lnTo>
                  <a:pt x="1503" y="206"/>
                </a:lnTo>
                <a:lnTo>
                  <a:pt x="1510" y="201"/>
                </a:lnTo>
                <a:lnTo>
                  <a:pt x="1514" y="193"/>
                </a:lnTo>
                <a:lnTo>
                  <a:pt x="1518" y="184"/>
                </a:lnTo>
                <a:lnTo>
                  <a:pt x="1522" y="172"/>
                </a:lnTo>
                <a:lnTo>
                  <a:pt x="1524" y="158"/>
                </a:lnTo>
                <a:lnTo>
                  <a:pt x="1543" y="154"/>
                </a:lnTo>
                <a:lnTo>
                  <a:pt x="1557" y="149"/>
                </a:lnTo>
                <a:lnTo>
                  <a:pt x="1569" y="144"/>
                </a:lnTo>
                <a:lnTo>
                  <a:pt x="1578" y="137"/>
                </a:lnTo>
                <a:lnTo>
                  <a:pt x="1587" y="129"/>
                </a:lnTo>
                <a:lnTo>
                  <a:pt x="1596" y="120"/>
                </a:lnTo>
                <a:lnTo>
                  <a:pt x="1605" y="108"/>
                </a:lnTo>
                <a:lnTo>
                  <a:pt x="1615" y="95"/>
                </a:lnTo>
                <a:lnTo>
                  <a:pt x="1634" y="94"/>
                </a:lnTo>
                <a:lnTo>
                  <a:pt x="1653" y="93"/>
                </a:lnTo>
                <a:lnTo>
                  <a:pt x="1673" y="92"/>
                </a:lnTo>
                <a:lnTo>
                  <a:pt x="1692" y="92"/>
                </a:lnTo>
                <a:lnTo>
                  <a:pt x="1705" y="85"/>
                </a:lnTo>
                <a:lnTo>
                  <a:pt x="1718" y="80"/>
                </a:lnTo>
                <a:lnTo>
                  <a:pt x="1731" y="76"/>
                </a:lnTo>
                <a:lnTo>
                  <a:pt x="1744" y="72"/>
                </a:lnTo>
                <a:lnTo>
                  <a:pt x="1770" y="65"/>
                </a:lnTo>
                <a:lnTo>
                  <a:pt x="1795" y="60"/>
                </a:lnTo>
                <a:lnTo>
                  <a:pt x="1821" y="55"/>
                </a:lnTo>
                <a:lnTo>
                  <a:pt x="1844" y="49"/>
                </a:lnTo>
                <a:lnTo>
                  <a:pt x="1856" y="43"/>
                </a:lnTo>
                <a:lnTo>
                  <a:pt x="1868" y="38"/>
                </a:lnTo>
                <a:lnTo>
                  <a:pt x="1879" y="33"/>
                </a:lnTo>
                <a:lnTo>
                  <a:pt x="1890" y="25"/>
                </a:lnTo>
                <a:lnTo>
                  <a:pt x="1904" y="25"/>
                </a:lnTo>
                <a:lnTo>
                  <a:pt x="1918" y="25"/>
                </a:lnTo>
                <a:lnTo>
                  <a:pt x="1933" y="25"/>
                </a:lnTo>
                <a:lnTo>
                  <a:pt x="1948" y="25"/>
                </a:lnTo>
                <a:lnTo>
                  <a:pt x="1959" y="19"/>
                </a:lnTo>
                <a:lnTo>
                  <a:pt x="1972" y="12"/>
                </a:lnTo>
                <a:lnTo>
                  <a:pt x="1985" y="7"/>
                </a:lnTo>
                <a:lnTo>
                  <a:pt x="1998" y="3"/>
                </a:lnTo>
                <a:lnTo>
                  <a:pt x="2011" y="2"/>
                </a:lnTo>
                <a:lnTo>
                  <a:pt x="2024" y="0"/>
                </a:lnTo>
                <a:lnTo>
                  <a:pt x="2037" y="0"/>
                </a:lnTo>
                <a:lnTo>
                  <a:pt x="2050" y="3"/>
                </a:lnTo>
                <a:lnTo>
                  <a:pt x="2063" y="6"/>
                </a:lnTo>
                <a:lnTo>
                  <a:pt x="2075" y="11"/>
                </a:lnTo>
                <a:lnTo>
                  <a:pt x="2085" y="17"/>
                </a:lnTo>
                <a:lnTo>
                  <a:pt x="2095" y="25"/>
                </a:lnTo>
                <a:lnTo>
                  <a:pt x="2103" y="36"/>
                </a:lnTo>
                <a:lnTo>
                  <a:pt x="2111" y="47"/>
                </a:lnTo>
                <a:lnTo>
                  <a:pt x="2116" y="60"/>
                </a:lnTo>
                <a:lnTo>
                  <a:pt x="2121" y="76"/>
                </a:lnTo>
                <a:lnTo>
                  <a:pt x="2102" y="85"/>
                </a:lnTo>
                <a:lnTo>
                  <a:pt x="2084" y="93"/>
                </a:lnTo>
                <a:lnTo>
                  <a:pt x="2064" y="102"/>
                </a:lnTo>
                <a:lnTo>
                  <a:pt x="2046" y="112"/>
                </a:lnTo>
                <a:lnTo>
                  <a:pt x="2042" y="132"/>
                </a:lnTo>
                <a:lnTo>
                  <a:pt x="2037" y="153"/>
                </a:lnTo>
                <a:lnTo>
                  <a:pt x="2034" y="173"/>
                </a:lnTo>
                <a:lnTo>
                  <a:pt x="2030" y="193"/>
                </a:lnTo>
                <a:lnTo>
                  <a:pt x="2021" y="197"/>
                </a:lnTo>
                <a:lnTo>
                  <a:pt x="2015" y="201"/>
                </a:lnTo>
                <a:lnTo>
                  <a:pt x="2011" y="207"/>
                </a:lnTo>
                <a:lnTo>
                  <a:pt x="2007" y="214"/>
                </a:lnTo>
                <a:lnTo>
                  <a:pt x="2003" y="228"/>
                </a:lnTo>
                <a:lnTo>
                  <a:pt x="1998" y="245"/>
                </a:lnTo>
                <a:lnTo>
                  <a:pt x="1967" y="271"/>
                </a:lnTo>
                <a:lnTo>
                  <a:pt x="1945" y="292"/>
                </a:lnTo>
                <a:lnTo>
                  <a:pt x="1935" y="300"/>
                </a:lnTo>
                <a:lnTo>
                  <a:pt x="1929" y="307"/>
                </a:lnTo>
                <a:lnTo>
                  <a:pt x="1924" y="315"/>
                </a:lnTo>
                <a:lnTo>
                  <a:pt x="1920" y="323"/>
                </a:lnTo>
                <a:lnTo>
                  <a:pt x="1917" y="332"/>
                </a:lnTo>
                <a:lnTo>
                  <a:pt x="1915" y="341"/>
                </a:lnTo>
                <a:lnTo>
                  <a:pt x="1913" y="352"/>
                </a:lnTo>
                <a:lnTo>
                  <a:pt x="1912" y="365"/>
                </a:lnTo>
                <a:lnTo>
                  <a:pt x="1911" y="395"/>
                </a:lnTo>
                <a:lnTo>
                  <a:pt x="1909" y="435"/>
                </a:lnTo>
                <a:lnTo>
                  <a:pt x="1902" y="440"/>
                </a:lnTo>
                <a:lnTo>
                  <a:pt x="1894" y="445"/>
                </a:lnTo>
                <a:lnTo>
                  <a:pt x="1886" y="451"/>
                </a:lnTo>
                <a:lnTo>
                  <a:pt x="1881" y="457"/>
                </a:lnTo>
                <a:lnTo>
                  <a:pt x="1874" y="462"/>
                </a:lnTo>
                <a:lnTo>
                  <a:pt x="1869" y="469"/>
                </a:lnTo>
                <a:lnTo>
                  <a:pt x="1865" y="477"/>
                </a:lnTo>
                <a:lnTo>
                  <a:pt x="1861" y="483"/>
                </a:lnTo>
                <a:lnTo>
                  <a:pt x="1855" y="497"/>
                </a:lnTo>
                <a:lnTo>
                  <a:pt x="1851" y="514"/>
                </a:lnTo>
                <a:lnTo>
                  <a:pt x="1848" y="533"/>
                </a:lnTo>
                <a:lnTo>
                  <a:pt x="1848" y="551"/>
                </a:lnTo>
                <a:lnTo>
                  <a:pt x="1860" y="565"/>
                </a:lnTo>
                <a:lnTo>
                  <a:pt x="1870" y="577"/>
                </a:lnTo>
                <a:lnTo>
                  <a:pt x="1881" y="586"/>
                </a:lnTo>
                <a:lnTo>
                  <a:pt x="1891" y="594"/>
                </a:lnTo>
                <a:lnTo>
                  <a:pt x="1900" y="599"/>
                </a:lnTo>
                <a:lnTo>
                  <a:pt x="1908" y="601"/>
                </a:lnTo>
                <a:lnTo>
                  <a:pt x="1917" y="604"/>
                </a:lnTo>
                <a:lnTo>
                  <a:pt x="1925" y="604"/>
                </a:lnTo>
                <a:lnTo>
                  <a:pt x="1963" y="600"/>
                </a:lnTo>
                <a:lnTo>
                  <a:pt x="2013" y="599"/>
                </a:lnTo>
                <a:lnTo>
                  <a:pt x="2015" y="609"/>
                </a:lnTo>
                <a:lnTo>
                  <a:pt x="2016" y="620"/>
                </a:lnTo>
                <a:lnTo>
                  <a:pt x="2017" y="629"/>
                </a:lnTo>
                <a:lnTo>
                  <a:pt x="2019" y="639"/>
                </a:lnTo>
                <a:lnTo>
                  <a:pt x="2028" y="642"/>
                </a:lnTo>
                <a:lnTo>
                  <a:pt x="2036" y="644"/>
                </a:lnTo>
                <a:lnTo>
                  <a:pt x="2041" y="648"/>
                </a:lnTo>
                <a:lnTo>
                  <a:pt x="2046" y="652"/>
                </a:lnTo>
                <a:lnTo>
                  <a:pt x="2054" y="664"/>
                </a:lnTo>
                <a:lnTo>
                  <a:pt x="2062" y="680"/>
                </a:lnTo>
                <a:lnTo>
                  <a:pt x="2082" y="683"/>
                </a:lnTo>
                <a:lnTo>
                  <a:pt x="2103" y="689"/>
                </a:lnTo>
                <a:lnTo>
                  <a:pt x="2121" y="695"/>
                </a:lnTo>
                <a:lnTo>
                  <a:pt x="2138" y="699"/>
                </a:lnTo>
                <a:lnTo>
                  <a:pt x="2147" y="700"/>
                </a:lnTo>
                <a:lnTo>
                  <a:pt x="2155" y="702"/>
                </a:lnTo>
                <a:lnTo>
                  <a:pt x="2163" y="700"/>
                </a:lnTo>
                <a:lnTo>
                  <a:pt x="2171" y="699"/>
                </a:lnTo>
                <a:lnTo>
                  <a:pt x="2179" y="696"/>
                </a:lnTo>
                <a:lnTo>
                  <a:pt x="2187" y="691"/>
                </a:lnTo>
                <a:lnTo>
                  <a:pt x="2194" y="685"/>
                </a:lnTo>
                <a:lnTo>
                  <a:pt x="2202" y="676"/>
                </a:lnTo>
                <a:lnTo>
                  <a:pt x="2220" y="674"/>
                </a:lnTo>
                <a:lnTo>
                  <a:pt x="2240" y="673"/>
                </a:lnTo>
                <a:lnTo>
                  <a:pt x="2259" y="672"/>
                </a:lnTo>
                <a:lnTo>
                  <a:pt x="2279" y="668"/>
                </a:lnTo>
                <a:lnTo>
                  <a:pt x="2288" y="665"/>
                </a:lnTo>
                <a:lnTo>
                  <a:pt x="2296" y="661"/>
                </a:lnTo>
                <a:lnTo>
                  <a:pt x="2304" y="657"/>
                </a:lnTo>
                <a:lnTo>
                  <a:pt x="2310" y="652"/>
                </a:lnTo>
                <a:lnTo>
                  <a:pt x="2315" y="646"/>
                </a:lnTo>
                <a:lnTo>
                  <a:pt x="2321" y="638"/>
                </a:lnTo>
                <a:lnTo>
                  <a:pt x="2324" y="630"/>
                </a:lnTo>
                <a:lnTo>
                  <a:pt x="2327" y="620"/>
                </a:lnTo>
                <a:lnTo>
                  <a:pt x="2339" y="617"/>
                </a:lnTo>
                <a:lnTo>
                  <a:pt x="2352" y="614"/>
                </a:lnTo>
                <a:lnTo>
                  <a:pt x="2357" y="595"/>
                </a:lnTo>
                <a:lnTo>
                  <a:pt x="2363" y="578"/>
                </a:lnTo>
                <a:lnTo>
                  <a:pt x="2371" y="564"/>
                </a:lnTo>
                <a:lnTo>
                  <a:pt x="2380" y="552"/>
                </a:lnTo>
                <a:lnTo>
                  <a:pt x="2391" y="542"/>
                </a:lnTo>
                <a:lnTo>
                  <a:pt x="2402" y="533"/>
                </a:lnTo>
                <a:lnTo>
                  <a:pt x="2415" y="525"/>
                </a:lnTo>
                <a:lnTo>
                  <a:pt x="2428" y="518"/>
                </a:lnTo>
                <a:lnTo>
                  <a:pt x="2443" y="513"/>
                </a:lnTo>
                <a:lnTo>
                  <a:pt x="2458" y="509"/>
                </a:lnTo>
                <a:lnTo>
                  <a:pt x="2475" y="505"/>
                </a:lnTo>
                <a:lnTo>
                  <a:pt x="2492" y="503"/>
                </a:lnTo>
                <a:lnTo>
                  <a:pt x="2527" y="497"/>
                </a:lnTo>
                <a:lnTo>
                  <a:pt x="2564" y="493"/>
                </a:lnTo>
                <a:lnTo>
                  <a:pt x="2565" y="499"/>
                </a:lnTo>
                <a:lnTo>
                  <a:pt x="2568" y="504"/>
                </a:lnTo>
                <a:lnTo>
                  <a:pt x="2573" y="509"/>
                </a:lnTo>
                <a:lnTo>
                  <a:pt x="2578" y="513"/>
                </a:lnTo>
                <a:lnTo>
                  <a:pt x="2591" y="519"/>
                </a:lnTo>
                <a:lnTo>
                  <a:pt x="2604" y="523"/>
                </a:lnTo>
                <a:lnTo>
                  <a:pt x="2605" y="534"/>
                </a:lnTo>
                <a:lnTo>
                  <a:pt x="2607" y="543"/>
                </a:lnTo>
                <a:lnTo>
                  <a:pt x="2605" y="551"/>
                </a:lnTo>
                <a:lnTo>
                  <a:pt x="2605" y="559"/>
                </a:lnTo>
                <a:lnTo>
                  <a:pt x="2603" y="566"/>
                </a:lnTo>
                <a:lnTo>
                  <a:pt x="2600" y="573"/>
                </a:lnTo>
                <a:lnTo>
                  <a:pt x="2595" y="581"/>
                </a:lnTo>
                <a:lnTo>
                  <a:pt x="2590" y="590"/>
                </a:lnTo>
                <a:lnTo>
                  <a:pt x="2599" y="622"/>
                </a:lnTo>
                <a:lnTo>
                  <a:pt x="2609" y="657"/>
                </a:lnTo>
                <a:lnTo>
                  <a:pt x="2618" y="691"/>
                </a:lnTo>
                <a:lnTo>
                  <a:pt x="2629" y="726"/>
                </a:lnTo>
                <a:lnTo>
                  <a:pt x="2628" y="730"/>
                </a:lnTo>
                <a:lnTo>
                  <a:pt x="2625" y="734"/>
                </a:lnTo>
                <a:lnTo>
                  <a:pt x="2622" y="737"/>
                </a:lnTo>
                <a:lnTo>
                  <a:pt x="2618" y="739"/>
                </a:lnTo>
                <a:lnTo>
                  <a:pt x="2611" y="745"/>
                </a:lnTo>
                <a:lnTo>
                  <a:pt x="2602" y="747"/>
                </a:lnTo>
                <a:lnTo>
                  <a:pt x="2592" y="751"/>
                </a:lnTo>
                <a:lnTo>
                  <a:pt x="2583" y="755"/>
                </a:lnTo>
                <a:lnTo>
                  <a:pt x="2574" y="759"/>
                </a:lnTo>
                <a:lnTo>
                  <a:pt x="2565" y="767"/>
                </a:lnTo>
                <a:lnTo>
                  <a:pt x="2535" y="768"/>
                </a:lnTo>
                <a:lnTo>
                  <a:pt x="2505" y="769"/>
                </a:lnTo>
                <a:lnTo>
                  <a:pt x="2475" y="771"/>
                </a:lnTo>
                <a:lnTo>
                  <a:pt x="2445" y="772"/>
                </a:lnTo>
                <a:lnTo>
                  <a:pt x="2445" y="787"/>
                </a:lnTo>
                <a:lnTo>
                  <a:pt x="2447" y="803"/>
                </a:lnTo>
                <a:lnTo>
                  <a:pt x="2448" y="816"/>
                </a:lnTo>
                <a:lnTo>
                  <a:pt x="2451" y="830"/>
                </a:lnTo>
                <a:lnTo>
                  <a:pt x="2451" y="843"/>
                </a:lnTo>
                <a:lnTo>
                  <a:pt x="2451" y="856"/>
                </a:lnTo>
                <a:lnTo>
                  <a:pt x="2449" y="864"/>
                </a:lnTo>
                <a:lnTo>
                  <a:pt x="2447" y="871"/>
                </a:lnTo>
                <a:lnTo>
                  <a:pt x="2444" y="879"/>
                </a:lnTo>
                <a:lnTo>
                  <a:pt x="2440" y="885"/>
                </a:lnTo>
                <a:lnTo>
                  <a:pt x="2421" y="894"/>
                </a:lnTo>
                <a:lnTo>
                  <a:pt x="2400" y="903"/>
                </a:lnTo>
                <a:lnTo>
                  <a:pt x="2388" y="907"/>
                </a:lnTo>
                <a:lnTo>
                  <a:pt x="2378" y="912"/>
                </a:lnTo>
                <a:lnTo>
                  <a:pt x="2366" y="919"/>
                </a:lnTo>
                <a:lnTo>
                  <a:pt x="2356" y="925"/>
                </a:lnTo>
                <a:lnTo>
                  <a:pt x="2350" y="951"/>
                </a:lnTo>
                <a:lnTo>
                  <a:pt x="2343" y="976"/>
                </a:lnTo>
                <a:lnTo>
                  <a:pt x="2334" y="1000"/>
                </a:lnTo>
                <a:lnTo>
                  <a:pt x="2322" y="1023"/>
                </a:lnTo>
                <a:lnTo>
                  <a:pt x="2315" y="1033"/>
                </a:lnTo>
                <a:lnTo>
                  <a:pt x="2309" y="1044"/>
                </a:lnTo>
                <a:lnTo>
                  <a:pt x="2301" y="1053"/>
                </a:lnTo>
                <a:lnTo>
                  <a:pt x="2293" y="1063"/>
                </a:lnTo>
                <a:lnTo>
                  <a:pt x="2284" y="1071"/>
                </a:lnTo>
                <a:lnTo>
                  <a:pt x="2275" y="1079"/>
                </a:lnTo>
                <a:lnTo>
                  <a:pt x="2265" y="1087"/>
                </a:lnTo>
                <a:lnTo>
                  <a:pt x="2254" y="1093"/>
                </a:lnTo>
                <a:lnTo>
                  <a:pt x="2253" y="1098"/>
                </a:lnTo>
                <a:lnTo>
                  <a:pt x="2249" y="1104"/>
                </a:lnTo>
                <a:lnTo>
                  <a:pt x="2244" y="1109"/>
                </a:lnTo>
                <a:lnTo>
                  <a:pt x="2237" y="1113"/>
                </a:lnTo>
                <a:lnTo>
                  <a:pt x="2224" y="1121"/>
                </a:lnTo>
                <a:lnTo>
                  <a:pt x="2211" y="1128"/>
                </a:lnTo>
                <a:lnTo>
                  <a:pt x="2210" y="1152"/>
                </a:lnTo>
                <a:lnTo>
                  <a:pt x="2210" y="1176"/>
                </a:lnTo>
                <a:lnTo>
                  <a:pt x="2210" y="1201"/>
                </a:lnTo>
                <a:lnTo>
                  <a:pt x="2210" y="1226"/>
                </a:lnTo>
                <a:lnTo>
                  <a:pt x="2203" y="1234"/>
                </a:lnTo>
                <a:lnTo>
                  <a:pt x="2197" y="1244"/>
                </a:lnTo>
                <a:lnTo>
                  <a:pt x="2192" y="1255"/>
                </a:lnTo>
                <a:lnTo>
                  <a:pt x="2185" y="1266"/>
                </a:lnTo>
                <a:lnTo>
                  <a:pt x="2176" y="1291"/>
                </a:lnTo>
                <a:lnTo>
                  <a:pt x="2167" y="1320"/>
                </a:lnTo>
                <a:lnTo>
                  <a:pt x="2162" y="1347"/>
                </a:lnTo>
                <a:lnTo>
                  <a:pt x="2158" y="1375"/>
                </a:lnTo>
                <a:lnTo>
                  <a:pt x="2157" y="1389"/>
                </a:lnTo>
                <a:lnTo>
                  <a:pt x="2157" y="1402"/>
                </a:lnTo>
                <a:lnTo>
                  <a:pt x="2157" y="1413"/>
                </a:lnTo>
                <a:lnTo>
                  <a:pt x="2158" y="1424"/>
                </a:lnTo>
                <a:lnTo>
                  <a:pt x="2171" y="1429"/>
                </a:lnTo>
                <a:lnTo>
                  <a:pt x="2183" y="1435"/>
                </a:lnTo>
                <a:lnTo>
                  <a:pt x="2188" y="1439"/>
                </a:lnTo>
                <a:lnTo>
                  <a:pt x="2193" y="1443"/>
                </a:lnTo>
                <a:lnTo>
                  <a:pt x="2197" y="1448"/>
                </a:lnTo>
                <a:lnTo>
                  <a:pt x="2202" y="1455"/>
                </a:lnTo>
                <a:lnTo>
                  <a:pt x="2219" y="1459"/>
                </a:lnTo>
                <a:lnTo>
                  <a:pt x="2237" y="1464"/>
                </a:lnTo>
                <a:lnTo>
                  <a:pt x="2255" y="1468"/>
                </a:lnTo>
                <a:lnTo>
                  <a:pt x="2275" y="1474"/>
                </a:lnTo>
                <a:lnTo>
                  <a:pt x="2280" y="1483"/>
                </a:lnTo>
                <a:lnTo>
                  <a:pt x="2285" y="1491"/>
                </a:lnTo>
                <a:lnTo>
                  <a:pt x="2292" y="1496"/>
                </a:lnTo>
                <a:lnTo>
                  <a:pt x="2298" y="1502"/>
                </a:lnTo>
                <a:lnTo>
                  <a:pt x="2306" y="1506"/>
                </a:lnTo>
                <a:lnTo>
                  <a:pt x="2314" y="1508"/>
                </a:lnTo>
                <a:lnTo>
                  <a:pt x="2323" y="1511"/>
                </a:lnTo>
                <a:lnTo>
                  <a:pt x="2332" y="1512"/>
                </a:lnTo>
                <a:lnTo>
                  <a:pt x="2339" y="1530"/>
                </a:lnTo>
                <a:lnTo>
                  <a:pt x="2341" y="1545"/>
                </a:lnTo>
                <a:lnTo>
                  <a:pt x="2343" y="1559"/>
                </a:lnTo>
                <a:lnTo>
                  <a:pt x="2343" y="1581"/>
                </a:lnTo>
                <a:lnTo>
                  <a:pt x="2339" y="1591"/>
                </a:lnTo>
                <a:lnTo>
                  <a:pt x="2336" y="1603"/>
                </a:lnTo>
                <a:lnTo>
                  <a:pt x="2335" y="1614"/>
                </a:lnTo>
                <a:lnTo>
                  <a:pt x="2335" y="1625"/>
                </a:lnTo>
                <a:lnTo>
                  <a:pt x="2336" y="1637"/>
                </a:lnTo>
                <a:lnTo>
                  <a:pt x="2337" y="1649"/>
                </a:lnTo>
                <a:lnTo>
                  <a:pt x="2340" y="1660"/>
                </a:lnTo>
                <a:lnTo>
                  <a:pt x="2344" y="1672"/>
                </a:lnTo>
                <a:lnTo>
                  <a:pt x="2348" y="1683"/>
                </a:lnTo>
                <a:lnTo>
                  <a:pt x="2353" y="1694"/>
                </a:lnTo>
                <a:lnTo>
                  <a:pt x="2358" y="1705"/>
                </a:lnTo>
                <a:lnTo>
                  <a:pt x="2365" y="1715"/>
                </a:lnTo>
                <a:lnTo>
                  <a:pt x="2371" y="1724"/>
                </a:lnTo>
                <a:lnTo>
                  <a:pt x="2378" y="1733"/>
                </a:lnTo>
                <a:lnTo>
                  <a:pt x="2386" y="1741"/>
                </a:lnTo>
                <a:lnTo>
                  <a:pt x="2395" y="1749"/>
                </a:lnTo>
                <a:lnTo>
                  <a:pt x="2380" y="1757"/>
                </a:lnTo>
                <a:lnTo>
                  <a:pt x="2370" y="1764"/>
                </a:lnTo>
                <a:lnTo>
                  <a:pt x="2362" y="1772"/>
                </a:lnTo>
                <a:lnTo>
                  <a:pt x="2357" y="1780"/>
                </a:lnTo>
                <a:lnTo>
                  <a:pt x="2353" y="1788"/>
                </a:lnTo>
                <a:lnTo>
                  <a:pt x="2350" y="1798"/>
                </a:lnTo>
                <a:lnTo>
                  <a:pt x="2349" y="1811"/>
                </a:lnTo>
                <a:lnTo>
                  <a:pt x="2348" y="1826"/>
                </a:lnTo>
                <a:lnTo>
                  <a:pt x="2339" y="1835"/>
                </a:lnTo>
                <a:lnTo>
                  <a:pt x="2328" y="1844"/>
                </a:lnTo>
                <a:lnTo>
                  <a:pt x="2318" y="1852"/>
                </a:lnTo>
                <a:lnTo>
                  <a:pt x="2307" y="1859"/>
                </a:lnTo>
                <a:lnTo>
                  <a:pt x="2297" y="1867"/>
                </a:lnTo>
                <a:lnTo>
                  <a:pt x="2287" y="1876"/>
                </a:lnTo>
                <a:lnTo>
                  <a:pt x="2283" y="1880"/>
                </a:lnTo>
                <a:lnTo>
                  <a:pt x="2280" y="1885"/>
                </a:lnTo>
                <a:lnTo>
                  <a:pt x="2278" y="1891"/>
                </a:lnTo>
                <a:lnTo>
                  <a:pt x="2275" y="1897"/>
                </a:lnTo>
                <a:lnTo>
                  <a:pt x="2237" y="1909"/>
                </a:lnTo>
                <a:lnTo>
                  <a:pt x="2215" y="1915"/>
                </a:lnTo>
                <a:lnTo>
                  <a:pt x="2196" y="1919"/>
                </a:lnTo>
                <a:lnTo>
                  <a:pt x="2173" y="1922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47" name="Freeform 12"/>
          <p:cNvSpPr>
            <a:spLocks/>
          </p:cNvSpPr>
          <p:nvPr/>
        </p:nvSpPr>
        <p:spPr bwMode="auto">
          <a:xfrm>
            <a:off x="8461375" y="4619625"/>
            <a:ext cx="84138" cy="173038"/>
          </a:xfrm>
          <a:custGeom>
            <a:avLst/>
            <a:gdLst>
              <a:gd name="T0" fmla="*/ 2147483647 w 212"/>
              <a:gd name="T1" fmla="*/ 2147483647 h 437"/>
              <a:gd name="T2" fmla="*/ 2147483647 w 212"/>
              <a:gd name="T3" fmla="*/ 2147483647 h 437"/>
              <a:gd name="T4" fmla="*/ 2147483647 w 212"/>
              <a:gd name="T5" fmla="*/ 2147483647 h 437"/>
              <a:gd name="T6" fmla="*/ 0 w 212"/>
              <a:gd name="T7" fmla="*/ 2147483647 h 437"/>
              <a:gd name="T8" fmla="*/ 2147483647 w 212"/>
              <a:gd name="T9" fmla="*/ 2147483647 h 437"/>
              <a:gd name="T10" fmla="*/ 2147483647 w 212"/>
              <a:gd name="T11" fmla="*/ 2147483647 h 437"/>
              <a:gd name="T12" fmla="*/ 2147483647 w 212"/>
              <a:gd name="T13" fmla="*/ 2147483647 h 437"/>
              <a:gd name="T14" fmla="*/ 2147483647 w 212"/>
              <a:gd name="T15" fmla="*/ 2147483647 h 437"/>
              <a:gd name="T16" fmla="*/ 2147483647 w 212"/>
              <a:gd name="T17" fmla="*/ 2147483647 h 437"/>
              <a:gd name="T18" fmla="*/ 2147483647 w 212"/>
              <a:gd name="T19" fmla="*/ 2147483647 h 437"/>
              <a:gd name="T20" fmla="*/ 2147483647 w 212"/>
              <a:gd name="T21" fmla="*/ 2147483647 h 437"/>
              <a:gd name="T22" fmla="*/ 2147483647 w 212"/>
              <a:gd name="T23" fmla="*/ 2147483647 h 437"/>
              <a:gd name="T24" fmla="*/ 2147483647 w 212"/>
              <a:gd name="T25" fmla="*/ 2147483647 h 437"/>
              <a:gd name="T26" fmla="*/ 2147483647 w 212"/>
              <a:gd name="T27" fmla="*/ 2147483647 h 437"/>
              <a:gd name="T28" fmla="*/ 2147483647 w 212"/>
              <a:gd name="T29" fmla="*/ 2147483647 h 437"/>
              <a:gd name="T30" fmla="*/ 2147483647 w 212"/>
              <a:gd name="T31" fmla="*/ 2147483647 h 437"/>
              <a:gd name="T32" fmla="*/ 2147483647 w 212"/>
              <a:gd name="T33" fmla="*/ 2147483647 h 437"/>
              <a:gd name="T34" fmla="*/ 2147483647 w 212"/>
              <a:gd name="T35" fmla="*/ 2147483647 h 437"/>
              <a:gd name="T36" fmla="*/ 2147483647 w 212"/>
              <a:gd name="T37" fmla="*/ 2147483647 h 437"/>
              <a:gd name="T38" fmla="*/ 2147483647 w 212"/>
              <a:gd name="T39" fmla="*/ 2147483647 h 437"/>
              <a:gd name="T40" fmla="*/ 2147483647 w 212"/>
              <a:gd name="T41" fmla="*/ 2147483647 h 437"/>
              <a:gd name="T42" fmla="*/ 2147483647 w 212"/>
              <a:gd name="T43" fmla="*/ 2147483647 h 437"/>
              <a:gd name="T44" fmla="*/ 2147483647 w 212"/>
              <a:gd name="T45" fmla="*/ 2147483647 h 437"/>
              <a:gd name="T46" fmla="*/ 2147483647 w 212"/>
              <a:gd name="T47" fmla="*/ 2147483647 h 437"/>
              <a:gd name="T48" fmla="*/ 2147483647 w 212"/>
              <a:gd name="T49" fmla="*/ 2147483647 h 437"/>
              <a:gd name="T50" fmla="*/ 2147483647 w 212"/>
              <a:gd name="T51" fmla="*/ 2147483647 h 437"/>
              <a:gd name="T52" fmla="*/ 2147483647 w 212"/>
              <a:gd name="T53" fmla="*/ 2147483647 h 437"/>
              <a:gd name="T54" fmla="*/ 2147483647 w 212"/>
              <a:gd name="T55" fmla="*/ 2147483647 h 437"/>
              <a:gd name="T56" fmla="*/ 2147483647 w 212"/>
              <a:gd name="T57" fmla="*/ 2147483647 h 437"/>
              <a:gd name="T58" fmla="*/ 2147483647 w 212"/>
              <a:gd name="T59" fmla="*/ 2147483647 h 437"/>
              <a:gd name="T60" fmla="*/ 2147483647 w 212"/>
              <a:gd name="T61" fmla="*/ 2147483647 h 437"/>
              <a:gd name="T62" fmla="*/ 2147483647 w 212"/>
              <a:gd name="T63" fmla="*/ 2147483647 h 437"/>
              <a:gd name="T64" fmla="*/ 2147483647 w 212"/>
              <a:gd name="T65" fmla="*/ 2147483647 h 437"/>
              <a:gd name="T66" fmla="*/ 2147483647 w 212"/>
              <a:gd name="T67" fmla="*/ 2147483647 h 437"/>
              <a:gd name="T68" fmla="*/ 2147483647 w 212"/>
              <a:gd name="T69" fmla="*/ 0 h 437"/>
              <a:gd name="T70" fmla="*/ 2147483647 w 212"/>
              <a:gd name="T71" fmla="*/ 0 h 437"/>
              <a:gd name="T72" fmla="*/ 2147483647 w 212"/>
              <a:gd name="T73" fmla="*/ 0 h 437"/>
              <a:gd name="T74" fmla="*/ 2147483647 w 212"/>
              <a:gd name="T75" fmla="*/ 0 h 437"/>
              <a:gd name="T76" fmla="*/ 2147483647 w 212"/>
              <a:gd name="T77" fmla="*/ 0 h 437"/>
              <a:gd name="T78" fmla="*/ 2147483647 w 212"/>
              <a:gd name="T79" fmla="*/ 2147483647 h 437"/>
              <a:gd name="T80" fmla="*/ 2147483647 w 212"/>
              <a:gd name="T81" fmla="*/ 2147483647 h 437"/>
              <a:gd name="T82" fmla="*/ 2147483647 w 212"/>
              <a:gd name="T83" fmla="*/ 2147483647 h 437"/>
              <a:gd name="T84" fmla="*/ 2147483647 w 212"/>
              <a:gd name="T85" fmla="*/ 2147483647 h 437"/>
              <a:gd name="T86" fmla="*/ 2147483647 w 212"/>
              <a:gd name="T87" fmla="*/ 2147483647 h 437"/>
              <a:gd name="T88" fmla="*/ 2147483647 w 212"/>
              <a:gd name="T89" fmla="*/ 2147483647 h 437"/>
              <a:gd name="T90" fmla="*/ 2147483647 w 212"/>
              <a:gd name="T91" fmla="*/ 2147483647 h 437"/>
              <a:gd name="T92" fmla="*/ 2147483647 w 212"/>
              <a:gd name="T93" fmla="*/ 2147483647 h 437"/>
              <a:gd name="T94" fmla="*/ 2147483647 w 212"/>
              <a:gd name="T95" fmla="*/ 2147483647 h 437"/>
              <a:gd name="T96" fmla="*/ 2147483647 w 212"/>
              <a:gd name="T97" fmla="*/ 2147483647 h 437"/>
              <a:gd name="T98" fmla="*/ 2147483647 w 212"/>
              <a:gd name="T99" fmla="*/ 2147483647 h 437"/>
              <a:gd name="T100" fmla="*/ 2147483647 w 212"/>
              <a:gd name="T101" fmla="*/ 2147483647 h 437"/>
              <a:gd name="T102" fmla="*/ 2147483647 w 212"/>
              <a:gd name="T103" fmla="*/ 2147483647 h 437"/>
              <a:gd name="T104" fmla="*/ 2147483647 w 212"/>
              <a:gd name="T105" fmla="*/ 2147483647 h 437"/>
              <a:gd name="T106" fmla="*/ 2147483647 w 212"/>
              <a:gd name="T107" fmla="*/ 2147483647 h 437"/>
              <a:gd name="T108" fmla="*/ 2147483647 w 212"/>
              <a:gd name="T109" fmla="*/ 2147483647 h 437"/>
              <a:gd name="T110" fmla="*/ 2147483647 w 212"/>
              <a:gd name="T111" fmla="*/ 2147483647 h 437"/>
              <a:gd name="T112" fmla="*/ 2147483647 w 212"/>
              <a:gd name="T113" fmla="*/ 2147483647 h 437"/>
              <a:gd name="T114" fmla="*/ 2147483647 w 212"/>
              <a:gd name="T115" fmla="*/ 2147483647 h 437"/>
              <a:gd name="T116" fmla="*/ 2147483647 w 212"/>
              <a:gd name="T117" fmla="*/ 2147483647 h 437"/>
              <a:gd name="T118" fmla="*/ 2147483647 w 212"/>
              <a:gd name="T119" fmla="*/ 2147483647 h 437"/>
              <a:gd name="T120" fmla="*/ 2147483647 w 212"/>
              <a:gd name="T121" fmla="*/ 2147483647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12"/>
              <a:gd name="T184" fmla="*/ 0 h 437"/>
              <a:gd name="T185" fmla="*/ 212 w 212"/>
              <a:gd name="T186" fmla="*/ 437 h 43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12" h="437">
                <a:moveTo>
                  <a:pt x="5" y="437"/>
                </a:moveTo>
                <a:lnTo>
                  <a:pt x="2" y="428"/>
                </a:lnTo>
                <a:lnTo>
                  <a:pt x="1" y="416"/>
                </a:lnTo>
                <a:lnTo>
                  <a:pt x="0" y="404"/>
                </a:lnTo>
                <a:lnTo>
                  <a:pt x="1" y="390"/>
                </a:lnTo>
                <a:lnTo>
                  <a:pt x="5" y="360"/>
                </a:lnTo>
                <a:lnTo>
                  <a:pt x="13" y="327"/>
                </a:lnTo>
                <a:lnTo>
                  <a:pt x="20" y="295"/>
                </a:lnTo>
                <a:lnTo>
                  <a:pt x="28" y="264"/>
                </a:lnTo>
                <a:lnTo>
                  <a:pt x="35" y="235"/>
                </a:lnTo>
                <a:lnTo>
                  <a:pt x="39" y="212"/>
                </a:lnTo>
                <a:lnTo>
                  <a:pt x="50" y="209"/>
                </a:lnTo>
                <a:lnTo>
                  <a:pt x="63" y="205"/>
                </a:lnTo>
                <a:lnTo>
                  <a:pt x="62" y="182"/>
                </a:lnTo>
                <a:lnTo>
                  <a:pt x="62" y="158"/>
                </a:lnTo>
                <a:lnTo>
                  <a:pt x="61" y="135"/>
                </a:lnTo>
                <a:lnTo>
                  <a:pt x="61" y="111"/>
                </a:lnTo>
                <a:lnTo>
                  <a:pt x="67" y="109"/>
                </a:lnTo>
                <a:lnTo>
                  <a:pt x="75" y="105"/>
                </a:lnTo>
                <a:lnTo>
                  <a:pt x="78" y="113"/>
                </a:lnTo>
                <a:lnTo>
                  <a:pt x="82" y="118"/>
                </a:lnTo>
                <a:lnTo>
                  <a:pt x="87" y="122"/>
                </a:lnTo>
                <a:lnTo>
                  <a:pt x="92" y="123"/>
                </a:lnTo>
                <a:lnTo>
                  <a:pt x="98" y="123"/>
                </a:lnTo>
                <a:lnTo>
                  <a:pt x="105" y="122"/>
                </a:lnTo>
                <a:lnTo>
                  <a:pt x="110" y="119"/>
                </a:lnTo>
                <a:lnTo>
                  <a:pt x="117" y="115"/>
                </a:lnTo>
                <a:lnTo>
                  <a:pt x="130" y="105"/>
                </a:lnTo>
                <a:lnTo>
                  <a:pt x="141" y="93"/>
                </a:lnTo>
                <a:lnTo>
                  <a:pt x="149" y="81"/>
                </a:lnTo>
                <a:lnTo>
                  <a:pt x="156" y="71"/>
                </a:lnTo>
                <a:lnTo>
                  <a:pt x="157" y="53"/>
                </a:lnTo>
                <a:lnTo>
                  <a:pt x="160" y="35"/>
                </a:lnTo>
                <a:lnTo>
                  <a:pt x="162" y="16"/>
                </a:lnTo>
                <a:lnTo>
                  <a:pt x="165" y="0"/>
                </a:lnTo>
                <a:lnTo>
                  <a:pt x="177" y="0"/>
                </a:lnTo>
                <a:lnTo>
                  <a:pt x="188" y="0"/>
                </a:lnTo>
                <a:lnTo>
                  <a:pt x="200" y="0"/>
                </a:lnTo>
                <a:lnTo>
                  <a:pt x="212" y="0"/>
                </a:lnTo>
                <a:lnTo>
                  <a:pt x="210" y="13"/>
                </a:lnTo>
                <a:lnTo>
                  <a:pt x="209" y="23"/>
                </a:lnTo>
                <a:lnTo>
                  <a:pt x="205" y="33"/>
                </a:lnTo>
                <a:lnTo>
                  <a:pt x="201" y="42"/>
                </a:lnTo>
                <a:lnTo>
                  <a:pt x="190" y="59"/>
                </a:lnTo>
                <a:lnTo>
                  <a:pt x="175" y="76"/>
                </a:lnTo>
                <a:lnTo>
                  <a:pt x="131" y="153"/>
                </a:lnTo>
                <a:lnTo>
                  <a:pt x="106" y="195"/>
                </a:lnTo>
                <a:lnTo>
                  <a:pt x="97" y="208"/>
                </a:lnTo>
                <a:lnTo>
                  <a:pt x="91" y="217"/>
                </a:lnTo>
                <a:lnTo>
                  <a:pt x="83" y="226"/>
                </a:lnTo>
                <a:lnTo>
                  <a:pt x="75" y="235"/>
                </a:lnTo>
                <a:lnTo>
                  <a:pt x="66" y="260"/>
                </a:lnTo>
                <a:lnTo>
                  <a:pt x="58" y="284"/>
                </a:lnTo>
                <a:lnTo>
                  <a:pt x="50" y="309"/>
                </a:lnTo>
                <a:lnTo>
                  <a:pt x="43" y="335"/>
                </a:lnTo>
                <a:lnTo>
                  <a:pt x="36" y="360"/>
                </a:lnTo>
                <a:lnTo>
                  <a:pt x="30" y="386"/>
                </a:lnTo>
                <a:lnTo>
                  <a:pt x="24" y="411"/>
                </a:lnTo>
                <a:lnTo>
                  <a:pt x="19" y="437"/>
                </a:lnTo>
                <a:lnTo>
                  <a:pt x="11" y="437"/>
                </a:lnTo>
                <a:lnTo>
                  <a:pt x="5" y="437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48" name="Freeform 13"/>
          <p:cNvSpPr>
            <a:spLocks/>
          </p:cNvSpPr>
          <p:nvPr/>
        </p:nvSpPr>
        <p:spPr bwMode="auto">
          <a:xfrm>
            <a:off x="5192713" y="4510088"/>
            <a:ext cx="273050" cy="188912"/>
          </a:xfrm>
          <a:custGeom>
            <a:avLst/>
            <a:gdLst>
              <a:gd name="T0" fmla="*/ 2147483647 w 688"/>
              <a:gd name="T1" fmla="*/ 2147483647 h 479"/>
              <a:gd name="T2" fmla="*/ 2147483647 w 688"/>
              <a:gd name="T3" fmla="*/ 2147483647 h 479"/>
              <a:gd name="T4" fmla="*/ 2147483647 w 688"/>
              <a:gd name="T5" fmla="*/ 2147483647 h 479"/>
              <a:gd name="T6" fmla="*/ 2147483647 w 688"/>
              <a:gd name="T7" fmla="*/ 2147483647 h 479"/>
              <a:gd name="T8" fmla="*/ 2147483647 w 688"/>
              <a:gd name="T9" fmla="*/ 2147483647 h 479"/>
              <a:gd name="T10" fmla="*/ 2147483647 w 688"/>
              <a:gd name="T11" fmla="*/ 2147483647 h 479"/>
              <a:gd name="T12" fmla="*/ 2147483647 w 688"/>
              <a:gd name="T13" fmla="*/ 2147483647 h 479"/>
              <a:gd name="T14" fmla="*/ 2147483647 w 688"/>
              <a:gd name="T15" fmla="*/ 2147483647 h 479"/>
              <a:gd name="T16" fmla="*/ 2147483647 w 688"/>
              <a:gd name="T17" fmla="*/ 2147483647 h 479"/>
              <a:gd name="T18" fmla="*/ 2147483647 w 688"/>
              <a:gd name="T19" fmla="*/ 2147483647 h 479"/>
              <a:gd name="T20" fmla="*/ 2147483647 w 688"/>
              <a:gd name="T21" fmla="*/ 2147483647 h 479"/>
              <a:gd name="T22" fmla="*/ 2147483647 w 688"/>
              <a:gd name="T23" fmla="*/ 2147483647 h 479"/>
              <a:gd name="T24" fmla="*/ 2147483647 w 688"/>
              <a:gd name="T25" fmla="*/ 2147483647 h 479"/>
              <a:gd name="T26" fmla="*/ 2147483647 w 688"/>
              <a:gd name="T27" fmla="*/ 2147483647 h 479"/>
              <a:gd name="T28" fmla="*/ 2147483647 w 688"/>
              <a:gd name="T29" fmla="*/ 2147483647 h 479"/>
              <a:gd name="T30" fmla="*/ 2147483647 w 688"/>
              <a:gd name="T31" fmla="*/ 2147483647 h 479"/>
              <a:gd name="T32" fmla="*/ 2147483647 w 688"/>
              <a:gd name="T33" fmla="*/ 2147483647 h 479"/>
              <a:gd name="T34" fmla="*/ 2147483647 w 688"/>
              <a:gd name="T35" fmla="*/ 2147483647 h 479"/>
              <a:gd name="T36" fmla="*/ 0 w 688"/>
              <a:gd name="T37" fmla="*/ 2147483647 h 479"/>
              <a:gd name="T38" fmla="*/ 2147483647 w 688"/>
              <a:gd name="T39" fmla="*/ 2147483647 h 479"/>
              <a:gd name="T40" fmla="*/ 2147483647 w 688"/>
              <a:gd name="T41" fmla="*/ 2147483647 h 479"/>
              <a:gd name="T42" fmla="*/ 2147483647 w 688"/>
              <a:gd name="T43" fmla="*/ 2147483647 h 479"/>
              <a:gd name="T44" fmla="*/ 2147483647 w 688"/>
              <a:gd name="T45" fmla="*/ 2147483647 h 479"/>
              <a:gd name="T46" fmla="*/ 2147483647 w 688"/>
              <a:gd name="T47" fmla="*/ 2147483647 h 479"/>
              <a:gd name="T48" fmla="*/ 2147483647 w 688"/>
              <a:gd name="T49" fmla="*/ 2147483647 h 479"/>
              <a:gd name="T50" fmla="*/ 2147483647 w 688"/>
              <a:gd name="T51" fmla="*/ 2147483647 h 479"/>
              <a:gd name="T52" fmla="*/ 2147483647 w 688"/>
              <a:gd name="T53" fmla="*/ 2147483647 h 479"/>
              <a:gd name="T54" fmla="*/ 2147483647 w 688"/>
              <a:gd name="T55" fmla="*/ 2147483647 h 479"/>
              <a:gd name="T56" fmla="*/ 2147483647 w 688"/>
              <a:gd name="T57" fmla="*/ 2147483647 h 479"/>
              <a:gd name="T58" fmla="*/ 2147483647 w 688"/>
              <a:gd name="T59" fmla="*/ 2147483647 h 479"/>
              <a:gd name="T60" fmla="*/ 2147483647 w 688"/>
              <a:gd name="T61" fmla="*/ 2147483647 h 479"/>
              <a:gd name="T62" fmla="*/ 2147483647 w 688"/>
              <a:gd name="T63" fmla="*/ 2147483647 h 479"/>
              <a:gd name="T64" fmla="*/ 2147483647 w 688"/>
              <a:gd name="T65" fmla="*/ 2147483647 h 479"/>
              <a:gd name="T66" fmla="*/ 2147483647 w 688"/>
              <a:gd name="T67" fmla="*/ 2147483647 h 479"/>
              <a:gd name="T68" fmla="*/ 2147483647 w 688"/>
              <a:gd name="T69" fmla="*/ 2147483647 h 479"/>
              <a:gd name="T70" fmla="*/ 2147483647 w 688"/>
              <a:gd name="T71" fmla="*/ 2147483647 h 479"/>
              <a:gd name="T72" fmla="*/ 2147483647 w 688"/>
              <a:gd name="T73" fmla="*/ 2147483647 h 479"/>
              <a:gd name="T74" fmla="*/ 2147483647 w 688"/>
              <a:gd name="T75" fmla="*/ 2147483647 h 479"/>
              <a:gd name="T76" fmla="*/ 2147483647 w 688"/>
              <a:gd name="T77" fmla="*/ 2147483647 h 479"/>
              <a:gd name="T78" fmla="*/ 2147483647 w 688"/>
              <a:gd name="T79" fmla="*/ 2147483647 h 479"/>
              <a:gd name="T80" fmla="*/ 2147483647 w 688"/>
              <a:gd name="T81" fmla="*/ 2147483647 h 479"/>
              <a:gd name="T82" fmla="*/ 2147483647 w 688"/>
              <a:gd name="T83" fmla="*/ 2147483647 h 479"/>
              <a:gd name="T84" fmla="*/ 2147483647 w 688"/>
              <a:gd name="T85" fmla="*/ 2147483647 h 479"/>
              <a:gd name="T86" fmla="*/ 2147483647 w 688"/>
              <a:gd name="T87" fmla="*/ 2147483647 h 479"/>
              <a:gd name="T88" fmla="*/ 2147483647 w 688"/>
              <a:gd name="T89" fmla="*/ 2147483647 h 479"/>
              <a:gd name="T90" fmla="*/ 2147483647 w 688"/>
              <a:gd name="T91" fmla="*/ 2147483647 h 479"/>
              <a:gd name="T92" fmla="*/ 2147483647 w 688"/>
              <a:gd name="T93" fmla="*/ 2147483647 h 479"/>
              <a:gd name="T94" fmla="*/ 2147483647 w 688"/>
              <a:gd name="T95" fmla="*/ 2147483647 h 479"/>
              <a:gd name="T96" fmla="*/ 2147483647 w 688"/>
              <a:gd name="T97" fmla="*/ 2147483647 h 479"/>
              <a:gd name="T98" fmla="*/ 2147483647 w 688"/>
              <a:gd name="T99" fmla="*/ 2147483647 h 479"/>
              <a:gd name="T100" fmla="*/ 2147483647 w 688"/>
              <a:gd name="T101" fmla="*/ 2147483647 h 479"/>
              <a:gd name="T102" fmla="*/ 2147483647 w 688"/>
              <a:gd name="T103" fmla="*/ 2147483647 h 479"/>
              <a:gd name="T104" fmla="*/ 2147483647 w 688"/>
              <a:gd name="T105" fmla="*/ 2147483647 h 479"/>
              <a:gd name="T106" fmla="*/ 2147483647 w 688"/>
              <a:gd name="T107" fmla="*/ 2147483647 h 479"/>
              <a:gd name="T108" fmla="*/ 2147483647 w 688"/>
              <a:gd name="T109" fmla="*/ 2147483647 h 479"/>
              <a:gd name="T110" fmla="*/ 2147483647 w 688"/>
              <a:gd name="T111" fmla="*/ 2147483647 h 479"/>
              <a:gd name="T112" fmla="*/ 2147483647 w 688"/>
              <a:gd name="T113" fmla="*/ 2147483647 h 479"/>
              <a:gd name="T114" fmla="*/ 2147483647 w 688"/>
              <a:gd name="T115" fmla="*/ 2147483647 h 479"/>
              <a:gd name="T116" fmla="*/ 2147483647 w 688"/>
              <a:gd name="T117" fmla="*/ 2147483647 h 479"/>
              <a:gd name="T118" fmla="*/ 2147483647 w 688"/>
              <a:gd name="T119" fmla="*/ 2147483647 h 479"/>
              <a:gd name="T120" fmla="*/ 2147483647 w 688"/>
              <a:gd name="T121" fmla="*/ 2147483647 h 47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688"/>
              <a:gd name="T184" fmla="*/ 0 h 479"/>
              <a:gd name="T185" fmla="*/ 688 w 688"/>
              <a:gd name="T186" fmla="*/ 479 h 47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688" h="479">
                <a:moveTo>
                  <a:pt x="469" y="479"/>
                </a:moveTo>
                <a:lnTo>
                  <a:pt x="458" y="462"/>
                </a:lnTo>
                <a:lnTo>
                  <a:pt x="446" y="448"/>
                </a:lnTo>
                <a:lnTo>
                  <a:pt x="434" y="436"/>
                </a:lnTo>
                <a:lnTo>
                  <a:pt x="422" y="423"/>
                </a:lnTo>
                <a:lnTo>
                  <a:pt x="412" y="410"/>
                </a:lnTo>
                <a:lnTo>
                  <a:pt x="402" y="394"/>
                </a:lnTo>
                <a:lnTo>
                  <a:pt x="398" y="387"/>
                </a:lnTo>
                <a:lnTo>
                  <a:pt x="392" y="377"/>
                </a:lnTo>
                <a:lnTo>
                  <a:pt x="390" y="367"/>
                </a:lnTo>
                <a:lnTo>
                  <a:pt x="386" y="355"/>
                </a:lnTo>
                <a:lnTo>
                  <a:pt x="372" y="347"/>
                </a:lnTo>
                <a:lnTo>
                  <a:pt x="359" y="338"/>
                </a:lnTo>
                <a:lnTo>
                  <a:pt x="359" y="327"/>
                </a:lnTo>
                <a:lnTo>
                  <a:pt x="359" y="315"/>
                </a:lnTo>
                <a:lnTo>
                  <a:pt x="372" y="312"/>
                </a:lnTo>
                <a:lnTo>
                  <a:pt x="386" y="311"/>
                </a:lnTo>
                <a:lnTo>
                  <a:pt x="386" y="298"/>
                </a:lnTo>
                <a:lnTo>
                  <a:pt x="386" y="286"/>
                </a:lnTo>
                <a:lnTo>
                  <a:pt x="368" y="288"/>
                </a:lnTo>
                <a:lnTo>
                  <a:pt x="352" y="290"/>
                </a:lnTo>
                <a:lnTo>
                  <a:pt x="339" y="293"/>
                </a:lnTo>
                <a:lnTo>
                  <a:pt x="326" y="297"/>
                </a:lnTo>
                <a:lnTo>
                  <a:pt x="314" y="302"/>
                </a:lnTo>
                <a:lnTo>
                  <a:pt x="303" y="310"/>
                </a:lnTo>
                <a:lnTo>
                  <a:pt x="290" y="319"/>
                </a:lnTo>
                <a:lnTo>
                  <a:pt x="277" y="331"/>
                </a:lnTo>
                <a:lnTo>
                  <a:pt x="273" y="323"/>
                </a:lnTo>
                <a:lnTo>
                  <a:pt x="268" y="316"/>
                </a:lnTo>
                <a:lnTo>
                  <a:pt x="262" y="311"/>
                </a:lnTo>
                <a:lnTo>
                  <a:pt x="256" y="306"/>
                </a:lnTo>
                <a:lnTo>
                  <a:pt x="242" y="295"/>
                </a:lnTo>
                <a:lnTo>
                  <a:pt x="225" y="286"/>
                </a:lnTo>
                <a:lnTo>
                  <a:pt x="223" y="272"/>
                </a:lnTo>
                <a:lnTo>
                  <a:pt x="222" y="258"/>
                </a:lnTo>
                <a:lnTo>
                  <a:pt x="221" y="243"/>
                </a:lnTo>
                <a:lnTo>
                  <a:pt x="219" y="229"/>
                </a:lnTo>
                <a:lnTo>
                  <a:pt x="165" y="219"/>
                </a:lnTo>
                <a:lnTo>
                  <a:pt x="135" y="216"/>
                </a:lnTo>
                <a:lnTo>
                  <a:pt x="130" y="217"/>
                </a:lnTo>
                <a:lnTo>
                  <a:pt x="126" y="221"/>
                </a:lnTo>
                <a:lnTo>
                  <a:pt x="121" y="225"/>
                </a:lnTo>
                <a:lnTo>
                  <a:pt x="117" y="232"/>
                </a:lnTo>
                <a:lnTo>
                  <a:pt x="105" y="251"/>
                </a:lnTo>
                <a:lnTo>
                  <a:pt x="92" y="281"/>
                </a:lnTo>
                <a:lnTo>
                  <a:pt x="72" y="281"/>
                </a:lnTo>
                <a:lnTo>
                  <a:pt x="53" y="282"/>
                </a:lnTo>
                <a:lnTo>
                  <a:pt x="48" y="275"/>
                </a:lnTo>
                <a:lnTo>
                  <a:pt x="43" y="267"/>
                </a:lnTo>
                <a:lnTo>
                  <a:pt x="37" y="260"/>
                </a:lnTo>
                <a:lnTo>
                  <a:pt x="32" y="255"/>
                </a:lnTo>
                <a:lnTo>
                  <a:pt x="27" y="251"/>
                </a:lnTo>
                <a:lnTo>
                  <a:pt x="19" y="247"/>
                </a:lnTo>
                <a:lnTo>
                  <a:pt x="11" y="243"/>
                </a:lnTo>
                <a:lnTo>
                  <a:pt x="1" y="241"/>
                </a:lnTo>
                <a:lnTo>
                  <a:pt x="0" y="230"/>
                </a:lnTo>
                <a:lnTo>
                  <a:pt x="0" y="224"/>
                </a:lnTo>
                <a:lnTo>
                  <a:pt x="1" y="215"/>
                </a:lnTo>
                <a:lnTo>
                  <a:pt x="5" y="200"/>
                </a:lnTo>
                <a:lnTo>
                  <a:pt x="18" y="195"/>
                </a:lnTo>
                <a:lnTo>
                  <a:pt x="28" y="190"/>
                </a:lnTo>
                <a:lnTo>
                  <a:pt x="39" y="185"/>
                </a:lnTo>
                <a:lnTo>
                  <a:pt x="49" y="178"/>
                </a:lnTo>
                <a:lnTo>
                  <a:pt x="58" y="172"/>
                </a:lnTo>
                <a:lnTo>
                  <a:pt x="69" y="167"/>
                </a:lnTo>
                <a:lnTo>
                  <a:pt x="80" y="161"/>
                </a:lnTo>
                <a:lnTo>
                  <a:pt x="92" y="158"/>
                </a:lnTo>
                <a:lnTo>
                  <a:pt x="88" y="145"/>
                </a:lnTo>
                <a:lnTo>
                  <a:pt x="83" y="132"/>
                </a:lnTo>
                <a:lnTo>
                  <a:pt x="78" y="117"/>
                </a:lnTo>
                <a:lnTo>
                  <a:pt x="71" y="103"/>
                </a:lnTo>
                <a:lnTo>
                  <a:pt x="58" y="76"/>
                </a:lnTo>
                <a:lnTo>
                  <a:pt x="45" y="48"/>
                </a:lnTo>
                <a:lnTo>
                  <a:pt x="40" y="48"/>
                </a:lnTo>
                <a:lnTo>
                  <a:pt x="35" y="48"/>
                </a:lnTo>
                <a:lnTo>
                  <a:pt x="35" y="42"/>
                </a:lnTo>
                <a:lnTo>
                  <a:pt x="35" y="37"/>
                </a:lnTo>
                <a:lnTo>
                  <a:pt x="59" y="22"/>
                </a:lnTo>
                <a:lnTo>
                  <a:pt x="79" y="14"/>
                </a:lnTo>
                <a:lnTo>
                  <a:pt x="89" y="12"/>
                </a:lnTo>
                <a:lnTo>
                  <a:pt x="100" y="11"/>
                </a:lnTo>
                <a:lnTo>
                  <a:pt x="114" y="9"/>
                </a:lnTo>
                <a:lnTo>
                  <a:pt x="131" y="8"/>
                </a:lnTo>
                <a:lnTo>
                  <a:pt x="134" y="17"/>
                </a:lnTo>
                <a:lnTo>
                  <a:pt x="136" y="27"/>
                </a:lnTo>
                <a:lnTo>
                  <a:pt x="139" y="38"/>
                </a:lnTo>
                <a:lnTo>
                  <a:pt x="141" y="48"/>
                </a:lnTo>
                <a:lnTo>
                  <a:pt x="160" y="51"/>
                </a:lnTo>
                <a:lnTo>
                  <a:pt x="177" y="53"/>
                </a:lnTo>
                <a:lnTo>
                  <a:pt x="195" y="57"/>
                </a:lnTo>
                <a:lnTo>
                  <a:pt x="213" y="61"/>
                </a:lnTo>
                <a:lnTo>
                  <a:pt x="216" y="72"/>
                </a:lnTo>
                <a:lnTo>
                  <a:pt x="219" y="83"/>
                </a:lnTo>
                <a:lnTo>
                  <a:pt x="222" y="94"/>
                </a:lnTo>
                <a:lnTo>
                  <a:pt x="226" y="106"/>
                </a:lnTo>
                <a:lnTo>
                  <a:pt x="239" y="106"/>
                </a:lnTo>
                <a:lnTo>
                  <a:pt x="252" y="106"/>
                </a:lnTo>
                <a:lnTo>
                  <a:pt x="257" y="91"/>
                </a:lnTo>
                <a:lnTo>
                  <a:pt x="265" y="78"/>
                </a:lnTo>
                <a:lnTo>
                  <a:pt x="273" y="66"/>
                </a:lnTo>
                <a:lnTo>
                  <a:pt x="283" y="57"/>
                </a:lnTo>
                <a:lnTo>
                  <a:pt x="294" y="48"/>
                </a:lnTo>
                <a:lnTo>
                  <a:pt x="305" y="40"/>
                </a:lnTo>
                <a:lnTo>
                  <a:pt x="320" y="34"/>
                </a:lnTo>
                <a:lnTo>
                  <a:pt x="334" y="29"/>
                </a:lnTo>
                <a:lnTo>
                  <a:pt x="338" y="16"/>
                </a:lnTo>
                <a:lnTo>
                  <a:pt x="342" y="4"/>
                </a:lnTo>
                <a:lnTo>
                  <a:pt x="350" y="1"/>
                </a:lnTo>
                <a:lnTo>
                  <a:pt x="357" y="0"/>
                </a:lnTo>
                <a:lnTo>
                  <a:pt x="363" y="4"/>
                </a:lnTo>
                <a:lnTo>
                  <a:pt x="366" y="8"/>
                </a:lnTo>
                <a:lnTo>
                  <a:pt x="370" y="13"/>
                </a:lnTo>
                <a:lnTo>
                  <a:pt x="373" y="20"/>
                </a:lnTo>
                <a:lnTo>
                  <a:pt x="376" y="31"/>
                </a:lnTo>
                <a:lnTo>
                  <a:pt x="378" y="46"/>
                </a:lnTo>
                <a:lnTo>
                  <a:pt x="378" y="74"/>
                </a:lnTo>
                <a:lnTo>
                  <a:pt x="378" y="100"/>
                </a:lnTo>
                <a:lnTo>
                  <a:pt x="389" y="107"/>
                </a:lnTo>
                <a:lnTo>
                  <a:pt x="398" y="113"/>
                </a:lnTo>
                <a:lnTo>
                  <a:pt x="404" y="120"/>
                </a:lnTo>
                <a:lnTo>
                  <a:pt x="411" y="126"/>
                </a:lnTo>
                <a:lnTo>
                  <a:pt x="420" y="143"/>
                </a:lnTo>
                <a:lnTo>
                  <a:pt x="430" y="163"/>
                </a:lnTo>
                <a:lnTo>
                  <a:pt x="468" y="152"/>
                </a:lnTo>
                <a:lnTo>
                  <a:pt x="494" y="142"/>
                </a:lnTo>
                <a:lnTo>
                  <a:pt x="500" y="141"/>
                </a:lnTo>
                <a:lnTo>
                  <a:pt x="506" y="141"/>
                </a:lnTo>
                <a:lnTo>
                  <a:pt x="512" y="141"/>
                </a:lnTo>
                <a:lnTo>
                  <a:pt x="520" y="142"/>
                </a:lnTo>
                <a:lnTo>
                  <a:pt x="526" y="143"/>
                </a:lnTo>
                <a:lnTo>
                  <a:pt x="534" y="147"/>
                </a:lnTo>
                <a:lnTo>
                  <a:pt x="543" y="151"/>
                </a:lnTo>
                <a:lnTo>
                  <a:pt x="554" y="158"/>
                </a:lnTo>
                <a:lnTo>
                  <a:pt x="555" y="147"/>
                </a:lnTo>
                <a:lnTo>
                  <a:pt x="558" y="137"/>
                </a:lnTo>
                <a:lnTo>
                  <a:pt x="562" y="129"/>
                </a:lnTo>
                <a:lnTo>
                  <a:pt x="566" y="122"/>
                </a:lnTo>
                <a:lnTo>
                  <a:pt x="569" y="119"/>
                </a:lnTo>
                <a:lnTo>
                  <a:pt x="575" y="115"/>
                </a:lnTo>
                <a:lnTo>
                  <a:pt x="581" y="113"/>
                </a:lnTo>
                <a:lnTo>
                  <a:pt x="586" y="112"/>
                </a:lnTo>
                <a:lnTo>
                  <a:pt x="593" y="112"/>
                </a:lnTo>
                <a:lnTo>
                  <a:pt x="599" y="113"/>
                </a:lnTo>
                <a:lnTo>
                  <a:pt x="605" y="117"/>
                </a:lnTo>
                <a:lnTo>
                  <a:pt x="611" y="120"/>
                </a:lnTo>
                <a:lnTo>
                  <a:pt x="618" y="125"/>
                </a:lnTo>
                <a:lnTo>
                  <a:pt x="623" y="130"/>
                </a:lnTo>
                <a:lnTo>
                  <a:pt x="628" y="137"/>
                </a:lnTo>
                <a:lnTo>
                  <a:pt x="632" y="145"/>
                </a:lnTo>
                <a:lnTo>
                  <a:pt x="632" y="158"/>
                </a:lnTo>
                <a:lnTo>
                  <a:pt x="633" y="171"/>
                </a:lnTo>
                <a:lnTo>
                  <a:pt x="633" y="184"/>
                </a:lnTo>
                <a:lnTo>
                  <a:pt x="634" y="197"/>
                </a:lnTo>
                <a:lnTo>
                  <a:pt x="647" y="198"/>
                </a:lnTo>
                <a:lnTo>
                  <a:pt x="661" y="199"/>
                </a:lnTo>
                <a:lnTo>
                  <a:pt x="674" y="200"/>
                </a:lnTo>
                <a:lnTo>
                  <a:pt x="688" y="202"/>
                </a:lnTo>
                <a:lnTo>
                  <a:pt x="688" y="213"/>
                </a:lnTo>
                <a:lnTo>
                  <a:pt x="687" y="226"/>
                </a:lnTo>
                <a:lnTo>
                  <a:pt x="684" y="240"/>
                </a:lnTo>
                <a:lnTo>
                  <a:pt x="681" y="254"/>
                </a:lnTo>
                <a:lnTo>
                  <a:pt x="677" y="268"/>
                </a:lnTo>
                <a:lnTo>
                  <a:pt x="672" y="281"/>
                </a:lnTo>
                <a:lnTo>
                  <a:pt x="667" y="295"/>
                </a:lnTo>
                <a:lnTo>
                  <a:pt x="661" y="310"/>
                </a:lnTo>
                <a:lnTo>
                  <a:pt x="654" y="323"/>
                </a:lnTo>
                <a:lnTo>
                  <a:pt x="646" y="334"/>
                </a:lnTo>
                <a:lnTo>
                  <a:pt x="638" y="346"/>
                </a:lnTo>
                <a:lnTo>
                  <a:pt x="629" y="358"/>
                </a:lnTo>
                <a:lnTo>
                  <a:pt x="620" y="367"/>
                </a:lnTo>
                <a:lnTo>
                  <a:pt x="610" y="375"/>
                </a:lnTo>
                <a:lnTo>
                  <a:pt x="599" y="381"/>
                </a:lnTo>
                <a:lnTo>
                  <a:pt x="588" y="387"/>
                </a:lnTo>
                <a:lnTo>
                  <a:pt x="573" y="410"/>
                </a:lnTo>
                <a:lnTo>
                  <a:pt x="560" y="429"/>
                </a:lnTo>
                <a:lnTo>
                  <a:pt x="550" y="444"/>
                </a:lnTo>
                <a:lnTo>
                  <a:pt x="538" y="455"/>
                </a:lnTo>
                <a:lnTo>
                  <a:pt x="533" y="461"/>
                </a:lnTo>
                <a:lnTo>
                  <a:pt x="526" y="465"/>
                </a:lnTo>
                <a:lnTo>
                  <a:pt x="520" y="468"/>
                </a:lnTo>
                <a:lnTo>
                  <a:pt x="512" y="471"/>
                </a:lnTo>
                <a:lnTo>
                  <a:pt x="493" y="475"/>
                </a:lnTo>
                <a:lnTo>
                  <a:pt x="469" y="479"/>
                </a:lnTo>
                <a:close/>
              </a:path>
            </a:pathLst>
          </a:custGeom>
          <a:solidFill>
            <a:schemeClr val="bg1"/>
          </a:solidFill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49" name="Freeform 14"/>
          <p:cNvSpPr>
            <a:spLocks/>
          </p:cNvSpPr>
          <p:nvPr/>
        </p:nvSpPr>
        <p:spPr bwMode="auto">
          <a:xfrm>
            <a:off x="4122738" y="4105275"/>
            <a:ext cx="287337" cy="503238"/>
          </a:xfrm>
          <a:custGeom>
            <a:avLst/>
            <a:gdLst>
              <a:gd name="T0" fmla="*/ 2147483647 w 722"/>
              <a:gd name="T1" fmla="*/ 2147483647 h 1269"/>
              <a:gd name="T2" fmla="*/ 2147483647 w 722"/>
              <a:gd name="T3" fmla="*/ 2147483647 h 1269"/>
              <a:gd name="T4" fmla="*/ 2147483647 w 722"/>
              <a:gd name="T5" fmla="*/ 2147483647 h 1269"/>
              <a:gd name="T6" fmla="*/ 2147483647 w 722"/>
              <a:gd name="T7" fmla="*/ 2147483647 h 1269"/>
              <a:gd name="T8" fmla="*/ 2147483647 w 722"/>
              <a:gd name="T9" fmla="*/ 2147483647 h 1269"/>
              <a:gd name="T10" fmla="*/ 2147483647 w 722"/>
              <a:gd name="T11" fmla="*/ 2147483647 h 1269"/>
              <a:gd name="T12" fmla="*/ 2147483647 w 722"/>
              <a:gd name="T13" fmla="*/ 2147483647 h 1269"/>
              <a:gd name="T14" fmla="*/ 2147483647 w 722"/>
              <a:gd name="T15" fmla="*/ 2147483647 h 1269"/>
              <a:gd name="T16" fmla="*/ 2147483647 w 722"/>
              <a:gd name="T17" fmla="*/ 2147483647 h 1269"/>
              <a:gd name="T18" fmla="*/ 2147483647 w 722"/>
              <a:gd name="T19" fmla="*/ 2147483647 h 1269"/>
              <a:gd name="T20" fmla="*/ 2147483647 w 722"/>
              <a:gd name="T21" fmla="*/ 2147483647 h 1269"/>
              <a:gd name="T22" fmla="*/ 2147483647 w 722"/>
              <a:gd name="T23" fmla="*/ 2147483647 h 1269"/>
              <a:gd name="T24" fmla="*/ 2147483647 w 722"/>
              <a:gd name="T25" fmla="*/ 2147483647 h 1269"/>
              <a:gd name="T26" fmla="*/ 2147483647 w 722"/>
              <a:gd name="T27" fmla="*/ 2147483647 h 1269"/>
              <a:gd name="T28" fmla="*/ 2147483647 w 722"/>
              <a:gd name="T29" fmla="*/ 2147483647 h 1269"/>
              <a:gd name="T30" fmla="*/ 2147483647 w 722"/>
              <a:gd name="T31" fmla="*/ 2147483647 h 1269"/>
              <a:gd name="T32" fmla="*/ 2147483647 w 722"/>
              <a:gd name="T33" fmla="*/ 2147483647 h 1269"/>
              <a:gd name="T34" fmla="*/ 2147483647 w 722"/>
              <a:gd name="T35" fmla="*/ 2147483647 h 1269"/>
              <a:gd name="T36" fmla="*/ 2147483647 w 722"/>
              <a:gd name="T37" fmla="*/ 2147483647 h 1269"/>
              <a:gd name="T38" fmla="*/ 2147483647 w 722"/>
              <a:gd name="T39" fmla="*/ 2147483647 h 1269"/>
              <a:gd name="T40" fmla="*/ 2147483647 w 722"/>
              <a:gd name="T41" fmla="*/ 2147483647 h 1269"/>
              <a:gd name="T42" fmla="*/ 2147483647 w 722"/>
              <a:gd name="T43" fmla="*/ 2147483647 h 1269"/>
              <a:gd name="T44" fmla="*/ 2147483647 w 722"/>
              <a:gd name="T45" fmla="*/ 2147483647 h 1269"/>
              <a:gd name="T46" fmla="*/ 2147483647 w 722"/>
              <a:gd name="T47" fmla="*/ 2147483647 h 1269"/>
              <a:gd name="T48" fmla="*/ 2147483647 w 722"/>
              <a:gd name="T49" fmla="*/ 2147483647 h 1269"/>
              <a:gd name="T50" fmla="*/ 2147483647 w 722"/>
              <a:gd name="T51" fmla="*/ 2147483647 h 1269"/>
              <a:gd name="T52" fmla="*/ 2147483647 w 722"/>
              <a:gd name="T53" fmla="*/ 2147483647 h 1269"/>
              <a:gd name="T54" fmla="*/ 2147483647 w 722"/>
              <a:gd name="T55" fmla="*/ 2147483647 h 1269"/>
              <a:gd name="T56" fmla="*/ 2147483647 w 722"/>
              <a:gd name="T57" fmla="*/ 2147483647 h 1269"/>
              <a:gd name="T58" fmla="*/ 2147483647 w 722"/>
              <a:gd name="T59" fmla="*/ 2147483647 h 1269"/>
              <a:gd name="T60" fmla="*/ 2147483647 w 722"/>
              <a:gd name="T61" fmla="*/ 2147483647 h 1269"/>
              <a:gd name="T62" fmla="*/ 2147483647 w 722"/>
              <a:gd name="T63" fmla="*/ 2147483647 h 1269"/>
              <a:gd name="T64" fmla="*/ 2147483647 w 722"/>
              <a:gd name="T65" fmla="*/ 2147483647 h 1269"/>
              <a:gd name="T66" fmla="*/ 2147483647 w 722"/>
              <a:gd name="T67" fmla="*/ 2147483647 h 1269"/>
              <a:gd name="T68" fmla="*/ 2147483647 w 722"/>
              <a:gd name="T69" fmla="*/ 2147483647 h 1269"/>
              <a:gd name="T70" fmla="*/ 2147483647 w 722"/>
              <a:gd name="T71" fmla="*/ 2147483647 h 1269"/>
              <a:gd name="T72" fmla="*/ 2147483647 w 722"/>
              <a:gd name="T73" fmla="*/ 2147483647 h 1269"/>
              <a:gd name="T74" fmla="*/ 2147483647 w 722"/>
              <a:gd name="T75" fmla="*/ 2147483647 h 1269"/>
              <a:gd name="T76" fmla="*/ 2147483647 w 722"/>
              <a:gd name="T77" fmla="*/ 2147483647 h 1269"/>
              <a:gd name="T78" fmla="*/ 2147483647 w 722"/>
              <a:gd name="T79" fmla="*/ 2147483647 h 1269"/>
              <a:gd name="T80" fmla="*/ 2147483647 w 722"/>
              <a:gd name="T81" fmla="*/ 2147483647 h 1269"/>
              <a:gd name="T82" fmla="*/ 2147483647 w 722"/>
              <a:gd name="T83" fmla="*/ 2147483647 h 1269"/>
              <a:gd name="T84" fmla="*/ 2147483647 w 722"/>
              <a:gd name="T85" fmla="*/ 2147483647 h 1269"/>
              <a:gd name="T86" fmla="*/ 2147483647 w 722"/>
              <a:gd name="T87" fmla="*/ 2147483647 h 1269"/>
              <a:gd name="T88" fmla="*/ 2147483647 w 722"/>
              <a:gd name="T89" fmla="*/ 2147483647 h 1269"/>
              <a:gd name="T90" fmla="*/ 2147483647 w 722"/>
              <a:gd name="T91" fmla="*/ 2147483647 h 1269"/>
              <a:gd name="T92" fmla="*/ 2147483647 w 722"/>
              <a:gd name="T93" fmla="*/ 2147483647 h 1269"/>
              <a:gd name="T94" fmla="*/ 2147483647 w 722"/>
              <a:gd name="T95" fmla="*/ 2147483647 h 1269"/>
              <a:gd name="T96" fmla="*/ 2147483647 w 722"/>
              <a:gd name="T97" fmla="*/ 2147483647 h 1269"/>
              <a:gd name="T98" fmla="*/ 2147483647 w 722"/>
              <a:gd name="T99" fmla="*/ 2147483647 h 1269"/>
              <a:gd name="T100" fmla="*/ 2147483647 w 722"/>
              <a:gd name="T101" fmla="*/ 2147483647 h 1269"/>
              <a:gd name="T102" fmla="*/ 2147483647 w 722"/>
              <a:gd name="T103" fmla="*/ 2147483647 h 1269"/>
              <a:gd name="T104" fmla="*/ 2147483647 w 722"/>
              <a:gd name="T105" fmla="*/ 2147483647 h 1269"/>
              <a:gd name="T106" fmla="*/ 2147483647 w 722"/>
              <a:gd name="T107" fmla="*/ 2147483647 h 1269"/>
              <a:gd name="T108" fmla="*/ 2147483647 w 722"/>
              <a:gd name="T109" fmla="*/ 2147483647 h 1269"/>
              <a:gd name="T110" fmla="*/ 2147483647 w 722"/>
              <a:gd name="T111" fmla="*/ 2147483647 h 1269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722"/>
              <a:gd name="T169" fmla="*/ 0 h 1269"/>
              <a:gd name="T170" fmla="*/ 722 w 722"/>
              <a:gd name="T171" fmla="*/ 1269 h 1269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722" h="1269">
                <a:moveTo>
                  <a:pt x="424" y="1269"/>
                </a:moveTo>
                <a:lnTo>
                  <a:pt x="424" y="1235"/>
                </a:lnTo>
                <a:lnTo>
                  <a:pt x="424" y="1215"/>
                </a:lnTo>
                <a:lnTo>
                  <a:pt x="422" y="1205"/>
                </a:lnTo>
                <a:lnTo>
                  <a:pt x="417" y="1194"/>
                </a:lnTo>
                <a:lnTo>
                  <a:pt x="402" y="1194"/>
                </a:lnTo>
                <a:lnTo>
                  <a:pt x="387" y="1196"/>
                </a:lnTo>
                <a:lnTo>
                  <a:pt x="372" y="1196"/>
                </a:lnTo>
                <a:lnTo>
                  <a:pt x="357" y="1197"/>
                </a:lnTo>
                <a:lnTo>
                  <a:pt x="352" y="1184"/>
                </a:lnTo>
                <a:lnTo>
                  <a:pt x="346" y="1172"/>
                </a:lnTo>
                <a:lnTo>
                  <a:pt x="326" y="1172"/>
                </a:lnTo>
                <a:lnTo>
                  <a:pt x="307" y="1172"/>
                </a:lnTo>
                <a:lnTo>
                  <a:pt x="288" y="1172"/>
                </a:lnTo>
                <a:lnTo>
                  <a:pt x="269" y="1172"/>
                </a:lnTo>
                <a:lnTo>
                  <a:pt x="257" y="1150"/>
                </a:lnTo>
                <a:lnTo>
                  <a:pt x="248" y="1139"/>
                </a:lnTo>
                <a:lnTo>
                  <a:pt x="240" y="1129"/>
                </a:lnTo>
                <a:lnTo>
                  <a:pt x="229" y="1120"/>
                </a:lnTo>
                <a:lnTo>
                  <a:pt x="225" y="1094"/>
                </a:lnTo>
                <a:lnTo>
                  <a:pt x="219" y="1068"/>
                </a:lnTo>
                <a:lnTo>
                  <a:pt x="216" y="1042"/>
                </a:lnTo>
                <a:lnTo>
                  <a:pt x="212" y="1018"/>
                </a:lnTo>
                <a:lnTo>
                  <a:pt x="212" y="1005"/>
                </a:lnTo>
                <a:lnTo>
                  <a:pt x="212" y="993"/>
                </a:lnTo>
                <a:lnTo>
                  <a:pt x="212" y="980"/>
                </a:lnTo>
                <a:lnTo>
                  <a:pt x="214" y="968"/>
                </a:lnTo>
                <a:lnTo>
                  <a:pt x="217" y="956"/>
                </a:lnTo>
                <a:lnTo>
                  <a:pt x="221" y="945"/>
                </a:lnTo>
                <a:lnTo>
                  <a:pt x="226" y="933"/>
                </a:lnTo>
                <a:lnTo>
                  <a:pt x="232" y="921"/>
                </a:lnTo>
                <a:lnTo>
                  <a:pt x="232" y="908"/>
                </a:lnTo>
                <a:lnTo>
                  <a:pt x="234" y="895"/>
                </a:lnTo>
                <a:lnTo>
                  <a:pt x="235" y="882"/>
                </a:lnTo>
                <a:lnTo>
                  <a:pt x="236" y="869"/>
                </a:lnTo>
                <a:lnTo>
                  <a:pt x="225" y="868"/>
                </a:lnTo>
                <a:lnTo>
                  <a:pt x="214" y="867"/>
                </a:lnTo>
                <a:lnTo>
                  <a:pt x="203" y="865"/>
                </a:lnTo>
                <a:lnTo>
                  <a:pt x="192" y="864"/>
                </a:lnTo>
                <a:lnTo>
                  <a:pt x="190" y="848"/>
                </a:lnTo>
                <a:lnTo>
                  <a:pt x="186" y="834"/>
                </a:lnTo>
                <a:lnTo>
                  <a:pt x="180" y="820"/>
                </a:lnTo>
                <a:lnTo>
                  <a:pt x="175" y="805"/>
                </a:lnTo>
                <a:lnTo>
                  <a:pt x="162" y="777"/>
                </a:lnTo>
                <a:lnTo>
                  <a:pt x="148" y="751"/>
                </a:lnTo>
                <a:lnTo>
                  <a:pt x="132" y="724"/>
                </a:lnTo>
                <a:lnTo>
                  <a:pt x="118" y="696"/>
                </a:lnTo>
                <a:lnTo>
                  <a:pt x="105" y="669"/>
                </a:lnTo>
                <a:lnTo>
                  <a:pt x="95" y="642"/>
                </a:lnTo>
                <a:lnTo>
                  <a:pt x="72" y="626"/>
                </a:lnTo>
                <a:lnTo>
                  <a:pt x="53" y="609"/>
                </a:lnTo>
                <a:lnTo>
                  <a:pt x="45" y="601"/>
                </a:lnTo>
                <a:lnTo>
                  <a:pt x="37" y="592"/>
                </a:lnTo>
                <a:lnTo>
                  <a:pt x="30" y="583"/>
                </a:lnTo>
                <a:lnTo>
                  <a:pt x="24" y="574"/>
                </a:lnTo>
                <a:lnTo>
                  <a:pt x="19" y="564"/>
                </a:lnTo>
                <a:lnTo>
                  <a:pt x="15" y="553"/>
                </a:lnTo>
                <a:lnTo>
                  <a:pt x="11" y="543"/>
                </a:lnTo>
                <a:lnTo>
                  <a:pt x="9" y="531"/>
                </a:lnTo>
                <a:lnTo>
                  <a:pt x="9" y="519"/>
                </a:lnTo>
                <a:lnTo>
                  <a:pt x="9" y="508"/>
                </a:lnTo>
                <a:lnTo>
                  <a:pt x="9" y="495"/>
                </a:lnTo>
                <a:lnTo>
                  <a:pt x="11" y="482"/>
                </a:lnTo>
                <a:lnTo>
                  <a:pt x="22" y="476"/>
                </a:lnTo>
                <a:lnTo>
                  <a:pt x="32" y="471"/>
                </a:lnTo>
                <a:lnTo>
                  <a:pt x="33" y="437"/>
                </a:lnTo>
                <a:lnTo>
                  <a:pt x="32" y="411"/>
                </a:lnTo>
                <a:lnTo>
                  <a:pt x="30" y="380"/>
                </a:lnTo>
                <a:lnTo>
                  <a:pt x="22" y="332"/>
                </a:lnTo>
                <a:lnTo>
                  <a:pt x="27" y="322"/>
                </a:lnTo>
                <a:lnTo>
                  <a:pt x="32" y="310"/>
                </a:lnTo>
                <a:lnTo>
                  <a:pt x="36" y="298"/>
                </a:lnTo>
                <a:lnTo>
                  <a:pt x="40" y="284"/>
                </a:lnTo>
                <a:lnTo>
                  <a:pt x="44" y="271"/>
                </a:lnTo>
                <a:lnTo>
                  <a:pt x="46" y="257"/>
                </a:lnTo>
                <a:lnTo>
                  <a:pt x="48" y="242"/>
                </a:lnTo>
                <a:lnTo>
                  <a:pt x="48" y="228"/>
                </a:lnTo>
                <a:lnTo>
                  <a:pt x="48" y="214"/>
                </a:lnTo>
                <a:lnTo>
                  <a:pt x="45" y="201"/>
                </a:lnTo>
                <a:lnTo>
                  <a:pt x="41" y="189"/>
                </a:lnTo>
                <a:lnTo>
                  <a:pt x="37" y="177"/>
                </a:lnTo>
                <a:lnTo>
                  <a:pt x="31" y="167"/>
                </a:lnTo>
                <a:lnTo>
                  <a:pt x="22" y="158"/>
                </a:lnTo>
                <a:lnTo>
                  <a:pt x="13" y="150"/>
                </a:lnTo>
                <a:lnTo>
                  <a:pt x="0" y="145"/>
                </a:lnTo>
                <a:lnTo>
                  <a:pt x="0" y="134"/>
                </a:lnTo>
                <a:lnTo>
                  <a:pt x="0" y="125"/>
                </a:lnTo>
                <a:lnTo>
                  <a:pt x="11" y="117"/>
                </a:lnTo>
                <a:lnTo>
                  <a:pt x="20" y="110"/>
                </a:lnTo>
                <a:lnTo>
                  <a:pt x="24" y="104"/>
                </a:lnTo>
                <a:lnTo>
                  <a:pt x="28" y="99"/>
                </a:lnTo>
                <a:lnTo>
                  <a:pt x="31" y="94"/>
                </a:lnTo>
                <a:lnTo>
                  <a:pt x="32" y="87"/>
                </a:lnTo>
                <a:lnTo>
                  <a:pt x="63" y="81"/>
                </a:lnTo>
                <a:lnTo>
                  <a:pt x="88" y="78"/>
                </a:lnTo>
                <a:lnTo>
                  <a:pt x="123" y="77"/>
                </a:lnTo>
                <a:lnTo>
                  <a:pt x="180" y="76"/>
                </a:lnTo>
                <a:lnTo>
                  <a:pt x="180" y="64"/>
                </a:lnTo>
                <a:lnTo>
                  <a:pt x="180" y="52"/>
                </a:lnTo>
                <a:lnTo>
                  <a:pt x="187" y="51"/>
                </a:lnTo>
                <a:lnTo>
                  <a:pt x="192" y="50"/>
                </a:lnTo>
                <a:lnTo>
                  <a:pt x="196" y="46"/>
                </a:lnTo>
                <a:lnTo>
                  <a:pt x="200" y="41"/>
                </a:lnTo>
                <a:lnTo>
                  <a:pt x="206" y="30"/>
                </a:lnTo>
                <a:lnTo>
                  <a:pt x="216" y="22"/>
                </a:lnTo>
                <a:lnTo>
                  <a:pt x="234" y="22"/>
                </a:lnTo>
                <a:lnTo>
                  <a:pt x="248" y="26"/>
                </a:lnTo>
                <a:lnTo>
                  <a:pt x="257" y="29"/>
                </a:lnTo>
                <a:lnTo>
                  <a:pt x="266" y="31"/>
                </a:lnTo>
                <a:lnTo>
                  <a:pt x="270" y="31"/>
                </a:lnTo>
                <a:lnTo>
                  <a:pt x="274" y="31"/>
                </a:lnTo>
                <a:lnTo>
                  <a:pt x="278" y="30"/>
                </a:lnTo>
                <a:lnTo>
                  <a:pt x="283" y="29"/>
                </a:lnTo>
                <a:lnTo>
                  <a:pt x="296" y="20"/>
                </a:lnTo>
                <a:lnTo>
                  <a:pt x="313" y="7"/>
                </a:lnTo>
                <a:lnTo>
                  <a:pt x="342" y="7"/>
                </a:lnTo>
                <a:lnTo>
                  <a:pt x="370" y="8"/>
                </a:lnTo>
                <a:lnTo>
                  <a:pt x="398" y="11"/>
                </a:lnTo>
                <a:lnTo>
                  <a:pt x="426" y="13"/>
                </a:lnTo>
                <a:lnTo>
                  <a:pt x="454" y="16"/>
                </a:lnTo>
                <a:lnTo>
                  <a:pt x="482" y="17"/>
                </a:lnTo>
                <a:lnTo>
                  <a:pt x="511" y="20"/>
                </a:lnTo>
                <a:lnTo>
                  <a:pt x="538" y="20"/>
                </a:lnTo>
                <a:lnTo>
                  <a:pt x="546" y="15"/>
                </a:lnTo>
                <a:lnTo>
                  <a:pt x="554" y="11"/>
                </a:lnTo>
                <a:lnTo>
                  <a:pt x="562" y="8"/>
                </a:lnTo>
                <a:lnTo>
                  <a:pt x="571" y="5"/>
                </a:lnTo>
                <a:lnTo>
                  <a:pt x="589" y="2"/>
                </a:lnTo>
                <a:lnTo>
                  <a:pt x="607" y="0"/>
                </a:lnTo>
                <a:lnTo>
                  <a:pt x="646" y="0"/>
                </a:lnTo>
                <a:lnTo>
                  <a:pt x="683" y="3"/>
                </a:lnTo>
                <a:lnTo>
                  <a:pt x="683" y="15"/>
                </a:lnTo>
                <a:lnTo>
                  <a:pt x="685" y="25"/>
                </a:lnTo>
                <a:lnTo>
                  <a:pt x="677" y="33"/>
                </a:lnTo>
                <a:lnTo>
                  <a:pt x="672" y="41"/>
                </a:lnTo>
                <a:lnTo>
                  <a:pt x="668" y="48"/>
                </a:lnTo>
                <a:lnTo>
                  <a:pt x="667" y="55"/>
                </a:lnTo>
                <a:lnTo>
                  <a:pt x="666" y="61"/>
                </a:lnTo>
                <a:lnTo>
                  <a:pt x="666" y="68"/>
                </a:lnTo>
                <a:lnTo>
                  <a:pt x="667" y="74"/>
                </a:lnTo>
                <a:lnTo>
                  <a:pt x="670" y="82"/>
                </a:lnTo>
                <a:lnTo>
                  <a:pt x="687" y="108"/>
                </a:lnTo>
                <a:lnTo>
                  <a:pt x="707" y="139"/>
                </a:lnTo>
                <a:lnTo>
                  <a:pt x="711" y="180"/>
                </a:lnTo>
                <a:lnTo>
                  <a:pt x="714" y="221"/>
                </a:lnTo>
                <a:lnTo>
                  <a:pt x="718" y="263"/>
                </a:lnTo>
                <a:lnTo>
                  <a:pt x="722" y="305"/>
                </a:lnTo>
                <a:lnTo>
                  <a:pt x="701" y="315"/>
                </a:lnTo>
                <a:lnTo>
                  <a:pt x="683" y="323"/>
                </a:lnTo>
                <a:lnTo>
                  <a:pt x="668" y="332"/>
                </a:lnTo>
                <a:lnTo>
                  <a:pt x="657" y="341"/>
                </a:lnTo>
                <a:lnTo>
                  <a:pt x="646" y="351"/>
                </a:lnTo>
                <a:lnTo>
                  <a:pt x="636" y="364"/>
                </a:lnTo>
                <a:lnTo>
                  <a:pt x="625" y="380"/>
                </a:lnTo>
                <a:lnTo>
                  <a:pt x="614" y="398"/>
                </a:lnTo>
                <a:lnTo>
                  <a:pt x="603" y="402"/>
                </a:lnTo>
                <a:lnTo>
                  <a:pt x="593" y="407"/>
                </a:lnTo>
                <a:lnTo>
                  <a:pt x="585" y="413"/>
                </a:lnTo>
                <a:lnTo>
                  <a:pt x="577" y="418"/>
                </a:lnTo>
                <a:lnTo>
                  <a:pt x="571" y="424"/>
                </a:lnTo>
                <a:lnTo>
                  <a:pt x="566" y="432"/>
                </a:lnTo>
                <a:lnTo>
                  <a:pt x="562" y="439"/>
                </a:lnTo>
                <a:lnTo>
                  <a:pt x="559" y="446"/>
                </a:lnTo>
                <a:lnTo>
                  <a:pt x="556" y="454"/>
                </a:lnTo>
                <a:lnTo>
                  <a:pt x="556" y="463"/>
                </a:lnTo>
                <a:lnTo>
                  <a:pt x="556" y="472"/>
                </a:lnTo>
                <a:lnTo>
                  <a:pt x="558" y="480"/>
                </a:lnTo>
                <a:lnTo>
                  <a:pt x="559" y="489"/>
                </a:lnTo>
                <a:lnTo>
                  <a:pt x="563" y="500"/>
                </a:lnTo>
                <a:lnTo>
                  <a:pt x="568" y="509"/>
                </a:lnTo>
                <a:lnTo>
                  <a:pt x="573" y="518"/>
                </a:lnTo>
                <a:lnTo>
                  <a:pt x="571" y="532"/>
                </a:lnTo>
                <a:lnTo>
                  <a:pt x="567" y="547"/>
                </a:lnTo>
                <a:lnTo>
                  <a:pt x="562" y="560"/>
                </a:lnTo>
                <a:lnTo>
                  <a:pt x="556" y="573"/>
                </a:lnTo>
                <a:lnTo>
                  <a:pt x="543" y="596"/>
                </a:lnTo>
                <a:lnTo>
                  <a:pt x="533" y="618"/>
                </a:lnTo>
                <a:lnTo>
                  <a:pt x="528" y="630"/>
                </a:lnTo>
                <a:lnTo>
                  <a:pt x="525" y="640"/>
                </a:lnTo>
                <a:lnTo>
                  <a:pt x="524" y="651"/>
                </a:lnTo>
                <a:lnTo>
                  <a:pt x="525" y="662"/>
                </a:lnTo>
                <a:lnTo>
                  <a:pt x="528" y="674"/>
                </a:lnTo>
                <a:lnTo>
                  <a:pt x="534" y="686"/>
                </a:lnTo>
                <a:lnTo>
                  <a:pt x="543" y="698"/>
                </a:lnTo>
                <a:lnTo>
                  <a:pt x="556" y="711"/>
                </a:lnTo>
                <a:lnTo>
                  <a:pt x="573" y="713"/>
                </a:lnTo>
                <a:lnTo>
                  <a:pt x="592" y="716"/>
                </a:lnTo>
                <a:lnTo>
                  <a:pt x="610" y="718"/>
                </a:lnTo>
                <a:lnTo>
                  <a:pt x="629" y="722"/>
                </a:lnTo>
                <a:lnTo>
                  <a:pt x="624" y="757"/>
                </a:lnTo>
                <a:lnTo>
                  <a:pt x="618" y="794"/>
                </a:lnTo>
                <a:lnTo>
                  <a:pt x="614" y="811"/>
                </a:lnTo>
                <a:lnTo>
                  <a:pt x="611" y="829"/>
                </a:lnTo>
                <a:lnTo>
                  <a:pt x="608" y="847"/>
                </a:lnTo>
                <a:lnTo>
                  <a:pt x="607" y="867"/>
                </a:lnTo>
                <a:lnTo>
                  <a:pt x="594" y="874"/>
                </a:lnTo>
                <a:lnTo>
                  <a:pt x="582" y="884"/>
                </a:lnTo>
                <a:lnTo>
                  <a:pt x="569" y="891"/>
                </a:lnTo>
                <a:lnTo>
                  <a:pt x="556" y="900"/>
                </a:lnTo>
                <a:lnTo>
                  <a:pt x="550" y="929"/>
                </a:lnTo>
                <a:lnTo>
                  <a:pt x="545" y="954"/>
                </a:lnTo>
                <a:lnTo>
                  <a:pt x="542" y="980"/>
                </a:lnTo>
                <a:lnTo>
                  <a:pt x="541" y="1010"/>
                </a:lnTo>
                <a:lnTo>
                  <a:pt x="529" y="1029"/>
                </a:lnTo>
                <a:lnTo>
                  <a:pt x="524" y="1041"/>
                </a:lnTo>
                <a:lnTo>
                  <a:pt x="521" y="1049"/>
                </a:lnTo>
                <a:lnTo>
                  <a:pt x="519" y="1057"/>
                </a:lnTo>
                <a:lnTo>
                  <a:pt x="532" y="1058"/>
                </a:lnTo>
                <a:lnTo>
                  <a:pt x="546" y="1060"/>
                </a:lnTo>
                <a:lnTo>
                  <a:pt x="555" y="1088"/>
                </a:lnTo>
                <a:lnTo>
                  <a:pt x="562" y="1110"/>
                </a:lnTo>
                <a:lnTo>
                  <a:pt x="564" y="1128"/>
                </a:lnTo>
                <a:lnTo>
                  <a:pt x="564" y="1142"/>
                </a:lnTo>
                <a:lnTo>
                  <a:pt x="564" y="1149"/>
                </a:lnTo>
                <a:lnTo>
                  <a:pt x="563" y="1154"/>
                </a:lnTo>
                <a:lnTo>
                  <a:pt x="560" y="1159"/>
                </a:lnTo>
                <a:lnTo>
                  <a:pt x="558" y="1165"/>
                </a:lnTo>
                <a:lnTo>
                  <a:pt x="553" y="1171"/>
                </a:lnTo>
                <a:lnTo>
                  <a:pt x="545" y="1178"/>
                </a:lnTo>
                <a:lnTo>
                  <a:pt x="525" y="1189"/>
                </a:lnTo>
                <a:lnTo>
                  <a:pt x="502" y="1205"/>
                </a:lnTo>
                <a:lnTo>
                  <a:pt x="490" y="1214"/>
                </a:lnTo>
                <a:lnTo>
                  <a:pt x="478" y="1227"/>
                </a:lnTo>
                <a:lnTo>
                  <a:pt x="467" y="1243"/>
                </a:lnTo>
                <a:lnTo>
                  <a:pt x="456" y="1262"/>
                </a:lnTo>
                <a:lnTo>
                  <a:pt x="439" y="1265"/>
                </a:lnTo>
                <a:lnTo>
                  <a:pt x="424" y="1269"/>
                </a:lnTo>
                <a:close/>
              </a:path>
            </a:pathLst>
          </a:custGeom>
          <a:solidFill>
            <a:srgbClr val="00FF00"/>
          </a:solidFill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50" name="Freeform 15"/>
          <p:cNvSpPr>
            <a:spLocks/>
          </p:cNvSpPr>
          <p:nvPr/>
        </p:nvSpPr>
        <p:spPr bwMode="auto">
          <a:xfrm>
            <a:off x="8577263" y="4491038"/>
            <a:ext cx="31750" cy="90487"/>
          </a:xfrm>
          <a:custGeom>
            <a:avLst/>
            <a:gdLst>
              <a:gd name="T0" fmla="*/ 0 w 76"/>
              <a:gd name="T1" fmla="*/ 2147483647 h 230"/>
              <a:gd name="T2" fmla="*/ 2147483647 w 76"/>
              <a:gd name="T3" fmla="*/ 2147483647 h 230"/>
              <a:gd name="T4" fmla="*/ 2147483647 w 76"/>
              <a:gd name="T5" fmla="*/ 2147483647 h 230"/>
              <a:gd name="T6" fmla="*/ 2147483647 w 76"/>
              <a:gd name="T7" fmla="*/ 2147483647 h 230"/>
              <a:gd name="T8" fmla="*/ 2147483647 w 76"/>
              <a:gd name="T9" fmla="*/ 2147483647 h 230"/>
              <a:gd name="T10" fmla="*/ 2147483647 w 76"/>
              <a:gd name="T11" fmla="*/ 2147483647 h 230"/>
              <a:gd name="T12" fmla="*/ 2147483647 w 76"/>
              <a:gd name="T13" fmla="*/ 2147483647 h 230"/>
              <a:gd name="T14" fmla="*/ 2147483647 w 76"/>
              <a:gd name="T15" fmla="*/ 2147483647 h 230"/>
              <a:gd name="T16" fmla="*/ 2147483647 w 76"/>
              <a:gd name="T17" fmla="*/ 2147483647 h 230"/>
              <a:gd name="T18" fmla="*/ 2147483647 w 76"/>
              <a:gd name="T19" fmla="*/ 2147483647 h 230"/>
              <a:gd name="T20" fmla="*/ 2147483647 w 76"/>
              <a:gd name="T21" fmla="*/ 2147483647 h 230"/>
              <a:gd name="T22" fmla="*/ 2147483647 w 76"/>
              <a:gd name="T23" fmla="*/ 2147483647 h 230"/>
              <a:gd name="T24" fmla="*/ 2147483647 w 76"/>
              <a:gd name="T25" fmla="*/ 2147483647 h 230"/>
              <a:gd name="T26" fmla="*/ 2147483647 w 76"/>
              <a:gd name="T27" fmla="*/ 2147483647 h 230"/>
              <a:gd name="T28" fmla="*/ 2147483647 w 76"/>
              <a:gd name="T29" fmla="*/ 0 h 230"/>
              <a:gd name="T30" fmla="*/ 2147483647 w 76"/>
              <a:gd name="T31" fmla="*/ 2147483647 h 230"/>
              <a:gd name="T32" fmla="*/ 2147483647 w 76"/>
              <a:gd name="T33" fmla="*/ 2147483647 h 230"/>
              <a:gd name="T34" fmla="*/ 2147483647 w 76"/>
              <a:gd name="T35" fmla="*/ 2147483647 h 230"/>
              <a:gd name="T36" fmla="*/ 2147483647 w 76"/>
              <a:gd name="T37" fmla="*/ 2147483647 h 230"/>
              <a:gd name="T38" fmla="*/ 2147483647 w 76"/>
              <a:gd name="T39" fmla="*/ 2147483647 h 230"/>
              <a:gd name="T40" fmla="*/ 2147483647 w 76"/>
              <a:gd name="T41" fmla="*/ 2147483647 h 230"/>
              <a:gd name="T42" fmla="*/ 2147483647 w 76"/>
              <a:gd name="T43" fmla="*/ 2147483647 h 230"/>
              <a:gd name="T44" fmla="*/ 2147483647 w 76"/>
              <a:gd name="T45" fmla="*/ 2147483647 h 230"/>
              <a:gd name="T46" fmla="*/ 2147483647 w 76"/>
              <a:gd name="T47" fmla="*/ 2147483647 h 230"/>
              <a:gd name="T48" fmla="*/ 0 w 76"/>
              <a:gd name="T49" fmla="*/ 2147483647 h 23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76"/>
              <a:gd name="T76" fmla="*/ 0 h 230"/>
              <a:gd name="T77" fmla="*/ 76 w 76"/>
              <a:gd name="T78" fmla="*/ 230 h 230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76" h="230">
                <a:moveTo>
                  <a:pt x="0" y="230"/>
                </a:moveTo>
                <a:lnTo>
                  <a:pt x="1" y="204"/>
                </a:lnTo>
                <a:lnTo>
                  <a:pt x="4" y="173"/>
                </a:lnTo>
                <a:lnTo>
                  <a:pt x="7" y="138"/>
                </a:lnTo>
                <a:lnTo>
                  <a:pt x="15" y="101"/>
                </a:lnTo>
                <a:lnTo>
                  <a:pt x="20" y="85"/>
                </a:lnTo>
                <a:lnTo>
                  <a:pt x="26" y="68"/>
                </a:lnTo>
                <a:lnTo>
                  <a:pt x="32" y="52"/>
                </a:lnTo>
                <a:lnTo>
                  <a:pt x="39" y="38"/>
                </a:lnTo>
                <a:lnTo>
                  <a:pt x="46" y="25"/>
                </a:lnTo>
                <a:lnTo>
                  <a:pt x="56" y="14"/>
                </a:lnTo>
                <a:lnTo>
                  <a:pt x="61" y="9"/>
                </a:lnTo>
                <a:lnTo>
                  <a:pt x="66" y="5"/>
                </a:lnTo>
                <a:lnTo>
                  <a:pt x="71" y="3"/>
                </a:lnTo>
                <a:lnTo>
                  <a:pt x="76" y="0"/>
                </a:lnTo>
                <a:lnTo>
                  <a:pt x="69" y="30"/>
                </a:lnTo>
                <a:lnTo>
                  <a:pt x="61" y="59"/>
                </a:lnTo>
                <a:lnTo>
                  <a:pt x="54" y="88"/>
                </a:lnTo>
                <a:lnTo>
                  <a:pt x="46" y="118"/>
                </a:lnTo>
                <a:lnTo>
                  <a:pt x="39" y="147"/>
                </a:lnTo>
                <a:lnTo>
                  <a:pt x="28" y="176"/>
                </a:lnTo>
                <a:lnTo>
                  <a:pt x="23" y="190"/>
                </a:lnTo>
                <a:lnTo>
                  <a:pt x="17" y="203"/>
                </a:lnTo>
                <a:lnTo>
                  <a:pt x="9" y="217"/>
                </a:lnTo>
                <a:lnTo>
                  <a:pt x="0" y="230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51" name="Freeform 16"/>
          <p:cNvSpPr>
            <a:spLocks/>
          </p:cNvSpPr>
          <p:nvPr/>
        </p:nvSpPr>
        <p:spPr bwMode="auto">
          <a:xfrm>
            <a:off x="8656638" y="4335463"/>
            <a:ext cx="11112" cy="47625"/>
          </a:xfrm>
          <a:custGeom>
            <a:avLst/>
            <a:gdLst>
              <a:gd name="T0" fmla="*/ 0 w 26"/>
              <a:gd name="T1" fmla="*/ 2147483647 h 121"/>
              <a:gd name="T2" fmla="*/ 2147483647 w 26"/>
              <a:gd name="T3" fmla="*/ 2147483647 h 121"/>
              <a:gd name="T4" fmla="*/ 2147483647 w 26"/>
              <a:gd name="T5" fmla="*/ 2147483647 h 121"/>
              <a:gd name="T6" fmla="*/ 2147483647 w 26"/>
              <a:gd name="T7" fmla="*/ 2147483647 h 121"/>
              <a:gd name="T8" fmla="*/ 2147483647 w 26"/>
              <a:gd name="T9" fmla="*/ 0 h 121"/>
              <a:gd name="T10" fmla="*/ 2147483647 w 26"/>
              <a:gd name="T11" fmla="*/ 2147483647 h 121"/>
              <a:gd name="T12" fmla="*/ 2147483647 w 26"/>
              <a:gd name="T13" fmla="*/ 2147483647 h 121"/>
              <a:gd name="T14" fmla="*/ 2147483647 w 26"/>
              <a:gd name="T15" fmla="*/ 2147483647 h 121"/>
              <a:gd name="T16" fmla="*/ 2147483647 w 26"/>
              <a:gd name="T17" fmla="*/ 2147483647 h 121"/>
              <a:gd name="T18" fmla="*/ 2147483647 w 26"/>
              <a:gd name="T19" fmla="*/ 2147483647 h 121"/>
              <a:gd name="T20" fmla="*/ 2147483647 w 26"/>
              <a:gd name="T21" fmla="*/ 2147483647 h 121"/>
              <a:gd name="T22" fmla="*/ 2147483647 w 26"/>
              <a:gd name="T23" fmla="*/ 2147483647 h 121"/>
              <a:gd name="T24" fmla="*/ 2147483647 w 26"/>
              <a:gd name="T25" fmla="*/ 2147483647 h 121"/>
              <a:gd name="T26" fmla="*/ 2147483647 w 26"/>
              <a:gd name="T27" fmla="*/ 2147483647 h 121"/>
              <a:gd name="T28" fmla="*/ 0 w 26"/>
              <a:gd name="T29" fmla="*/ 2147483647 h 12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6"/>
              <a:gd name="T46" fmla="*/ 0 h 121"/>
              <a:gd name="T47" fmla="*/ 26 w 26"/>
              <a:gd name="T48" fmla="*/ 121 h 12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6" h="121">
                <a:moveTo>
                  <a:pt x="0" y="121"/>
                </a:moveTo>
                <a:lnTo>
                  <a:pt x="5" y="91"/>
                </a:lnTo>
                <a:lnTo>
                  <a:pt x="10" y="60"/>
                </a:lnTo>
                <a:lnTo>
                  <a:pt x="17" y="30"/>
                </a:lnTo>
                <a:lnTo>
                  <a:pt x="22" y="0"/>
                </a:lnTo>
                <a:lnTo>
                  <a:pt x="24" y="5"/>
                </a:lnTo>
                <a:lnTo>
                  <a:pt x="26" y="10"/>
                </a:lnTo>
                <a:lnTo>
                  <a:pt x="26" y="18"/>
                </a:lnTo>
                <a:lnTo>
                  <a:pt x="26" y="24"/>
                </a:lnTo>
                <a:lnTo>
                  <a:pt x="26" y="41"/>
                </a:lnTo>
                <a:lnTo>
                  <a:pt x="23" y="58"/>
                </a:lnTo>
                <a:lnTo>
                  <a:pt x="18" y="93"/>
                </a:lnTo>
                <a:lnTo>
                  <a:pt x="13" y="121"/>
                </a:lnTo>
                <a:lnTo>
                  <a:pt x="5" y="121"/>
                </a:lnTo>
                <a:lnTo>
                  <a:pt x="0" y="121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52" name="Freeform 17"/>
          <p:cNvSpPr>
            <a:spLocks/>
          </p:cNvSpPr>
          <p:nvPr/>
        </p:nvSpPr>
        <p:spPr bwMode="auto">
          <a:xfrm>
            <a:off x="1012825" y="4095750"/>
            <a:ext cx="179388" cy="147638"/>
          </a:xfrm>
          <a:custGeom>
            <a:avLst/>
            <a:gdLst>
              <a:gd name="T0" fmla="*/ 2147483647 w 452"/>
              <a:gd name="T1" fmla="*/ 2147483647 h 373"/>
              <a:gd name="T2" fmla="*/ 2147483647 w 452"/>
              <a:gd name="T3" fmla="*/ 2147483647 h 373"/>
              <a:gd name="T4" fmla="*/ 2147483647 w 452"/>
              <a:gd name="T5" fmla="*/ 2147483647 h 373"/>
              <a:gd name="T6" fmla="*/ 2147483647 w 452"/>
              <a:gd name="T7" fmla="*/ 2147483647 h 373"/>
              <a:gd name="T8" fmla="*/ 2147483647 w 452"/>
              <a:gd name="T9" fmla="*/ 2147483647 h 373"/>
              <a:gd name="T10" fmla="*/ 2147483647 w 452"/>
              <a:gd name="T11" fmla="*/ 2147483647 h 373"/>
              <a:gd name="T12" fmla="*/ 2147483647 w 452"/>
              <a:gd name="T13" fmla="*/ 2147483647 h 373"/>
              <a:gd name="T14" fmla="*/ 2147483647 w 452"/>
              <a:gd name="T15" fmla="*/ 2147483647 h 373"/>
              <a:gd name="T16" fmla="*/ 2147483647 w 452"/>
              <a:gd name="T17" fmla="*/ 2147483647 h 373"/>
              <a:gd name="T18" fmla="*/ 2147483647 w 452"/>
              <a:gd name="T19" fmla="*/ 2147483647 h 373"/>
              <a:gd name="T20" fmla="*/ 2147483647 w 452"/>
              <a:gd name="T21" fmla="*/ 2147483647 h 373"/>
              <a:gd name="T22" fmla="*/ 2147483647 w 452"/>
              <a:gd name="T23" fmla="*/ 2147483647 h 373"/>
              <a:gd name="T24" fmla="*/ 2147483647 w 452"/>
              <a:gd name="T25" fmla="*/ 2147483647 h 373"/>
              <a:gd name="T26" fmla="*/ 2147483647 w 452"/>
              <a:gd name="T27" fmla="*/ 2147483647 h 373"/>
              <a:gd name="T28" fmla="*/ 2147483647 w 452"/>
              <a:gd name="T29" fmla="*/ 2147483647 h 373"/>
              <a:gd name="T30" fmla="*/ 2147483647 w 452"/>
              <a:gd name="T31" fmla="*/ 2147483647 h 373"/>
              <a:gd name="T32" fmla="*/ 2147483647 w 452"/>
              <a:gd name="T33" fmla="*/ 2147483647 h 373"/>
              <a:gd name="T34" fmla="*/ 2147483647 w 452"/>
              <a:gd name="T35" fmla="*/ 2147483647 h 373"/>
              <a:gd name="T36" fmla="*/ 2147483647 w 452"/>
              <a:gd name="T37" fmla="*/ 2147483647 h 373"/>
              <a:gd name="T38" fmla="*/ 2147483647 w 452"/>
              <a:gd name="T39" fmla="*/ 2147483647 h 373"/>
              <a:gd name="T40" fmla="*/ 2147483647 w 452"/>
              <a:gd name="T41" fmla="*/ 2147483647 h 373"/>
              <a:gd name="T42" fmla="*/ 2147483647 w 452"/>
              <a:gd name="T43" fmla="*/ 2147483647 h 373"/>
              <a:gd name="T44" fmla="*/ 2147483647 w 452"/>
              <a:gd name="T45" fmla="*/ 2147483647 h 373"/>
              <a:gd name="T46" fmla="*/ 2147483647 w 452"/>
              <a:gd name="T47" fmla="*/ 2147483647 h 373"/>
              <a:gd name="T48" fmla="*/ 2147483647 w 452"/>
              <a:gd name="T49" fmla="*/ 2147483647 h 373"/>
              <a:gd name="T50" fmla="*/ 2147483647 w 452"/>
              <a:gd name="T51" fmla="*/ 2147483647 h 373"/>
              <a:gd name="T52" fmla="*/ 2147483647 w 452"/>
              <a:gd name="T53" fmla="*/ 2147483647 h 373"/>
              <a:gd name="T54" fmla="*/ 2147483647 w 452"/>
              <a:gd name="T55" fmla="*/ 2147483647 h 373"/>
              <a:gd name="T56" fmla="*/ 2147483647 w 452"/>
              <a:gd name="T57" fmla="*/ 2147483647 h 373"/>
              <a:gd name="T58" fmla="*/ 2147483647 w 452"/>
              <a:gd name="T59" fmla="*/ 2147483647 h 373"/>
              <a:gd name="T60" fmla="*/ 2147483647 w 452"/>
              <a:gd name="T61" fmla="*/ 2147483647 h 373"/>
              <a:gd name="T62" fmla="*/ 2147483647 w 452"/>
              <a:gd name="T63" fmla="*/ 2147483647 h 373"/>
              <a:gd name="T64" fmla="*/ 2147483647 w 452"/>
              <a:gd name="T65" fmla="*/ 2147483647 h 373"/>
              <a:gd name="T66" fmla="*/ 2147483647 w 452"/>
              <a:gd name="T67" fmla="*/ 2147483647 h 373"/>
              <a:gd name="T68" fmla="*/ 2147483647 w 452"/>
              <a:gd name="T69" fmla="*/ 2147483647 h 373"/>
              <a:gd name="T70" fmla="*/ 2147483647 w 452"/>
              <a:gd name="T71" fmla="*/ 2147483647 h 373"/>
              <a:gd name="T72" fmla="*/ 2147483647 w 452"/>
              <a:gd name="T73" fmla="*/ 2147483647 h 373"/>
              <a:gd name="T74" fmla="*/ 2147483647 w 452"/>
              <a:gd name="T75" fmla="*/ 2147483647 h 373"/>
              <a:gd name="T76" fmla="*/ 2147483647 w 452"/>
              <a:gd name="T77" fmla="*/ 2147483647 h 373"/>
              <a:gd name="T78" fmla="*/ 2147483647 w 452"/>
              <a:gd name="T79" fmla="*/ 2147483647 h 373"/>
              <a:gd name="T80" fmla="*/ 2147483647 w 452"/>
              <a:gd name="T81" fmla="*/ 2147483647 h 373"/>
              <a:gd name="T82" fmla="*/ 2147483647 w 452"/>
              <a:gd name="T83" fmla="*/ 2147483647 h 37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452"/>
              <a:gd name="T127" fmla="*/ 0 h 373"/>
              <a:gd name="T128" fmla="*/ 452 w 452"/>
              <a:gd name="T129" fmla="*/ 373 h 373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452" h="373">
                <a:moveTo>
                  <a:pt x="200" y="373"/>
                </a:moveTo>
                <a:lnTo>
                  <a:pt x="194" y="368"/>
                </a:lnTo>
                <a:lnTo>
                  <a:pt x="188" y="364"/>
                </a:lnTo>
                <a:lnTo>
                  <a:pt x="181" y="361"/>
                </a:lnTo>
                <a:lnTo>
                  <a:pt x="174" y="359"/>
                </a:lnTo>
                <a:lnTo>
                  <a:pt x="158" y="358"/>
                </a:lnTo>
                <a:lnTo>
                  <a:pt x="143" y="359"/>
                </a:lnTo>
                <a:lnTo>
                  <a:pt x="110" y="364"/>
                </a:lnTo>
                <a:lnTo>
                  <a:pt x="79" y="368"/>
                </a:lnTo>
                <a:lnTo>
                  <a:pt x="57" y="330"/>
                </a:lnTo>
                <a:lnTo>
                  <a:pt x="34" y="293"/>
                </a:lnTo>
                <a:lnTo>
                  <a:pt x="22" y="273"/>
                </a:lnTo>
                <a:lnTo>
                  <a:pt x="13" y="253"/>
                </a:lnTo>
                <a:lnTo>
                  <a:pt x="8" y="244"/>
                </a:lnTo>
                <a:lnTo>
                  <a:pt x="5" y="235"/>
                </a:lnTo>
                <a:lnTo>
                  <a:pt x="2" y="225"/>
                </a:lnTo>
                <a:lnTo>
                  <a:pt x="0" y="216"/>
                </a:lnTo>
                <a:lnTo>
                  <a:pt x="13" y="205"/>
                </a:lnTo>
                <a:lnTo>
                  <a:pt x="23" y="195"/>
                </a:lnTo>
                <a:lnTo>
                  <a:pt x="32" y="185"/>
                </a:lnTo>
                <a:lnTo>
                  <a:pt x="39" y="173"/>
                </a:lnTo>
                <a:lnTo>
                  <a:pt x="43" y="162"/>
                </a:lnTo>
                <a:lnTo>
                  <a:pt x="47" y="151"/>
                </a:lnTo>
                <a:lnTo>
                  <a:pt x="49" y="140"/>
                </a:lnTo>
                <a:lnTo>
                  <a:pt x="50" y="129"/>
                </a:lnTo>
                <a:lnTo>
                  <a:pt x="53" y="104"/>
                </a:lnTo>
                <a:lnTo>
                  <a:pt x="54" y="80"/>
                </a:lnTo>
                <a:lnTo>
                  <a:pt x="56" y="67"/>
                </a:lnTo>
                <a:lnTo>
                  <a:pt x="58" y="54"/>
                </a:lnTo>
                <a:lnTo>
                  <a:pt x="61" y="41"/>
                </a:lnTo>
                <a:lnTo>
                  <a:pt x="66" y="27"/>
                </a:lnTo>
                <a:lnTo>
                  <a:pt x="82" y="21"/>
                </a:lnTo>
                <a:lnTo>
                  <a:pt x="99" y="15"/>
                </a:lnTo>
                <a:lnTo>
                  <a:pt x="114" y="10"/>
                </a:lnTo>
                <a:lnTo>
                  <a:pt x="128" y="6"/>
                </a:lnTo>
                <a:lnTo>
                  <a:pt x="143" y="4"/>
                </a:lnTo>
                <a:lnTo>
                  <a:pt x="158" y="2"/>
                </a:lnTo>
                <a:lnTo>
                  <a:pt x="171" y="1"/>
                </a:lnTo>
                <a:lnTo>
                  <a:pt x="186" y="0"/>
                </a:lnTo>
                <a:lnTo>
                  <a:pt x="214" y="1"/>
                </a:lnTo>
                <a:lnTo>
                  <a:pt x="243" y="4"/>
                </a:lnTo>
                <a:lnTo>
                  <a:pt x="273" y="8"/>
                </a:lnTo>
                <a:lnTo>
                  <a:pt x="304" y="12"/>
                </a:lnTo>
                <a:lnTo>
                  <a:pt x="315" y="32"/>
                </a:lnTo>
                <a:lnTo>
                  <a:pt x="325" y="49"/>
                </a:lnTo>
                <a:lnTo>
                  <a:pt x="331" y="57"/>
                </a:lnTo>
                <a:lnTo>
                  <a:pt x="338" y="64"/>
                </a:lnTo>
                <a:lnTo>
                  <a:pt x="346" y="70"/>
                </a:lnTo>
                <a:lnTo>
                  <a:pt x="356" y="75"/>
                </a:lnTo>
                <a:lnTo>
                  <a:pt x="357" y="87"/>
                </a:lnTo>
                <a:lnTo>
                  <a:pt x="359" y="99"/>
                </a:lnTo>
                <a:lnTo>
                  <a:pt x="360" y="110"/>
                </a:lnTo>
                <a:lnTo>
                  <a:pt x="361" y="123"/>
                </a:lnTo>
                <a:lnTo>
                  <a:pt x="377" y="122"/>
                </a:lnTo>
                <a:lnTo>
                  <a:pt x="394" y="121"/>
                </a:lnTo>
                <a:lnTo>
                  <a:pt x="410" y="119"/>
                </a:lnTo>
                <a:lnTo>
                  <a:pt x="425" y="118"/>
                </a:lnTo>
                <a:lnTo>
                  <a:pt x="442" y="155"/>
                </a:lnTo>
                <a:lnTo>
                  <a:pt x="450" y="175"/>
                </a:lnTo>
                <a:lnTo>
                  <a:pt x="452" y="181"/>
                </a:lnTo>
                <a:lnTo>
                  <a:pt x="452" y="186"/>
                </a:lnTo>
                <a:lnTo>
                  <a:pt x="452" y="190"/>
                </a:lnTo>
                <a:lnTo>
                  <a:pt x="452" y="195"/>
                </a:lnTo>
                <a:lnTo>
                  <a:pt x="426" y="207"/>
                </a:lnTo>
                <a:lnTo>
                  <a:pt x="400" y="218"/>
                </a:lnTo>
                <a:lnTo>
                  <a:pt x="374" y="230"/>
                </a:lnTo>
                <a:lnTo>
                  <a:pt x="350" y="243"/>
                </a:lnTo>
                <a:lnTo>
                  <a:pt x="330" y="268"/>
                </a:lnTo>
                <a:lnTo>
                  <a:pt x="318" y="280"/>
                </a:lnTo>
                <a:lnTo>
                  <a:pt x="316" y="283"/>
                </a:lnTo>
                <a:lnTo>
                  <a:pt x="313" y="285"/>
                </a:lnTo>
                <a:lnTo>
                  <a:pt x="311" y="285"/>
                </a:lnTo>
                <a:lnTo>
                  <a:pt x="308" y="285"/>
                </a:lnTo>
                <a:lnTo>
                  <a:pt x="300" y="312"/>
                </a:lnTo>
                <a:lnTo>
                  <a:pt x="294" y="332"/>
                </a:lnTo>
                <a:lnTo>
                  <a:pt x="290" y="339"/>
                </a:lnTo>
                <a:lnTo>
                  <a:pt x="286" y="347"/>
                </a:lnTo>
                <a:lnTo>
                  <a:pt x="282" y="352"/>
                </a:lnTo>
                <a:lnTo>
                  <a:pt x="277" y="358"/>
                </a:lnTo>
                <a:lnTo>
                  <a:pt x="272" y="361"/>
                </a:lnTo>
                <a:lnTo>
                  <a:pt x="265" y="364"/>
                </a:lnTo>
                <a:lnTo>
                  <a:pt x="257" y="367"/>
                </a:lnTo>
                <a:lnTo>
                  <a:pt x="249" y="369"/>
                </a:lnTo>
                <a:lnTo>
                  <a:pt x="227" y="372"/>
                </a:lnTo>
                <a:lnTo>
                  <a:pt x="200" y="373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53" name="Freeform 18"/>
          <p:cNvSpPr>
            <a:spLocks/>
          </p:cNvSpPr>
          <p:nvPr/>
        </p:nvSpPr>
        <p:spPr bwMode="auto">
          <a:xfrm>
            <a:off x="3646488" y="3508375"/>
            <a:ext cx="808037" cy="654050"/>
          </a:xfrm>
          <a:custGeom>
            <a:avLst/>
            <a:gdLst>
              <a:gd name="T0" fmla="*/ 2147483647 w 2035"/>
              <a:gd name="T1" fmla="*/ 2147483647 h 1649"/>
              <a:gd name="T2" fmla="*/ 2147483647 w 2035"/>
              <a:gd name="T3" fmla="*/ 2147483647 h 1649"/>
              <a:gd name="T4" fmla="*/ 2147483647 w 2035"/>
              <a:gd name="T5" fmla="*/ 2147483647 h 1649"/>
              <a:gd name="T6" fmla="*/ 2147483647 w 2035"/>
              <a:gd name="T7" fmla="*/ 2147483647 h 1649"/>
              <a:gd name="T8" fmla="*/ 2147483647 w 2035"/>
              <a:gd name="T9" fmla="*/ 2147483647 h 1649"/>
              <a:gd name="T10" fmla="*/ 2147483647 w 2035"/>
              <a:gd name="T11" fmla="*/ 2147483647 h 1649"/>
              <a:gd name="T12" fmla="*/ 2147483647 w 2035"/>
              <a:gd name="T13" fmla="*/ 2147483647 h 1649"/>
              <a:gd name="T14" fmla="*/ 2147483647 w 2035"/>
              <a:gd name="T15" fmla="*/ 2147483647 h 1649"/>
              <a:gd name="T16" fmla="*/ 2147483647 w 2035"/>
              <a:gd name="T17" fmla="*/ 2147483647 h 1649"/>
              <a:gd name="T18" fmla="*/ 2147483647 w 2035"/>
              <a:gd name="T19" fmla="*/ 2147483647 h 1649"/>
              <a:gd name="T20" fmla="*/ 2147483647 w 2035"/>
              <a:gd name="T21" fmla="*/ 2147483647 h 1649"/>
              <a:gd name="T22" fmla="*/ 2147483647 w 2035"/>
              <a:gd name="T23" fmla="*/ 2147483647 h 1649"/>
              <a:gd name="T24" fmla="*/ 2147483647 w 2035"/>
              <a:gd name="T25" fmla="*/ 2147483647 h 1649"/>
              <a:gd name="T26" fmla="*/ 0 w 2035"/>
              <a:gd name="T27" fmla="*/ 2147483647 h 1649"/>
              <a:gd name="T28" fmla="*/ 2147483647 w 2035"/>
              <a:gd name="T29" fmla="*/ 2147483647 h 1649"/>
              <a:gd name="T30" fmla="*/ 2147483647 w 2035"/>
              <a:gd name="T31" fmla="*/ 2147483647 h 1649"/>
              <a:gd name="T32" fmla="*/ 2147483647 w 2035"/>
              <a:gd name="T33" fmla="*/ 2147483647 h 1649"/>
              <a:gd name="T34" fmla="*/ 2147483647 w 2035"/>
              <a:gd name="T35" fmla="*/ 2147483647 h 1649"/>
              <a:gd name="T36" fmla="*/ 2147483647 w 2035"/>
              <a:gd name="T37" fmla="*/ 2147483647 h 1649"/>
              <a:gd name="T38" fmla="*/ 2147483647 w 2035"/>
              <a:gd name="T39" fmla="*/ 2147483647 h 1649"/>
              <a:gd name="T40" fmla="*/ 2147483647 w 2035"/>
              <a:gd name="T41" fmla="*/ 2147483647 h 1649"/>
              <a:gd name="T42" fmla="*/ 2147483647 w 2035"/>
              <a:gd name="T43" fmla="*/ 0 h 1649"/>
              <a:gd name="T44" fmla="*/ 2147483647 w 2035"/>
              <a:gd name="T45" fmla="*/ 2147483647 h 1649"/>
              <a:gd name="T46" fmla="*/ 2147483647 w 2035"/>
              <a:gd name="T47" fmla="*/ 2147483647 h 1649"/>
              <a:gd name="T48" fmla="*/ 2147483647 w 2035"/>
              <a:gd name="T49" fmla="*/ 2147483647 h 1649"/>
              <a:gd name="T50" fmla="*/ 2147483647 w 2035"/>
              <a:gd name="T51" fmla="*/ 2147483647 h 1649"/>
              <a:gd name="T52" fmla="*/ 2147483647 w 2035"/>
              <a:gd name="T53" fmla="*/ 2147483647 h 1649"/>
              <a:gd name="T54" fmla="*/ 2147483647 w 2035"/>
              <a:gd name="T55" fmla="*/ 2147483647 h 1649"/>
              <a:gd name="T56" fmla="*/ 2147483647 w 2035"/>
              <a:gd name="T57" fmla="*/ 2147483647 h 1649"/>
              <a:gd name="T58" fmla="*/ 2147483647 w 2035"/>
              <a:gd name="T59" fmla="*/ 2147483647 h 1649"/>
              <a:gd name="T60" fmla="*/ 2147483647 w 2035"/>
              <a:gd name="T61" fmla="*/ 2147483647 h 1649"/>
              <a:gd name="T62" fmla="*/ 2147483647 w 2035"/>
              <a:gd name="T63" fmla="*/ 2147483647 h 1649"/>
              <a:gd name="T64" fmla="*/ 2147483647 w 2035"/>
              <a:gd name="T65" fmla="*/ 2147483647 h 1649"/>
              <a:gd name="T66" fmla="*/ 2147483647 w 2035"/>
              <a:gd name="T67" fmla="*/ 2147483647 h 1649"/>
              <a:gd name="T68" fmla="*/ 2147483647 w 2035"/>
              <a:gd name="T69" fmla="*/ 2147483647 h 1649"/>
              <a:gd name="T70" fmla="*/ 2147483647 w 2035"/>
              <a:gd name="T71" fmla="*/ 2147483647 h 1649"/>
              <a:gd name="T72" fmla="*/ 2147483647 w 2035"/>
              <a:gd name="T73" fmla="*/ 2147483647 h 1649"/>
              <a:gd name="T74" fmla="*/ 2147483647 w 2035"/>
              <a:gd name="T75" fmla="*/ 2147483647 h 1649"/>
              <a:gd name="T76" fmla="*/ 2147483647 w 2035"/>
              <a:gd name="T77" fmla="*/ 2147483647 h 1649"/>
              <a:gd name="T78" fmla="*/ 2147483647 w 2035"/>
              <a:gd name="T79" fmla="*/ 2147483647 h 1649"/>
              <a:gd name="T80" fmla="*/ 2147483647 w 2035"/>
              <a:gd name="T81" fmla="*/ 2147483647 h 1649"/>
              <a:gd name="T82" fmla="*/ 2147483647 w 2035"/>
              <a:gd name="T83" fmla="*/ 2147483647 h 1649"/>
              <a:gd name="T84" fmla="*/ 2147483647 w 2035"/>
              <a:gd name="T85" fmla="*/ 2147483647 h 1649"/>
              <a:gd name="T86" fmla="*/ 2147483647 w 2035"/>
              <a:gd name="T87" fmla="*/ 2147483647 h 1649"/>
              <a:gd name="T88" fmla="*/ 2147483647 w 2035"/>
              <a:gd name="T89" fmla="*/ 2147483647 h 1649"/>
              <a:gd name="T90" fmla="*/ 2147483647 w 2035"/>
              <a:gd name="T91" fmla="*/ 2147483647 h 1649"/>
              <a:gd name="T92" fmla="*/ 2147483647 w 2035"/>
              <a:gd name="T93" fmla="*/ 2147483647 h 1649"/>
              <a:gd name="T94" fmla="*/ 2147483647 w 2035"/>
              <a:gd name="T95" fmla="*/ 2147483647 h 1649"/>
              <a:gd name="T96" fmla="*/ 2147483647 w 2035"/>
              <a:gd name="T97" fmla="*/ 2147483647 h 1649"/>
              <a:gd name="T98" fmla="*/ 2147483647 w 2035"/>
              <a:gd name="T99" fmla="*/ 2147483647 h 1649"/>
              <a:gd name="T100" fmla="*/ 2147483647 w 2035"/>
              <a:gd name="T101" fmla="*/ 2147483647 h 1649"/>
              <a:gd name="T102" fmla="*/ 2147483647 w 2035"/>
              <a:gd name="T103" fmla="*/ 2147483647 h 1649"/>
              <a:gd name="T104" fmla="*/ 2147483647 w 2035"/>
              <a:gd name="T105" fmla="*/ 2147483647 h 1649"/>
              <a:gd name="T106" fmla="*/ 2147483647 w 2035"/>
              <a:gd name="T107" fmla="*/ 2147483647 h 1649"/>
              <a:gd name="T108" fmla="*/ 2147483647 w 2035"/>
              <a:gd name="T109" fmla="*/ 2147483647 h 1649"/>
              <a:gd name="T110" fmla="*/ 2147483647 w 2035"/>
              <a:gd name="T111" fmla="*/ 2147483647 h 1649"/>
              <a:gd name="T112" fmla="*/ 2147483647 w 2035"/>
              <a:gd name="T113" fmla="*/ 2147483647 h 1649"/>
              <a:gd name="T114" fmla="*/ 2147483647 w 2035"/>
              <a:gd name="T115" fmla="*/ 2147483647 h 1649"/>
              <a:gd name="T116" fmla="*/ 2147483647 w 2035"/>
              <a:gd name="T117" fmla="*/ 2147483647 h 1649"/>
              <a:gd name="T118" fmla="*/ 2147483647 w 2035"/>
              <a:gd name="T119" fmla="*/ 2147483647 h 1649"/>
              <a:gd name="T120" fmla="*/ 2147483647 w 2035"/>
              <a:gd name="T121" fmla="*/ 2147483647 h 1649"/>
              <a:gd name="T122" fmla="*/ 2147483647 w 2035"/>
              <a:gd name="T123" fmla="*/ 2147483647 h 16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035"/>
              <a:gd name="T187" fmla="*/ 0 h 1649"/>
              <a:gd name="T188" fmla="*/ 2035 w 2035"/>
              <a:gd name="T189" fmla="*/ 1649 h 1649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035" h="1649">
                <a:moveTo>
                  <a:pt x="1033" y="1649"/>
                </a:moveTo>
                <a:lnTo>
                  <a:pt x="1012" y="1621"/>
                </a:lnTo>
                <a:lnTo>
                  <a:pt x="1003" y="1606"/>
                </a:lnTo>
                <a:lnTo>
                  <a:pt x="1001" y="1602"/>
                </a:lnTo>
                <a:lnTo>
                  <a:pt x="999" y="1599"/>
                </a:lnTo>
                <a:lnTo>
                  <a:pt x="999" y="1597"/>
                </a:lnTo>
                <a:lnTo>
                  <a:pt x="1001" y="1595"/>
                </a:lnTo>
                <a:lnTo>
                  <a:pt x="1016" y="1589"/>
                </a:lnTo>
                <a:lnTo>
                  <a:pt x="1033" y="1585"/>
                </a:lnTo>
                <a:lnTo>
                  <a:pt x="1037" y="1548"/>
                </a:lnTo>
                <a:lnTo>
                  <a:pt x="1042" y="1502"/>
                </a:lnTo>
                <a:lnTo>
                  <a:pt x="1045" y="1478"/>
                </a:lnTo>
                <a:lnTo>
                  <a:pt x="1046" y="1455"/>
                </a:lnTo>
                <a:lnTo>
                  <a:pt x="1047" y="1434"/>
                </a:lnTo>
                <a:lnTo>
                  <a:pt x="1046" y="1416"/>
                </a:lnTo>
                <a:lnTo>
                  <a:pt x="1037" y="1412"/>
                </a:lnTo>
                <a:lnTo>
                  <a:pt x="1025" y="1409"/>
                </a:lnTo>
                <a:lnTo>
                  <a:pt x="1014" y="1408"/>
                </a:lnTo>
                <a:lnTo>
                  <a:pt x="1001" y="1408"/>
                </a:lnTo>
                <a:lnTo>
                  <a:pt x="972" y="1408"/>
                </a:lnTo>
                <a:lnTo>
                  <a:pt x="942" y="1412"/>
                </a:lnTo>
                <a:lnTo>
                  <a:pt x="912" y="1417"/>
                </a:lnTo>
                <a:lnTo>
                  <a:pt x="882" y="1422"/>
                </a:lnTo>
                <a:lnTo>
                  <a:pt x="856" y="1429"/>
                </a:lnTo>
                <a:lnTo>
                  <a:pt x="834" y="1434"/>
                </a:lnTo>
                <a:lnTo>
                  <a:pt x="804" y="1403"/>
                </a:lnTo>
                <a:lnTo>
                  <a:pt x="782" y="1379"/>
                </a:lnTo>
                <a:lnTo>
                  <a:pt x="762" y="1359"/>
                </a:lnTo>
                <a:lnTo>
                  <a:pt x="744" y="1343"/>
                </a:lnTo>
                <a:lnTo>
                  <a:pt x="714" y="1333"/>
                </a:lnTo>
                <a:lnTo>
                  <a:pt x="684" y="1323"/>
                </a:lnTo>
                <a:lnTo>
                  <a:pt x="656" y="1313"/>
                </a:lnTo>
                <a:lnTo>
                  <a:pt x="627" y="1303"/>
                </a:lnTo>
                <a:lnTo>
                  <a:pt x="601" y="1258"/>
                </a:lnTo>
                <a:lnTo>
                  <a:pt x="575" y="1215"/>
                </a:lnTo>
                <a:lnTo>
                  <a:pt x="561" y="1193"/>
                </a:lnTo>
                <a:lnTo>
                  <a:pt x="547" y="1172"/>
                </a:lnTo>
                <a:lnTo>
                  <a:pt x="531" y="1153"/>
                </a:lnTo>
                <a:lnTo>
                  <a:pt x="515" y="1133"/>
                </a:lnTo>
                <a:lnTo>
                  <a:pt x="485" y="1119"/>
                </a:lnTo>
                <a:lnTo>
                  <a:pt x="455" y="1106"/>
                </a:lnTo>
                <a:lnTo>
                  <a:pt x="426" y="1093"/>
                </a:lnTo>
                <a:lnTo>
                  <a:pt x="396" y="1080"/>
                </a:lnTo>
                <a:lnTo>
                  <a:pt x="386" y="1055"/>
                </a:lnTo>
                <a:lnTo>
                  <a:pt x="379" y="1037"/>
                </a:lnTo>
                <a:lnTo>
                  <a:pt x="373" y="1031"/>
                </a:lnTo>
                <a:lnTo>
                  <a:pt x="368" y="1025"/>
                </a:lnTo>
                <a:lnTo>
                  <a:pt x="363" y="1022"/>
                </a:lnTo>
                <a:lnTo>
                  <a:pt x="358" y="1018"/>
                </a:lnTo>
                <a:lnTo>
                  <a:pt x="345" y="1014"/>
                </a:lnTo>
                <a:lnTo>
                  <a:pt x="328" y="1011"/>
                </a:lnTo>
                <a:lnTo>
                  <a:pt x="308" y="1009"/>
                </a:lnTo>
                <a:lnTo>
                  <a:pt x="282" y="1005"/>
                </a:lnTo>
                <a:lnTo>
                  <a:pt x="256" y="990"/>
                </a:lnTo>
                <a:lnTo>
                  <a:pt x="232" y="977"/>
                </a:lnTo>
                <a:lnTo>
                  <a:pt x="206" y="963"/>
                </a:lnTo>
                <a:lnTo>
                  <a:pt x="180" y="949"/>
                </a:lnTo>
                <a:lnTo>
                  <a:pt x="154" y="937"/>
                </a:lnTo>
                <a:lnTo>
                  <a:pt x="126" y="925"/>
                </a:lnTo>
                <a:lnTo>
                  <a:pt x="113" y="921"/>
                </a:lnTo>
                <a:lnTo>
                  <a:pt x="99" y="918"/>
                </a:lnTo>
                <a:lnTo>
                  <a:pt x="85" y="915"/>
                </a:lnTo>
                <a:lnTo>
                  <a:pt x="70" y="912"/>
                </a:lnTo>
                <a:lnTo>
                  <a:pt x="66" y="898"/>
                </a:lnTo>
                <a:lnTo>
                  <a:pt x="60" y="885"/>
                </a:lnTo>
                <a:lnTo>
                  <a:pt x="48" y="867"/>
                </a:lnTo>
                <a:lnTo>
                  <a:pt x="29" y="836"/>
                </a:lnTo>
                <a:lnTo>
                  <a:pt x="30" y="817"/>
                </a:lnTo>
                <a:lnTo>
                  <a:pt x="34" y="802"/>
                </a:lnTo>
                <a:lnTo>
                  <a:pt x="38" y="786"/>
                </a:lnTo>
                <a:lnTo>
                  <a:pt x="42" y="771"/>
                </a:lnTo>
                <a:lnTo>
                  <a:pt x="38" y="760"/>
                </a:lnTo>
                <a:lnTo>
                  <a:pt x="34" y="751"/>
                </a:lnTo>
                <a:lnTo>
                  <a:pt x="30" y="742"/>
                </a:lnTo>
                <a:lnTo>
                  <a:pt x="29" y="733"/>
                </a:lnTo>
                <a:lnTo>
                  <a:pt x="25" y="716"/>
                </a:lnTo>
                <a:lnTo>
                  <a:pt x="24" y="699"/>
                </a:lnTo>
                <a:lnTo>
                  <a:pt x="21" y="682"/>
                </a:lnTo>
                <a:lnTo>
                  <a:pt x="17" y="666"/>
                </a:lnTo>
                <a:lnTo>
                  <a:pt x="14" y="657"/>
                </a:lnTo>
                <a:lnTo>
                  <a:pt x="11" y="650"/>
                </a:lnTo>
                <a:lnTo>
                  <a:pt x="5" y="640"/>
                </a:lnTo>
                <a:lnTo>
                  <a:pt x="0" y="631"/>
                </a:lnTo>
                <a:lnTo>
                  <a:pt x="0" y="624"/>
                </a:lnTo>
                <a:lnTo>
                  <a:pt x="3" y="617"/>
                </a:lnTo>
                <a:lnTo>
                  <a:pt x="5" y="608"/>
                </a:lnTo>
                <a:lnTo>
                  <a:pt x="8" y="597"/>
                </a:lnTo>
                <a:lnTo>
                  <a:pt x="17" y="571"/>
                </a:lnTo>
                <a:lnTo>
                  <a:pt x="26" y="534"/>
                </a:lnTo>
                <a:lnTo>
                  <a:pt x="33" y="534"/>
                </a:lnTo>
                <a:lnTo>
                  <a:pt x="40" y="534"/>
                </a:lnTo>
                <a:lnTo>
                  <a:pt x="42" y="504"/>
                </a:lnTo>
                <a:lnTo>
                  <a:pt x="40" y="484"/>
                </a:lnTo>
                <a:lnTo>
                  <a:pt x="39" y="469"/>
                </a:lnTo>
                <a:lnTo>
                  <a:pt x="38" y="453"/>
                </a:lnTo>
                <a:lnTo>
                  <a:pt x="60" y="436"/>
                </a:lnTo>
                <a:lnTo>
                  <a:pt x="81" y="419"/>
                </a:lnTo>
                <a:lnTo>
                  <a:pt x="100" y="402"/>
                </a:lnTo>
                <a:lnTo>
                  <a:pt x="118" y="384"/>
                </a:lnTo>
                <a:lnTo>
                  <a:pt x="156" y="349"/>
                </a:lnTo>
                <a:lnTo>
                  <a:pt x="197" y="314"/>
                </a:lnTo>
                <a:lnTo>
                  <a:pt x="237" y="313"/>
                </a:lnTo>
                <a:lnTo>
                  <a:pt x="275" y="310"/>
                </a:lnTo>
                <a:lnTo>
                  <a:pt x="293" y="307"/>
                </a:lnTo>
                <a:lnTo>
                  <a:pt x="308" y="305"/>
                </a:lnTo>
                <a:lnTo>
                  <a:pt x="324" y="301"/>
                </a:lnTo>
                <a:lnTo>
                  <a:pt x="337" y="296"/>
                </a:lnTo>
                <a:lnTo>
                  <a:pt x="350" y="288"/>
                </a:lnTo>
                <a:lnTo>
                  <a:pt x="362" y="280"/>
                </a:lnTo>
                <a:lnTo>
                  <a:pt x="371" y="270"/>
                </a:lnTo>
                <a:lnTo>
                  <a:pt x="379" y="257"/>
                </a:lnTo>
                <a:lnTo>
                  <a:pt x="385" y="242"/>
                </a:lnTo>
                <a:lnTo>
                  <a:pt x="390" y="224"/>
                </a:lnTo>
                <a:lnTo>
                  <a:pt x="393" y="205"/>
                </a:lnTo>
                <a:lnTo>
                  <a:pt x="394" y="181"/>
                </a:lnTo>
                <a:lnTo>
                  <a:pt x="402" y="163"/>
                </a:lnTo>
                <a:lnTo>
                  <a:pt x="411" y="143"/>
                </a:lnTo>
                <a:lnTo>
                  <a:pt x="420" y="127"/>
                </a:lnTo>
                <a:lnTo>
                  <a:pt x="428" y="108"/>
                </a:lnTo>
                <a:lnTo>
                  <a:pt x="450" y="97"/>
                </a:lnTo>
                <a:lnTo>
                  <a:pt x="463" y="89"/>
                </a:lnTo>
                <a:lnTo>
                  <a:pt x="472" y="80"/>
                </a:lnTo>
                <a:lnTo>
                  <a:pt x="484" y="65"/>
                </a:lnTo>
                <a:lnTo>
                  <a:pt x="485" y="45"/>
                </a:lnTo>
                <a:lnTo>
                  <a:pt x="487" y="29"/>
                </a:lnTo>
                <a:lnTo>
                  <a:pt x="491" y="16"/>
                </a:lnTo>
                <a:lnTo>
                  <a:pt x="494" y="8"/>
                </a:lnTo>
                <a:lnTo>
                  <a:pt x="497" y="4"/>
                </a:lnTo>
                <a:lnTo>
                  <a:pt x="500" y="3"/>
                </a:lnTo>
                <a:lnTo>
                  <a:pt x="502" y="0"/>
                </a:lnTo>
                <a:lnTo>
                  <a:pt x="506" y="0"/>
                </a:lnTo>
                <a:lnTo>
                  <a:pt x="513" y="0"/>
                </a:lnTo>
                <a:lnTo>
                  <a:pt x="520" y="2"/>
                </a:lnTo>
                <a:lnTo>
                  <a:pt x="539" y="11"/>
                </a:lnTo>
                <a:lnTo>
                  <a:pt x="560" y="24"/>
                </a:lnTo>
                <a:lnTo>
                  <a:pt x="580" y="37"/>
                </a:lnTo>
                <a:lnTo>
                  <a:pt x="604" y="49"/>
                </a:lnTo>
                <a:lnTo>
                  <a:pt x="626" y="50"/>
                </a:lnTo>
                <a:lnTo>
                  <a:pt x="641" y="52"/>
                </a:lnTo>
                <a:lnTo>
                  <a:pt x="656" y="56"/>
                </a:lnTo>
                <a:lnTo>
                  <a:pt x="666" y="62"/>
                </a:lnTo>
                <a:lnTo>
                  <a:pt x="688" y="76"/>
                </a:lnTo>
                <a:lnTo>
                  <a:pt x="720" y="93"/>
                </a:lnTo>
                <a:lnTo>
                  <a:pt x="735" y="90"/>
                </a:lnTo>
                <a:lnTo>
                  <a:pt x="752" y="88"/>
                </a:lnTo>
                <a:lnTo>
                  <a:pt x="769" y="85"/>
                </a:lnTo>
                <a:lnTo>
                  <a:pt x="786" y="84"/>
                </a:lnTo>
                <a:lnTo>
                  <a:pt x="808" y="112"/>
                </a:lnTo>
                <a:lnTo>
                  <a:pt x="825" y="133"/>
                </a:lnTo>
                <a:lnTo>
                  <a:pt x="834" y="141"/>
                </a:lnTo>
                <a:lnTo>
                  <a:pt x="842" y="147"/>
                </a:lnTo>
                <a:lnTo>
                  <a:pt x="850" y="153"/>
                </a:lnTo>
                <a:lnTo>
                  <a:pt x="857" y="156"/>
                </a:lnTo>
                <a:lnTo>
                  <a:pt x="865" y="159"/>
                </a:lnTo>
                <a:lnTo>
                  <a:pt x="876" y="160"/>
                </a:lnTo>
                <a:lnTo>
                  <a:pt x="885" y="162"/>
                </a:lnTo>
                <a:lnTo>
                  <a:pt x="896" y="162"/>
                </a:lnTo>
                <a:lnTo>
                  <a:pt x="924" y="162"/>
                </a:lnTo>
                <a:lnTo>
                  <a:pt x="959" y="160"/>
                </a:lnTo>
                <a:lnTo>
                  <a:pt x="971" y="154"/>
                </a:lnTo>
                <a:lnTo>
                  <a:pt x="980" y="149"/>
                </a:lnTo>
                <a:lnTo>
                  <a:pt x="984" y="147"/>
                </a:lnTo>
                <a:lnTo>
                  <a:pt x="989" y="146"/>
                </a:lnTo>
                <a:lnTo>
                  <a:pt x="994" y="146"/>
                </a:lnTo>
                <a:lnTo>
                  <a:pt x="1002" y="147"/>
                </a:lnTo>
                <a:lnTo>
                  <a:pt x="1012" y="169"/>
                </a:lnTo>
                <a:lnTo>
                  <a:pt x="1020" y="188"/>
                </a:lnTo>
                <a:lnTo>
                  <a:pt x="1024" y="194"/>
                </a:lnTo>
                <a:lnTo>
                  <a:pt x="1028" y="201"/>
                </a:lnTo>
                <a:lnTo>
                  <a:pt x="1032" y="206"/>
                </a:lnTo>
                <a:lnTo>
                  <a:pt x="1037" y="210"/>
                </a:lnTo>
                <a:lnTo>
                  <a:pt x="1041" y="214"/>
                </a:lnTo>
                <a:lnTo>
                  <a:pt x="1047" y="216"/>
                </a:lnTo>
                <a:lnTo>
                  <a:pt x="1054" y="220"/>
                </a:lnTo>
                <a:lnTo>
                  <a:pt x="1062" y="223"/>
                </a:lnTo>
                <a:lnTo>
                  <a:pt x="1080" y="227"/>
                </a:lnTo>
                <a:lnTo>
                  <a:pt x="1106" y="232"/>
                </a:lnTo>
                <a:lnTo>
                  <a:pt x="1119" y="241"/>
                </a:lnTo>
                <a:lnTo>
                  <a:pt x="1132" y="248"/>
                </a:lnTo>
                <a:lnTo>
                  <a:pt x="1145" y="251"/>
                </a:lnTo>
                <a:lnTo>
                  <a:pt x="1158" y="254"/>
                </a:lnTo>
                <a:lnTo>
                  <a:pt x="1171" y="254"/>
                </a:lnTo>
                <a:lnTo>
                  <a:pt x="1184" y="253"/>
                </a:lnTo>
                <a:lnTo>
                  <a:pt x="1196" y="250"/>
                </a:lnTo>
                <a:lnTo>
                  <a:pt x="1209" y="246"/>
                </a:lnTo>
                <a:lnTo>
                  <a:pt x="1222" y="241"/>
                </a:lnTo>
                <a:lnTo>
                  <a:pt x="1235" y="235"/>
                </a:lnTo>
                <a:lnTo>
                  <a:pt x="1248" y="228"/>
                </a:lnTo>
                <a:lnTo>
                  <a:pt x="1259" y="220"/>
                </a:lnTo>
                <a:lnTo>
                  <a:pt x="1285" y="205"/>
                </a:lnTo>
                <a:lnTo>
                  <a:pt x="1310" y="189"/>
                </a:lnTo>
                <a:lnTo>
                  <a:pt x="1322" y="188"/>
                </a:lnTo>
                <a:lnTo>
                  <a:pt x="1334" y="189"/>
                </a:lnTo>
                <a:lnTo>
                  <a:pt x="1345" y="190"/>
                </a:lnTo>
                <a:lnTo>
                  <a:pt x="1356" y="193"/>
                </a:lnTo>
                <a:lnTo>
                  <a:pt x="1366" y="197"/>
                </a:lnTo>
                <a:lnTo>
                  <a:pt x="1377" y="202"/>
                </a:lnTo>
                <a:lnTo>
                  <a:pt x="1387" y="207"/>
                </a:lnTo>
                <a:lnTo>
                  <a:pt x="1396" y="215"/>
                </a:lnTo>
                <a:lnTo>
                  <a:pt x="1404" y="222"/>
                </a:lnTo>
                <a:lnTo>
                  <a:pt x="1413" y="231"/>
                </a:lnTo>
                <a:lnTo>
                  <a:pt x="1421" y="240"/>
                </a:lnTo>
                <a:lnTo>
                  <a:pt x="1427" y="250"/>
                </a:lnTo>
                <a:lnTo>
                  <a:pt x="1434" y="261"/>
                </a:lnTo>
                <a:lnTo>
                  <a:pt x="1440" y="271"/>
                </a:lnTo>
                <a:lnTo>
                  <a:pt x="1446" y="283"/>
                </a:lnTo>
                <a:lnTo>
                  <a:pt x="1451" y="294"/>
                </a:lnTo>
                <a:lnTo>
                  <a:pt x="1459" y="319"/>
                </a:lnTo>
                <a:lnTo>
                  <a:pt x="1465" y="344"/>
                </a:lnTo>
                <a:lnTo>
                  <a:pt x="1466" y="357"/>
                </a:lnTo>
                <a:lnTo>
                  <a:pt x="1468" y="370"/>
                </a:lnTo>
                <a:lnTo>
                  <a:pt x="1468" y="382"/>
                </a:lnTo>
                <a:lnTo>
                  <a:pt x="1468" y="395"/>
                </a:lnTo>
                <a:lnTo>
                  <a:pt x="1468" y="406"/>
                </a:lnTo>
                <a:lnTo>
                  <a:pt x="1465" y="419"/>
                </a:lnTo>
                <a:lnTo>
                  <a:pt x="1464" y="431"/>
                </a:lnTo>
                <a:lnTo>
                  <a:pt x="1460" y="441"/>
                </a:lnTo>
                <a:lnTo>
                  <a:pt x="1456" y="453"/>
                </a:lnTo>
                <a:lnTo>
                  <a:pt x="1452" y="462"/>
                </a:lnTo>
                <a:lnTo>
                  <a:pt x="1447" y="473"/>
                </a:lnTo>
                <a:lnTo>
                  <a:pt x="1440" y="482"/>
                </a:lnTo>
                <a:lnTo>
                  <a:pt x="1442" y="492"/>
                </a:lnTo>
                <a:lnTo>
                  <a:pt x="1443" y="503"/>
                </a:lnTo>
                <a:lnTo>
                  <a:pt x="1447" y="513"/>
                </a:lnTo>
                <a:lnTo>
                  <a:pt x="1451" y="522"/>
                </a:lnTo>
                <a:lnTo>
                  <a:pt x="1457" y="532"/>
                </a:lnTo>
                <a:lnTo>
                  <a:pt x="1464" y="540"/>
                </a:lnTo>
                <a:lnTo>
                  <a:pt x="1472" y="549"/>
                </a:lnTo>
                <a:lnTo>
                  <a:pt x="1479" y="556"/>
                </a:lnTo>
                <a:lnTo>
                  <a:pt x="1488" y="562"/>
                </a:lnTo>
                <a:lnTo>
                  <a:pt x="1498" y="569"/>
                </a:lnTo>
                <a:lnTo>
                  <a:pt x="1508" y="573"/>
                </a:lnTo>
                <a:lnTo>
                  <a:pt x="1518" y="577"/>
                </a:lnTo>
                <a:lnTo>
                  <a:pt x="1529" y="579"/>
                </a:lnTo>
                <a:lnTo>
                  <a:pt x="1539" y="579"/>
                </a:lnTo>
                <a:lnTo>
                  <a:pt x="1551" y="579"/>
                </a:lnTo>
                <a:lnTo>
                  <a:pt x="1561" y="578"/>
                </a:lnTo>
                <a:lnTo>
                  <a:pt x="1570" y="565"/>
                </a:lnTo>
                <a:lnTo>
                  <a:pt x="1580" y="552"/>
                </a:lnTo>
                <a:lnTo>
                  <a:pt x="1613" y="553"/>
                </a:lnTo>
                <a:lnTo>
                  <a:pt x="1647" y="556"/>
                </a:lnTo>
                <a:lnTo>
                  <a:pt x="1678" y="561"/>
                </a:lnTo>
                <a:lnTo>
                  <a:pt x="1707" y="568"/>
                </a:lnTo>
                <a:lnTo>
                  <a:pt x="1736" y="575"/>
                </a:lnTo>
                <a:lnTo>
                  <a:pt x="1762" y="586"/>
                </a:lnTo>
                <a:lnTo>
                  <a:pt x="1773" y="592"/>
                </a:lnTo>
                <a:lnTo>
                  <a:pt x="1785" y="599"/>
                </a:lnTo>
                <a:lnTo>
                  <a:pt x="1797" y="605"/>
                </a:lnTo>
                <a:lnTo>
                  <a:pt x="1808" y="613"/>
                </a:lnTo>
                <a:lnTo>
                  <a:pt x="1819" y="621"/>
                </a:lnTo>
                <a:lnTo>
                  <a:pt x="1829" y="629"/>
                </a:lnTo>
                <a:lnTo>
                  <a:pt x="1840" y="638"/>
                </a:lnTo>
                <a:lnTo>
                  <a:pt x="1849" y="648"/>
                </a:lnTo>
                <a:lnTo>
                  <a:pt x="1858" y="659"/>
                </a:lnTo>
                <a:lnTo>
                  <a:pt x="1866" y="669"/>
                </a:lnTo>
                <a:lnTo>
                  <a:pt x="1875" y="681"/>
                </a:lnTo>
                <a:lnTo>
                  <a:pt x="1883" y="692"/>
                </a:lnTo>
                <a:lnTo>
                  <a:pt x="1897" y="717"/>
                </a:lnTo>
                <a:lnTo>
                  <a:pt x="1910" y="746"/>
                </a:lnTo>
                <a:lnTo>
                  <a:pt x="1922" y="776"/>
                </a:lnTo>
                <a:lnTo>
                  <a:pt x="1931" y="808"/>
                </a:lnTo>
                <a:lnTo>
                  <a:pt x="1950" y="810"/>
                </a:lnTo>
                <a:lnTo>
                  <a:pt x="1969" y="811"/>
                </a:lnTo>
                <a:lnTo>
                  <a:pt x="1988" y="813"/>
                </a:lnTo>
                <a:lnTo>
                  <a:pt x="2008" y="816"/>
                </a:lnTo>
                <a:lnTo>
                  <a:pt x="2010" y="830"/>
                </a:lnTo>
                <a:lnTo>
                  <a:pt x="2014" y="845"/>
                </a:lnTo>
                <a:lnTo>
                  <a:pt x="2017" y="859"/>
                </a:lnTo>
                <a:lnTo>
                  <a:pt x="2022" y="873"/>
                </a:lnTo>
                <a:lnTo>
                  <a:pt x="2005" y="880"/>
                </a:lnTo>
                <a:lnTo>
                  <a:pt x="1991" y="888"/>
                </a:lnTo>
                <a:lnTo>
                  <a:pt x="1976" y="897"/>
                </a:lnTo>
                <a:lnTo>
                  <a:pt x="1965" y="906"/>
                </a:lnTo>
                <a:lnTo>
                  <a:pt x="1953" y="916"/>
                </a:lnTo>
                <a:lnTo>
                  <a:pt x="1942" y="928"/>
                </a:lnTo>
                <a:lnTo>
                  <a:pt x="1933" y="940"/>
                </a:lnTo>
                <a:lnTo>
                  <a:pt x="1924" y="953"/>
                </a:lnTo>
                <a:lnTo>
                  <a:pt x="1918" y="966"/>
                </a:lnTo>
                <a:lnTo>
                  <a:pt x="1911" y="980"/>
                </a:lnTo>
                <a:lnTo>
                  <a:pt x="1906" y="996"/>
                </a:lnTo>
                <a:lnTo>
                  <a:pt x="1902" y="1011"/>
                </a:lnTo>
                <a:lnTo>
                  <a:pt x="1898" y="1027"/>
                </a:lnTo>
                <a:lnTo>
                  <a:pt x="1896" y="1044"/>
                </a:lnTo>
                <a:lnTo>
                  <a:pt x="1894" y="1061"/>
                </a:lnTo>
                <a:lnTo>
                  <a:pt x="1894" y="1078"/>
                </a:lnTo>
                <a:lnTo>
                  <a:pt x="1900" y="1089"/>
                </a:lnTo>
                <a:lnTo>
                  <a:pt x="1906" y="1101"/>
                </a:lnTo>
                <a:lnTo>
                  <a:pt x="1913" y="1110"/>
                </a:lnTo>
                <a:lnTo>
                  <a:pt x="1920" y="1120"/>
                </a:lnTo>
                <a:lnTo>
                  <a:pt x="1928" y="1130"/>
                </a:lnTo>
                <a:lnTo>
                  <a:pt x="1936" y="1137"/>
                </a:lnTo>
                <a:lnTo>
                  <a:pt x="1945" y="1145"/>
                </a:lnTo>
                <a:lnTo>
                  <a:pt x="1954" y="1153"/>
                </a:lnTo>
                <a:lnTo>
                  <a:pt x="1995" y="1179"/>
                </a:lnTo>
                <a:lnTo>
                  <a:pt x="2035" y="1205"/>
                </a:lnTo>
                <a:lnTo>
                  <a:pt x="2034" y="1222"/>
                </a:lnTo>
                <a:lnTo>
                  <a:pt x="2034" y="1240"/>
                </a:lnTo>
                <a:lnTo>
                  <a:pt x="2032" y="1258"/>
                </a:lnTo>
                <a:lnTo>
                  <a:pt x="2032" y="1278"/>
                </a:lnTo>
                <a:lnTo>
                  <a:pt x="2022" y="1278"/>
                </a:lnTo>
                <a:lnTo>
                  <a:pt x="2014" y="1278"/>
                </a:lnTo>
                <a:lnTo>
                  <a:pt x="2013" y="1292"/>
                </a:lnTo>
                <a:lnTo>
                  <a:pt x="2010" y="1306"/>
                </a:lnTo>
                <a:lnTo>
                  <a:pt x="2009" y="1321"/>
                </a:lnTo>
                <a:lnTo>
                  <a:pt x="2008" y="1335"/>
                </a:lnTo>
                <a:lnTo>
                  <a:pt x="1989" y="1338"/>
                </a:lnTo>
                <a:lnTo>
                  <a:pt x="1972" y="1340"/>
                </a:lnTo>
                <a:lnTo>
                  <a:pt x="1958" y="1343"/>
                </a:lnTo>
                <a:lnTo>
                  <a:pt x="1946" y="1347"/>
                </a:lnTo>
                <a:lnTo>
                  <a:pt x="1936" y="1352"/>
                </a:lnTo>
                <a:lnTo>
                  <a:pt x="1927" y="1357"/>
                </a:lnTo>
                <a:lnTo>
                  <a:pt x="1919" y="1364"/>
                </a:lnTo>
                <a:lnTo>
                  <a:pt x="1914" y="1372"/>
                </a:lnTo>
                <a:lnTo>
                  <a:pt x="1909" y="1379"/>
                </a:lnTo>
                <a:lnTo>
                  <a:pt x="1903" y="1388"/>
                </a:lnTo>
                <a:lnTo>
                  <a:pt x="1901" y="1400"/>
                </a:lnTo>
                <a:lnTo>
                  <a:pt x="1897" y="1412"/>
                </a:lnTo>
                <a:lnTo>
                  <a:pt x="1892" y="1440"/>
                </a:lnTo>
                <a:lnTo>
                  <a:pt x="1887" y="1476"/>
                </a:lnTo>
                <a:lnTo>
                  <a:pt x="1880" y="1480"/>
                </a:lnTo>
                <a:lnTo>
                  <a:pt x="1874" y="1482"/>
                </a:lnTo>
                <a:lnTo>
                  <a:pt x="1866" y="1483"/>
                </a:lnTo>
                <a:lnTo>
                  <a:pt x="1855" y="1486"/>
                </a:lnTo>
                <a:lnTo>
                  <a:pt x="1819" y="1490"/>
                </a:lnTo>
                <a:lnTo>
                  <a:pt x="1753" y="1496"/>
                </a:lnTo>
                <a:lnTo>
                  <a:pt x="1745" y="1503"/>
                </a:lnTo>
                <a:lnTo>
                  <a:pt x="1737" y="1506"/>
                </a:lnTo>
                <a:lnTo>
                  <a:pt x="1728" y="1508"/>
                </a:lnTo>
                <a:lnTo>
                  <a:pt x="1720" y="1509"/>
                </a:lnTo>
                <a:lnTo>
                  <a:pt x="1703" y="1508"/>
                </a:lnTo>
                <a:lnTo>
                  <a:pt x="1686" y="1504"/>
                </a:lnTo>
                <a:lnTo>
                  <a:pt x="1669" y="1500"/>
                </a:lnTo>
                <a:lnTo>
                  <a:pt x="1651" y="1499"/>
                </a:lnTo>
                <a:lnTo>
                  <a:pt x="1643" y="1500"/>
                </a:lnTo>
                <a:lnTo>
                  <a:pt x="1634" y="1502"/>
                </a:lnTo>
                <a:lnTo>
                  <a:pt x="1626" y="1506"/>
                </a:lnTo>
                <a:lnTo>
                  <a:pt x="1617" y="1511"/>
                </a:lnTo>
                <a:lnTo>
                  <a:pt x="1577" y="1507"/>
                </a:lnTo>
                <a:lnTo>
                  <a:pt x="1543" y="1502"/>
                </a:lnTo>
                <a:lnTo>
                  <a:pt x="1534" y="1500"/>
                </a:lnTo>
                <a:lnTo>
                  <a:pt x="1526" y="1500"/>
                </a:lnTo>
                <a:lnTo>
                  <a:pt x="1518" y="1502"/>
                </a:lnTo>
                <a:lnTo>
                  <a:pt x="1511" y="1504"/>
                </a:lnTo>
                <a:lnTo>
                  <a:pt x="1503" y="1507"/>
                </a:lnTo>
                <a:lnTo>
                  <a:pt x="1494" y="1511"/>
                </a:lnTo>
                <a:lnTo>
                  <a:pt x="1485" y="1517"/>
                </a:lnTo>
                <a:lnTo>
                  <a:pt x="1475" y="1524"/>
                </a:lnTo>
                <a:lnTo>
                  <a:pt x="1459" y="1520"/>
                </a:lnTo>
                <a:lnTo>
                  <a:pt x="1443" y="1516"/>
                </a:lnTo>
                <a:lnTo>
                  <a:pt x="1435" y="1515"/>
                </a:lnTo>
                <a:lnTo>
                  <a:pt x="1427" y="1513"/>
                </a:lnTo>
                <a:lnTo>
                  <a:pt x="1418" y="1512"/>
                </a:lnTo>
                <a:lnTo>
                  <a:pt x="1408" y="1512"/>
                </a:lnTo>
                <a:lnTo>
                  <a:pt x="1401" y="1525"/>
                </a:lnTo>
                <a:lnTo>
                  <a:pt x="1393" y="1534"/>
                </a:lnTo>
                <a:lnTo>
                  <a:pt x="1388" y="1538"/>
                </a:lnTo>
                <a:lnTo>
                  <a:pt x="1383" y="1541"/>
                </a:lnTo>
                <a:lnTo>
                  <a:pt x="1378" y="1543"/>
                </a:lnTo>
                <a:lnTo>
                  <a:pt x="1371" y="1545"/>
                </a:lnTo>
                <a:lnTo>
                  <a:pt x="1369" y="1560"/>
                </a:lnTo>
                <a:lnTo>
                  <a:pt x="1367" y="1577"/>
                </a:lnTo>
                <a:lnTo>
                  <a:pt x="1334" y="1576"/>
                </a:lnTo>
                <a:lnTo>
                  <a:pt x="1298" y="1573"/>
                </a:lnTo>
                <a:lnTo>
                  <a:pt x="1262" y="1572"/>
                </a:lnTo>
                <a:lnTo>
                  <a:pt x="1226" y="1572"/>
                </a:lnTo>
                <a:lnTo>
                  <a:pt x="1191" y="1572"/>
                </a:lnTo>
                <a:lnTo>
                  <a:pt x="1154" y="1573"/>
                </a:lnTo>
                <a:lnTo>
                  <a:pt x="1120" y="1576"/>
                </a:lnTo>
                <a:lnTo>
                  <a:pt x="1086" y="1577"/>
                </a:lnTo>
                <a:lnTo>
                  <a:pt x="1080" y="1587"/>
                </a:lnTo>
                <a:lnTo>
                  <a:pt x="1075" y="1595"/>
                </a:lnTo>
                <a:lnTo>
                  <a:pt x="1072" y="1604"/>
                </a:lnTo>
                <a:lnTo>
                  <a:pt x="1068" y="1612"/>
                </a:lnTo>
                <a:lnTo>
                  <a:pt x="1064" y="1629"/>
                </a:lnTo>
                <a:lnTo>
                  <a:pt x="1059" y="1649"/>
                </a:lnTo>
                <a:lnTo>
                  <a:pt x="1045" y="1649"/>
                </a:lnTo>
                <a:lnTo>
                  <a:pt x="1033" y="1649"/>
                </a:lnTo>
                <a:close/>
              </a:path>
            </a:pathLst>
          </a:custGeom>
          <a:solidFill>
            <a:srgbClr val="00FF00"/>
          </a:solidFill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54" name="Freeform 19"/>
          <p:cNvSpPr>
            <a:spLocks/>
          </p:cNvSpPr>
          <p:nvPr/>
        </p:nvSpPr>
        <p:spPr bwMode="auto">
          <a:xfrm>
            <a:off x="1947863" y="3502025"/>
            <a:ext cx="588962" cy="644525"/>
          </a:xfrm>
          <a:custGeom>
            <a:avLst/>
            <a:gdLst>
              <a:gd name="T0" fmla="*/ 2147483647 w 1486"/>
              <a:gd name="T1" fmla="*/ 2147483647 h 1625"/>
              <a:gd name="T2" fmla="*/ 2147483647 w 1486"/>
              <a:gd name="T3" fmla="*/ 2147483647 h 1625"/>
              <a:gd name="T4" fmla="*/ 2147483647 w 1486"/>
              <a:gd name="T5" fmla="*/ 2147483647 h 1625"/>
              <a:gd name="T6" fmla="*/ 2147483647 w 1486"/>
              <a:gd name="T7" fmla="*/ 2147483647 h 1625"/>
              <a:gd name="T8" fmla="*/ 2147483647 w 1486"/>
              <a:gd name="T9" fmla="*/ 2147483647 h 1625"/>
              <a:gd name="T10" fmla="*/ 2147483647 w 1486"/>
              <a:gd name="T11" fmla="*/ 2147483647 h 1625"/>
              <a:gd name="T12" fmla="*/ 2147483647 w 1486"/>
              <a:gd name="T13" fmla="*/ 2147483647 h 1625"/>
              <a:gd name="T14" fmla="*/ 2147483647 w 1486"/>
              <a:gd name="T15" fmla="*/ 2147483647 h 1625"/>
              <a:gd name="T16" fmla="*/ 2147483647 w 1486"/>
              <a:gd name="T17" fmla="*/ 2147483647 h 1625"/>
              <a:gd name="T18" fmla="*/ 2147483647 w 1486"/>
              <a:gd name="T19" fmla="*/ 2147483647 h 1625"/>
              <a:gd name="T20" fmla="*/ 2147483647 w 1486"/>
              <a:gd name="T21" fmla="*/ 2147483647 h 1625"/>
              <a:gd name="T22" fmla="*/ 2147483647 w 1486"/>
              <a:gd name="T23" fmla="*/ 2147483647 h 1625"/>
              <a:gd name="T24" fmla="*/ 2147483647 w 1486"/>
              <a:gd name="T25" fmla="*/ 2147483647 h 1625"/>
              <a:gd name="T26" fmla="*/ 2147483647 w 1486"/>
              <a:gd name="T27" fmla="*/ 2147483647 h 1625"/>
              <a:gd name="T28" fmla="*/ 2147483647 w 1486"/>
              <a:gd name="T29" fmla="*/ 2147483647 h 1625"/>
              <a:gd name="T30" fmla="*/ 2147483647 w 1486"/>
              <a:gd name="T31" fmla="*/ 2147483647 h 1625"/>
              <a:gd name="T32" fmla="*/ 2147483647 w 1486"/>
              <a:gd name="T33" fmla="*/ 2147483647 h 1625"/>
              <a:gd name="T34" fmla="*/ 2147483647 w 1486"/>
              <a:gd name="T35" fmla="*/ 2147483647 h 1625"/>
              <a:gd name="T36" fmla="*/ 2147483647 w 1486"/>
              <a:gd name="T37" fmla="*/ 2147483647 h 1625"/>
              <a:gd name="T38" fmla="*/ 2147483647 w 1486"/>
              <a:gd name="T39" fmla="*/ 2147483647 h 1625"/>
              <a:gd name="T40" fmla="*/ 2147483647 w 1486"/>
              <a:gd name="T41" fmla="*/ 2147483647 h 1625"/>
              <a:gd name="T42" fmla="*/ 2147483647 w 1486"/>
              <a:gd name="T43" fmla="*/ 2147483647 h 1625"/>
              <a:gd name="T44" fmla="*/ 2147483647 w 1486"/>
              <a:gd name="T45" fmla="*/ 2147483647 h 1625"/>
              <a:gd name="T46" fmla="*/ 2147483647 w 1486"/>
              <a:gd name="T47" fmla="*/ 2147483647 h 1625"/>
              <a:gd name="T48" fmla="*/ 2147483647 w 1486"/>
              <a:gd name="T49" fmla="*/ 2147483647 h 1625"/>
              <a:gd name="T50" fmla="*/ 2147483647 w 1486"/>
              <a:gd name="T51" fmla="*/ 2147483647 h 1625"/>
              <a:gd name="T52" fmla="*/ 2147483647 w 1486"/>
              <a:gd name="T53" fmla="*/ 2147483647 h 1625"/>
              <a:gd name="T54" fmla="*/ 2147483647 w 1486"/>
              <a:gd name="T55" fmla="*/ 2147483647 h 1625"/>
              <a:gd name="T56" fmla="*/ 2147483647 w 1486"/>
              <a:gd name="T57" fmla="*/ 2147483647 h 1625"/>
              <a:gd name="T58" fmla="*/ 2147483647 w 1486"/>
              <a:gd name="T59" fmla="*/ 2147483647 h 1625"/>
              <a:gd name="T60" fmla="*/ 2147483647 w 1486"/>
              <a:gd name="T61" fmla="*/ 2147483647 h 1625"/>
              <a:gd name="T62" fmla="*/ 2147483647 w 1486"/>
              <a:gd name="T63" fmla="*/ 2147483647 h 1625"/>
              <a:gd name="T64" fmla="*/ 2147483647 w 1486"/>
              <a:gd name="T65" fmla="*/ 2147483647 h 1625"/>
              <a:gd name="T66" fmla="*/ 2147483647 w 1486"/>
              <a:gd name="T67" fmla="*/ 2147483647 h 1625"/>
              <a:gd name="T68" fmla="*/ 2147483647 w 1486"/>
              <a:gd name="T69" fmla="*/ 2147483647 h 1625"/>
              <a:gd name="T70" fmla="*/ 2147483647 w 1486"/>
              <a:gd name="T71" fmla="*/ 2147483647 h 1625"/>
              <a:gd name="T72" fmla="*/ 2147483647 w 1486"/>
              <a:gd name="T73" fmla="*/ 2147483647 h 1625"/>
              <a:gd name="T74" fmla="*/ 2147483647 w 1486"/>
              <a:gd name="T75" fmla="*/ 2147483647 h 1625"/>
              <a:gd name="T76" fmla="*/ 2147483647 w 1486"/>
              <a:gd name="T77" fmla="*/ 2147483647 h 1625"/>
              <a:gd name="T78" fmla="*/ 2147483647 w 1486"/>
              <a:gd name="T79" fmla="*/ 2147483647 h 1625"/>
              <a:gd name="T80" fmla="*/ 2147483647 w 1486"/>
              <a:gd name="T81" fmla="*/ 2147483647 h 1625"/>
              <a:gd name="T82" fmla="*/ 2147483647 w 1486"/>
              <a:gd name="T83" fmla="*/ 2147483647 h 1625"/>
              <a:gd name="T84" fmla="*/ 2147483647 w 1486"/>
              <a:gd name="T85" fmla="*/ 2147483647 h 1625"/>
              <a:gd name="T86" fmla="*/ 2147483647 w 1486"/>
              <a:gd name="T87" fmla="*/ 2147483647 h 1625"/>
              <a:gd name="T88" fmla="*/ 2147483647 w 1486"/>
              <a:gd name="T89" fmla="*/ 2147483647 h 1625"/>
              <a:gd name="T90" fmla="*/ 2147483647 w 1486"/>
              <a:gd name="T91" fmla="*/ 2147483647 h 1625"/>
              <a:gd name="T92" fmla="*/ 2147483647 w 1486"/>
              <a:gd name="T93" fmla="*/ 2147483647 h 1625"/>
              <a:gd name="T94" fmla="*/ 2147483647 w 1486"/>
              <a:gd name="T95" fmla="*/ 2147483647 h 1625"/>
              <a:gd name="T96" fmla="*/ 2147483647 w 1486"/>
              <a:gd name="T97" fmla="*/ 2147483647 h 1625"/>
              <a:gd name="T98" fmla="*/ 2147483647 w 1486"/>
              <a:gd name="T99" fmla="*/ 2147483647 h 1625"/>
              <a:gd name="T100" fmla="*/ 2147483647 w 1486"/>
              <a:gd name="T101" fmla="*/ 2147483647 h 1625"/>
              <a:gd name="T102" fmla="*/ 2147483647 w 1486"/>
              <a:gd name="T103" fmla="*/ 2147483647 h 1625"/>
              <a:gd name="T104" fmla="*/ 2147483647 w 1486"/>
              <a:gd name="T105" fmla="*/ 2147483647 h 1625"/>
              <a:gd name="T106" fmla="*/ 2147483647 w 1486"/>
              <a:gd name="T107" fmla="*/ 2147483647 h 162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486"/>
              <a:gd name="T163" fmla="*/ 0 h 1625"/>
              <a:gd name="T164" fmla="*/ 1486 w 1486"/>
              <a:gd name="T165" fmla="*/ 1625 h 1625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486" h="1625">
                <a:moveTo>
                  <a:pt x="1342" y="1625"/>
                </a:moveTo>
                <a:lnTo>
                  <a:pt x="1317" y="1605"/>
                </a:lnTo>
                <a:lnTo>
                  <a:pt x="1295" y="1590"/>
                </a:lnTo>
                <a:lnTo>
                  <a:pt x="1266" y="1573"/>
                </a:lnTo>
                <a:lnTo>
                  <a:pt x="1219" y="1547"/>
                </a:lnTo>
                <a:lnTo>
                  <a:pt x="1214" y="1535"/>
                </a:lnTo>
                <a:lnTo>
                  <a:pt x="1209" y="1525"/>
                </a:lnTo>
                <a:lnTo>
                  <a:pt x="1204" y="1517"/>
                </a:lnTo>
                <a:lnTo>
                  <a:pt x="1198" y="1512"/>
                </a:lnTo>
                <a:lnTo>
                  <a:pt x="1193" y="1508"/>
                </a:lnTo>
                <a:lnTo>
                  <a:pt x="1187" y="1505"/>
                </a:lnTo>
                <a:lnTo>
                  <a:pt x="1180" y="1505"/>
                </a:lnTo>
                <a:lnTo>
                  <a:pt x="1174" y="1505"/>
                </a:lnTo>
                <a:lnTo>
                  <a:pt x="1158" y="1508"/>
                </a:lnTo>
                <a:lnTo>
                  <a:pt x="1141" y="1513"/>
                </a:lnTo>
                <a:lnTo>
                  <a:pt x="1131" y="1514"/>
                </a:lnTo>
                <a:lnTo>
                  <a:pt x="1120" y="1516"/>
                </a:lnTo>
                <a:lnTo>
                  <a:pt x="1109" y="1517"/>
                </a:lnTo>
                <a:lnTo>
                  <a:pt x="1096" y="1517"/>
                </a:lnTo>
                <a:lnTo>
                  <a:pt x="1070" y="1483"/>
                </a:lnTo>
                <a:lnTo>
                  <a:pt x="1054" y="1462"/>
                </a:lnTo>
                <a:lnTo>
                  <a:pt x="1041" y="1441"/>
                </a:lnTo>
                <a:lnTo>
                  <a:pt x="1024" y="1413"/>
                </a:lnTo>
                <a:lnTo>
                  <a:pt x="1024" y="1378"/>
                </a:lnTo>
                <a:lnTo>
                  <a:pt x="1023" y="1344"/>
                </a:lnTo>
                <a:lnTo>
                  <a:pt x="1023" y="1310"/>
                </a:lnTo>
                <a:lnTo>
                  <a:pt x="1023" y="1276"/>
                </a:lnTo>
                <a:lnTo>
                  <a:pt x="997" y="1261"/>
                </a:lnTo>
                <a:lnTo>
                  <a:pt x="976" y="1249"/>
                </a:lnTo>
                <a:lnTo>
                  <a:pt x="966" y="1245"/>
                </a:lnTo>
                <a:lnTo>
                  <a:pt x="955" y="1241"/>
                </a:lnTo>
                <a:lnTo>
                  <a:pt x="946" y="1239"/>
                </a:lnTo>
                <a:lnTo>
                  <a:pt x="936" y="1236"/>
                </a:lnTo>
                <a:lnTo>
                  <a:pt x="916" y="1235"/>
                </a:lnTo>
                <a:lnTo>
                  <a:pt x="893" y="1235"/>
                </a:lnTo>
                <a:lnTo>
                  <a:pt x="867" y="1236"/>
                </a:lnTo>
                <a:lnTo>
                  <a:pt x="835" y="1240"/>
                </a:lnTo>
                <a:lnTo>
                  <a:pt x="828" y="1222"/>
                </a:lnTo>
                <a:lnTo>
                  <a:pt x="819" y="1205"/>
                </a:lnTo>
                <a:lnTo>
                  <a:pt x="807" y="1189"/>
                </a:lnTo>
                <a:lnTo>
                  <a:pt x="795" y="1175"/>
                </a:lnTo>
                <a:lnTo>
                  <a:pt x="781" y="1162"/>
                </a:lnTo>
                <a:lnTo>
                  <a:pt x="766" y="1151"/>
                </a:lnTo>
                <a:lnTo>
                  <a:pt x="751" y="1141"/>
                </a:lnTo>
                <a:lnTo>
                  <a:pt x="734" y="1133"/>
                </a:lnTo>
                <a:lnTo>
                  <a:pt x="717" y="1127"/>
                </a:lnTo>
                <a:lnTo>
                  <a:pt x="699" y="1121"/>
                </a:lnTo>
                <a:lnTo>
                  <a:pt x="681" y="1119"/>
                </a:lnTo>
                <a:lnTo>
                  <a:pt x="662" y="1119"/>
                </a:lnTo>
                <a:lnTo>
                  <a:pt x="643" y="1120"/>
                </a:lnTo>
                <a:lnTo>
                  <a:pt x="623" y="1124"/>
                </a:lnTo>
                <a:lnTo>
                  <a:pt x="605" y="1131"/>
                </a:lnTo>
                <a:lnTo>
                  <a:pt x="586" y="1140"/>
                </a:lnTo>
                <a:lnTo>
                  <a:pt x="571" y="1140"/>
                </a:lnTo>
                <a:lnTo>
                  <a:pt x="558" y="1137"/>
                </a:lnTo>
                <a:lnTo>
                  <a:pt x="545" y="1134"/>
                </a:lnTo>
                <a:lnTo>
                  <a:pt x="535" y="1129"/>
                </a:lnTo>
                <a:lnTo>
                  <a:pt x="525" y="1124"/>
                </a:lnTo>
                <a:lnTo>
                  <a:pt x="517" y="1119"/>
                </a:lnTo>
                <a:lnTo>
                  <a:pt x="509" y="1111"/>
                </a:lnTo>
                <a:lnTo>
                  <a:pt x="501" y="1103"/>
                </a:lnTo>
                <a:lnTo>
                  <a:pt x="496" y="1094"/>
                </a:lnTo>
                <a:lnTo>
                  <a:pt x="491" y="1084"/>
                </a:lnTo>
                <a:lnTo>
                  <a:pt x="485" y="1073"/>
                </a:lnTo>
                <a:lnTo>
                  <a:pt x="482" y="1063"/>
                </a:lnTo>
                <a:lnTo>
                  <a:pt x="475" y="1038"/>
                </a:lnTo>
                <a:lnTo>
                  <a:pt x="471" y="1012"/>
                </a:lnTo>
                <a:lnTo>
                  <a:pt x="453" y="1007"/>
                </a:lnTo>
                <a:lnTo>
                  <a:pt x="436" y="1003"/>
                </a:lnTo>
                <a:lnTo>
                  <a:pt x="427" y="1002"/>
                </a:lnTo>
                <a:lnTo>
                  <a:pt x="418" y="1000"/>
                </a:lnTo>
                <a:lnTo>
                  <a:pt x="407" y="1000"/>
                </a:lnTo>
                <a:lnTo>
                  <a:pt x="397" y="1002"/>
                </a:lnTo>
                <a:lnTo>
                  <a:pt x="384" y="1019"/>
                </a:lnTo>
                <a:lnTo>
                  <a:pt x="372" y="1038"/>
                </a:lnTo>
                <a:lnTo>
                  <a:pt x="370" y="1011"/>
                </a:lnTo>
                <a:lnTo>
                  <a:pt x="368" y="982"/>
                </a:lnTo>
                <a:lnTo>
                  <a:pt x="367" y="954"/>
                </a:lnTo>
                <a:lnTo>
                  <a:pt x="366" y="924"/>
                </a:lnTo>
                <a:lnTo>
                  <a:pt x="364" y="909"/>
                </a:lnTo>
                <a:lnTo>
                  <a:pt x="362" y="895"/>
                </a:lnTo>
                <a:lnTo>
                  <a:pt x="359" y="881"/>
                </a:lnTo>
                <a:lnTo>
                  <a:pt x="357" y="866"/>
                </a:lnTo>
                <a:lnTo>
                  <a:pt x="351" y="853"/>
                </a:lnTo>
                <a:lnTo>
                  <a:pt x="346" y="840"/>
                </a:lnTo>
                <a:lnTo>
                  <a:pt x="340" y="829"/>
                </a:lnTo>
                <a:lnTo>
                  <a:pt x="332" y="817"/>
                </a:lnTo>
                <a:lnTo>
                  <a:pt x="331" y="792"/>
                </a:lnTo>
                <a:lnTo>
                  <a:pt x="329" y="769"/>
                </a:lnTo>
                <a:lnTo>
                  <a:pt x="328" y="745"/>
                </a:lnTo>
                <a:lnTo>
                  <a:pt x="328" y="722"/>
                </a:lnTo>
                <a:lnTo>
                  <a:pt x="299" y="703"/>
                </a:lnTo>
                <a:lnTo>
                  <a:pt x="272" y="684"/>
                </a:lnTo>
                <a:lnTo>
                  <a:pt x="258" y="677"/>
                </a:lnTo>
                <a:lnTo>
                  <a:pt x="243" y="669"/>
                </a:lnTo>
                <a:lnTo>
                  <a:pt x="228" y="662"/>
                </a:lnTo>
                <a:lnTo>
                  <a:pt x="212" y="657"/>
                </a:lnTo>
                <a:lnTo>
                  <a:pt x="211" y="632"/>
                </a:lnTo>
                <a:lnTo>
                  <a:pt x="210" y="608"/>
                </a:lnTo>
                <a:lnTo>
                  <a:pt x="208" y="584"/>
                </a:lnTo>
                <a:lnTo>
                  <a:pt x="207" y="561"/>
                </a:lnTo>
                <a:lnTo>
                  <a:pt x="185" y="556"/>
                </a:lnTo>
                <a:lnTo>
                  <a:pt x="164" y="549"/>
                </a:lnTo>
                <a:lnTo>
                  <a:pt x="142" y="544"/>
                </a:lnTo>
                <a:lnTo>
                  <a:pt x="121" y="537"/>
                </a:lnTo>
                <a:lnTo>
                  <a:pt x="99" y="543"/>
                </a:lnTo>
                <a:lnTo>
                  <a:pt x="82" y="544"/>
                </a:lnTo>
                <a:lnTo>
                  <a:pt x="76" y="543"/>
                </a:lnTo>
                <a:lnTo>
                  <a:pt x="70" y="543"/>
                </a:lnTo>
                <a:lnTo>
                  <a:pt x="65" y="540"/>
                </a:lnTo>
                <a:lnTo>
                  <a:pt x="60" y="537"/>
                </a:lnTo>
                <a:lnTo>
                  <a:pt x="57" y="535"/>
                </a:lnTo>
                <a:lnTo>
                  <a:pt x="54" y="530"/>
                </a:lnTo>
                <a:lnTo>
                  <a:pt x="51" y="526"/>
                </a:lnTo>
                <a:lnTo>
                  <a:pt x="50" y="519"/>
                </a:lnTo>
                <a:lnTo>
                  <a:pt x="46" y="506"/>
                </a:lnTo>
                <a:lnTo>
                  <a:pt x="43" y="489"/>
                </a:lnTo>
                <a:lnTo>
                  <a:pt x="24" y="468"/>
                </a:lnTo>
                <a:lnTo>
                  <a:pt x="7" y="451"/>
                </a:lnTo>
                <a:lnTo>
                  <a:pt x="4" y="448"/>
                </a:lnTo>
                <a:lnTo>
                  <a:pt x="3" y="442"/>
                </a:lnTo>
                <a:lnTo>
                  <a:pt x="0" y="438"/>
                </a:lnTo>
                <a:lnTo>
                  <a:pt x="0" y="433"/>
                </a:lnTo>
                <a:lnTo>
                  <a:pt x="0" y="427"/>
                </a:lnTo>
                <a:lnTo>
                  <a:pt x="2" y="420"/>
                </a:lnTo>
                <a:lnTo>
                  <a:pt x="4" y="414"/>
                </a:lnTo>
                <a:lnTo>
                  <a:pt x="7" y="405"/>
                </a:lnTo>
                <a:lnTo>
                  <a:pt x="39" y="403"/>
                </a:lnTo>
                <a:lnTo>
                  <a:pt x="70" y="403"/>
                </a:lnTo>
                <a:lnTo>
                  <a:pt x="103" y="403"/>
                </a:lnTo>
                <a:lnTo>
                  <a:pt x="136" y="403"/>
                </a:lnTo>
                <a:lnTo>
                  <a:pt x="176" y="368"/>
                </a:lnTo>
                <a:lnTo>
                  <a:pt x="215" y="337"/>
                </a:lnTo>
                <a:lnTo>
                  <a:pt x="236" y="323"/>
                </a:lnTo>
                <a:lnTo>
                  <a:pt x="257" y="308"/>
                </a:lnTo>
                <a:lnTo>
                  <a:pt x="280" y="297"/>
                </a:lnTo>
                <a:lnTo>
                  <a:pt x="303" y="286"/>
                </a:lnTo>
                <a:lnTo>
                  <a:pt x="306" y="278"/>
                </a:lnTo>
                <a:lnTo>
                  <a:pt x="309" y="272"/>
                </a:lnTo>
                <a:lnTo>
                  <a:pt x="331" y="265"/>
                </a:lnTo>
                <a:lnTo>
                  <a:pt x="353" y="258"/>
                </a:lnTo>
                <a:lnTo>
                  <a:pt x="374" y="251"/>
                </a:lnTo>
                <a:lnTo>
                  <a:pt x="396" y="246"/>
                </a:lnTo>
                <a:lnTo>
                  <a:pt x="415" y="219"/>
                </a:lnTo>
                <a:lnTo>
                  <a:pt x="435" y="193"/>
                </a:lnTo>
                <a:lnTo>
                  <a:pt x="445" y="180"/>
                </a:lnTo>
                <a:lnTo>
                  <a:pt x="454" y="167"/>
                </a:lnTo>
                <a:lnTo>
                  <a:pt x="463" y="152"/>
                </a:lnTo>
                <a:lnTo>
                  <a:pt x="471" y="138"/>
                </a:lnTo>
                <a:lnTo>
                  <a:pt x="500" y="129"/>
                </a:lnTo>
                <a:lnTo>
                  <a:pt x="526" y="120"/>
                </a:lnTo>
                <a:lnTo>
                  <a:pt x="536" y="115"/>
                </a:lnTo>
                <a:lnTo>
                  <a:pt x="547" y="108"/>
                </a:lnTo>
                <a:lnTo>
                  <a:pt x="557" y="102"/>
                </a:lnTo>
                <a:lnTo>
                  <a:pt x="566" y="95"/>
                </a:lnTo>
                <a:lnTo>
                  <a:pt x="574" y="87"/>
                </a:lnTo>
                <a:lnTo>
                  <a:pt x="583" y="78"/>
                </a:lnTo>
                <a:lnTo>
                  <a:pt x="590" y="69"/>
                </a:lnTo>
                <a:lnTo>
                  <a:pt x="597" y="59"/>
                </a:lnTo>
                <a:lnTo>
                  <a:pt x="610" y="35"/>
                </a:lnTo>
                <a:lnTo>
                  <a:pt x="622" y="7"/>
                </a:lnTo>
                <a:lnTo>
                  <a:pt x="631" y="3"/>
                </a:lnTo>
                <a:lnTo>
                  <a:pt x="636" y="0"/>
                </a:lnTo>
                <a:lnTo>
                  <a:pt x="644" y="0"/>
                </a:lnTo>
                <a:lnTo>
                  <a:pt x="657" y="1"/>
                </a:lnTo>
                <a:lnTo>
                  <a:pt x="664" y="13"/>
                </a:lnTo>
                <a:lnTo>
                  <a:pt x="669" y="23"/>
                </a:lnTo>
                <a:lnTo>
                  <a:pt x="673" y="35"/>
                </a:lnTo>
                <a:lnTo>
                  <a:pt x="677" y="46"/>
                </a:lnTo>
                <a:lnTo>
                  <a:pt x="682" y="68"/>
                </a:lnTo>
                <a:lnTo>
                  <a:pt x="687" y="89"/>
                </a:lnTo>
                <a:lnTo>
                  <a:pt x="694" y="109"/>
                </a:lnTo>
                <a:lnTo>
                  <a:pt x="701" y="130"/>
                </a:lnTo>
                <a:lnTo>
                  <a:pt x="708" y="142"/>
                </a:lnTo>
                <a:lnTo>
                  <a:pt x="716" y="152"/>
                </a:lnTo>
                <a:lnTo>
                  <a:pt x="724" y="163"/>
                </a:lnTo>
                <a:lnTo>
                  <a:pt x="734" y="174"/>
                </a:lnTo>
                <a:lnTo>
                  <a:pt x="734" y="190"/>
                </a:lnTo>
                <a:lnTo>
                  <a:pt x="734" y="207"/>
                </a:lnTo>
                <a:lnTo>
                  <a:pt x="733" y="223"/>
                </a:lnTo>
                <a:lnTo>
                  <a:pt x="730" y="237"/>
                </a:lnTo>
                <a:lnTo>
                  <a:pt x="725" y="267"/>
                </a:lnTo>
                <a:lnTo>
                  <a:pt x="722" y="294"/>
                </a:lnTo>
                <a:lnTo>
                  <a:pt x="722" y="308"/>
                </a:lnTo>
                <a:lnTo>
                  <a:pt x="724" y="321"/>
                </a:lnTo>
                <a:lnTo>
                  <a:pt x="726" y="334"/>
                </a:lnTo>
                <a:lnTo>
                  <a:pt x="730" y="347"/>
                </a:lnTo>
                <a:lnTo>
                  <a:pt x="737" y="360"/>
                </a:lnTo>
                <a:lnTo>
                  <a:pt x="746" y="372"/>
                </a:lnTo>
                <a:lnTo>
                  <a:pt x="757" y="385"/>
                </a:lnTo>
                <a:lnTo>
                  <a:pt x="773" y="397"/>
                </a:lnTo>
                <a:lnTo>
                  <a:pt x="778" y="424"/>
                </a:lnTo>
                <a:lnTo>
                  <a:pt x="785" y="453"/>
                </a:lnTo>
                <a:lnTo>
                  <a:pt x="793" y="480"/>
                </a:lnTo>
                <a:lnTo>
                  <a:pt x="799" y="509"/>
                </a:lnTo>
                <a:lnTo>
                  <a:pt x="794" y="544"/>
                </a:lnTo>
                <a:lnTo>
                  <a:pt x="785" y="578"/>
                </a:lnTo>
                <a:lnTo>
                  <a:pt x="781" y="596"/>
                </a:lnTo>
                <a:lnTo>
                  <a:pt x="777" y="613"/>
                </a:lnTo>
                <a:lnTo>
                  <a:pt x="774" y="630"/>
                </a:lnTo>
                <a:lnTo>
                  <a:pt x="773" y="645"/>
                </a:lnTo>
                <a:lnTo>
                  <a:pt x="772" y="662"/>
                </a:lnTo>
                <a:lnTo>
                  <a:pt x="774" y="678"/>
                </a:lnTo>
                <a:lnTo>
                  <a:pt x="777" y="693"/>
                </a:lnTo>
                <a:lnTo>
                  <a:pt x="783" y="708"/>
                </a:lnTo>
                <a:lnTo>
                  <a:pt x="787" y="714"/>
                </a:lnTo>
                <a:lnTo>
                  <a:pt x="793" y="722"/>
                </a:lnTo>
                <a:lnTo>
                  <a:pt x="798" y="729"/>
                </a:lnTo>
                <a:lnTo>
                  <a:pt x="804" y="735"/>
                </a:lnTo>
                <a:lnTo>
                  <a:pt x="811" y="742"/>
                </a:lnTo>
                <a:lnTo>
                  <a:pt x="819" y="748"/>
                </a:lnTo>
                <a:lnTo>
                  <a:pt x="828" y="755"/>
                </a:lnTo>
                <a:lnTo>
                  <a:pt x="838" y="761"/>
                </a:lnTo>
                <a:lnTo>
                  <a:pt x="845" y="751"/>
                </a:lnTo>
                <a:lnTo>
                  <a:pt x="852" y="740"/>
                </a:lnTo>
                <a:lnTo>
                  <a:pt x="860" y="731"/>
                </a:lnTo>
                <a:lnTo>
                  <a:pt x="867" y="721"/>
                </a:lnTo>
                <a:lnTo>
                  <a:pt x="880" y="718"/>
                </a:lnTo>
                <a:lnTo>
                  <a:pt x="894" y="718"/>
                </a:lnTo>
                <a:lnTo>
                  <a:pt x="898" y="736"/>
                </a:lnTo>
                <a:lnTo>
                  <a:pt x="903" y="755"/>
                </a:lnTo>
                <a:lnTo>
                  <a:pt x="907" y="773"/>
                </a:lnTo>
                <a:lnTo>
                  <a:pt x="914" y="791"/>
                </a:lnTo>
                <a:lnTo>
                  <a:pt x="897" y="795"/>
                </a:lnTo>
                <a:lnTo>
                  <a:pt x="880" y="798"/>
                </a:lnTo>
                <a:lnTo>
                  <a:pt x="864" y="800"/>
                </a:lnTo>
                <a:lnTo>
                  <a:pt x="847" y="803"/>
                </a:lnTo>
                <a:lnTo>
                  <a:pt x="848" y="816"/>
                </a:lnTo>
                <a:lnTo>
                  <a:pt x="851" y="829"/>
                </a:lnTo>
                <a:lnTo>
                  <a:pt x="852" y="842"/>
                </a:lnTo>
                <a:lnTo>
                  <a:pt x="854" y="855"/>
                </a:lnTo>
                <a:lnTo>
                  <a:pt x="869" y="864"/>
                </a:lnTo>
                <a:lnTo>
                  <a:pt x="886" y="874"/>
                </a:lnTo>
                <a:lnTo>
                  <a:pt x="872" y="911"/>
                </a:lnTo>
                <a:lnTo>
                  <a:pt x="860" y="945"/>
                </a:lnTo>
                <a:lnTo>
                  <a:pt x="856" y="961"/>
                </a:lnTo>
                <a:lnTo>
                  <a:pt x="854" y="978"/>
                </a:lnTo>
                <a:lnTo>
                  <a:pt x="852" y="998"/>
                </a:lnTo>
                <a:lnTo>
                  <a:pt x="854" y="1019"/>
                </a:lnTo>
                <a:lnTo>
                  <a:pt x="865" y="1020"/>
                </a:lnTo>
                <a:lnTo>
                  <a:pt x="877" y="1023"/>
                </a:lnTo>
                <a:lnTo>
                  <a:pt x="887" y="1025"/>
                </a:lnTo>
                <a:lnTo>
                  <a:pt x="899" y="1028"/>
                </a:lnTo>
                <a:lnTo>
                  <a:pt x="904" y="1039"/>
                </a:lnTo>
                <a:lnTo>
                  <a:pt x="908" y="1051"/>
                </a:lnTo>
                <a:lnTo>
                  <a:pt x="912" y="1063"/>
                </a:lnTo>
                <a:lnTo>
                  <a:pt x="917" y="1075"/>
                </a:lnTo>
                <a:lnTo>
                  <a:pt x="924" y="1077"/>
                </a:lnTo>
                <a:lnTo>
                  <a:pt x="930" y="1079"/>
                </a:lnTo>
                <a:lnTo>
                  <a:pt x="937" y="1080"/>
                </a:lnTo>
                <a:lnTo>
                  <a:pt x="942" y="1080"/>
                </a:lnTo>
                <a:lnTo>
                  <a:pt x="954" y="1079"/>
                </a:lnTo>
                <a:lnTo>
                  <a:pt x="966" y="1075"/>
                </a:lnTo>
                <a:lnTo>
                  <a:pt x="977" y="1071"/>
                </a:lnTo>
                <a:lnTo>
                  <a:pt x="989" y="1067"/>
                </a:lnTo>
                <a:lnTo>
                  <a:pt x="1002" y="1063"/>
                </a:lnTo>
                <a:lnTo>
                  <a:pt x="1015" y="1060"/>
                </a:lnTo>
                <a:lnTo>
                  <a:pt x="1021" y="1077"/>
                </a:lnTo>
                <a:lnTo>
                  <a:pt x="1029" y="1092"/>
                </a:lnTo>
                <a:lnTo>
                  <a:pt x="1038" y="1106"/>
                </a:lnTo>
                <a:lnTo>
                  <a:pt x="1050" y="1118"/>
                </a:lnTo>
                <a:lnTo>
                  <a:pt x="1057" y="1123"/>
                </a:lnTo>
                <a:lnTo>
                  <a:pt x="1063" y="1128"/>
                </a:lnTo>
                <a:lnTo>
                  <a:pt x="1071" y="1132"/>
                </a:lnTo>
                <a:lnTo>
                  <a:pt x="1079" y="1136"/>
                </a:lnTo>
                <a:lnTo>
                  <a:pt x="1087" y="1138"/>
                </a:lnTo>
                <a:lnTo>
                  <a:pt x="1096" y="1140"/>
                </a:lnTo>
                <a:lnTo>
                  <a:pt x="1103" y="1141"/>
                </a:lnTo>
                <a:lnTo>
                  <a:pt x="1113" y="1141"/>
                </a:lnTo>
                <a:lnTo>
                  <a:pt x="1122" y="1132"/>
                </a:lnTo>
                <a:lnTo>
                  <a:pt x="1129" y="1121"/>
                </a:lnTo>
                <a:lnTo>
                  <a:pt x="1136" y="1110"/>
                </a:lnTo>
                <a:lnTo>
                  <a:pt x="1141" y="1098"/>
                </a:lnTo>
                <a:lnTo>
                  <a:pt x="1152" y="1075"/>
                </a:lnTo>
                <a:lnTo>
                  <a:pt x="1161" y="1050"/>
                </a:lnTo>
                <a:lnTo>
                  <a:pt x="1179" y="1051"/>
                </a:lnTo>
                <a:lnTo>
                  <a:pt x="1196" y="1053"/>
                </a:lnTo>
                <a:lnTo>
                  <a:pt x="1214" y="1054"/>
                </a:lnTo>
                <a:lnTo>
                  <a:pt x="1232" y="1056"/>
                </a:lnTo>
                <a:lnTo>
                  <a:pt x="1235" y="1054"/>
                </a:lnTo>
                <a:lnTo>
                  <a:pt x="1237" y="1050"/>
                </a:lnTo>
                <a:lnTo>
                  <a:pt x="1240" y="1047"/>
                </a:lnTo>
                <a:lnTo>
                  <a:pt x="1244" y="1046"/>
                </a:lnTo>
                <a:lnTo>
                  <a:pt x="1252" y="1042"/>
                </a:lnTo>
                <a:lnTo>
                  <a:pt x="1262" y="1041"/>
                </a:lnTo>
                <a:lnTo>
                  <a:pt x="1274" y="1041"/>
                </a:lnTo>
                <a:lnTo>
                  <a:pt x="1286" y="1042"/>
                </a:lnTo>
                <a:lnTo>
                  <a:pt x="1299" y="1043"/>
                </a:lnTo>
                <a:lnTo>
                  <a:pt x="1312" y="1047"/>
                </a:lnTo>
                <a:lnTo>
                  <a:pt x="1338" y="1054"/>
                </a:lnTo>
                <a:lnTo>
                  <a:pt x="1364" y="1063"/>
                </a:lnTo>
                <a:lnTo>
                  <a:pt x="1384" y="1071"/>
                </a:lnTo>
                <a:lnTo>
                  <a:pt x="1400" y="1079"/>
                </a:lnTo>
                <a:lnTo>
                  <a:pt x="1405" y="1092"/>
                </a:lnTo>
                <a:lnTo>
                  <a:pt x="1408" y="1101"/>
                </a:lnTo>
                <a:lnTo>
                  <a:pt x="1408" y="1112"/>
                </a:lnTo>
                <a:lnTo>
                  <a:pt x="1408" y="1132"/>
                </a:lnTo>
                <a:lnTo>
                  <a:pt x="1392" y="1138"/>
                </a:lnTo>
                <a:lnTo>
                  <a:pt x="1377" y="1144"/>
                </a:lnTo>
                <a:lnTo>
                  <a:pt x="1362" y="1150"/>
                </a:lnTo>
                <a:lnTo>
                  <a:pt x="1348" y="1157"/>
                </a:lnTo>
                <a:lnTo>
                  <a:pt x="1351" y="1184"/>
                </a:lnTo>
                <a:lnTo>
                  <a:pt x="1353" y="1211"/>
                </a:lnTo>
                <a:lnTo>
                  <a:pt x="1356" y="1240"/>
                </a:lnTo>
                <a:lnTo>
                  <a:pt x="1360" y="1267"/>
                </a:lnTo>
                <a:lnTo>
                  <a:pt x="1369" y="1271"/>
                </a:lnTo>
                <a:lnTo>
                  <a:pt x="1381" y="1276"/>
                </a:lnTo>
                <a:lnTo>
                  <a:pt x="1382" y="1285"/>
                </a:lnTo>
                <a:lnTo>
                  <a:pt x="1381" y="1294"/>
                </a:lnTo>
                <a:lnTo>
                  <a:pt x="1378" y="1306"/>
                </a:lnTo>
                <a:lnTo>
                  <a:pt x="1370" y="1326"/>
                </a:lnTo>
                <a:lnTo>
                  <a:pt x="1386" y="1341"/>
                </a:lnTo>
                <a:lnTo>
                  <a:pt x="1403" y="1361"/>
                </a:lnTo>
                <a:lnTo>
                  <a:pt x="1421" y="1380"/>
                </a:lnTo>
                <a:lnTo>
                  <a:pt x="1438" y="1402"/>
                </a:lnTo>
                <a:lnTo>
                  <a:pt x="1455" y="1426"/>
                </a:lnTo>
                <a:lnTo>
                  <a:pt x="1469" y="1448"/>
                </a:lnTo>
                <a:lnTo>
                  <a:pt x="1474" y="1460"/>
                </a:lnTo>
                <a:lnTo>
                  <a:pt x="1479" y="1470"/>
                </a:lnTo>
                <a:lnTo>
                  <a:pt x="1483" y="1481"/>
                </a:lnTo>
                <a:lnTo>
                  <a:pt x="1486" y="1490"/>
                </a:lnTo>
                <a:lnTo>
                  <a:pt x="1469" y="1518"/>
                </a:lnTo>
                <a:lnTo>
                  <a:pt x="1452" y="1547"/>
                </a:lnTo>
                <a:lnTo>
                  <a:pt x="1435" y="1577"/>
                </a:lnTo>
                <a:lnTo>
                  <a:pt x="1418" y="1605"/>
                </a:lnTo>
                <a:lnTo>
                  <a:pt x="1399" y="1609"/>
                </a:lnTo>
                <a:lnTo>
                  <a:pt x="1379" y="1614"/>
                </a:lnTo>
                <a:lnTo>
                  <a:pt x="1361" y="1618"/>
                </a:lnTo>
                <a:lnTo>
                  <a:pt x="1342" y="1625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55" name="Freeform 20"/>
          <p:cNvSpPr>
            <a:spLocks/>
          </p:cNvSpPr>
          <p:nvPr/>
        </p:nvSpPr>
        <p:spPr bwMode="auto">
          <a:xfrm>
            <a:off x="1330325" y="3711575"/>
            <a:ext cx="200025" cy="392113"/>
          </a:xfrm>
          <a:custGeom>
            <a:avLst/>
            <a:gdLst>
              <a:gd name="T0" fmla="*/ 2147483647 w 504"/>
              <a:gd name="T1" fmla="*/ 2147483647 h 984"/>
              <a:gd name="T2" fmla="*/ 2147483647 w 504"/>
              <a:gd name="T3" fmla="*/ 2147483647 h 984"/>
              <a:gd name="T4" fmla="*/ 2147483647 w 504"/>
              <a:gd name="T5" fmla="*/ 2147483647 h 984"/>
              <a:gd name="T6" fmla="*/ 2147483647 w 504"/>
              <a:gd name="T7" fmla="*/ 2147483647 h 984"/>
              <a:gd name="T8" fmla="*/ 2147483647 w 504"/>
              <a:gd name="T9" fmla="*/ 2147483647 h 984"/>
              <a:gd name="T10" fmla="*/ 2147483647 w 504"/>
              <a:gd name="T11" fmla="*/ 2147483647 h 984"/>
              <a:gd name="T12" fmla="*/ 2147483647 w 504"/>
              <a:gd name="T13" fmla="*/ 2147483647 h 984"/>
              <a:gd name="T14" fmla="*/ 2147483647 w 504"/>
              <a:gd name="T15" fmla="*/ 2147483647 h 984"/>
              <a:gd name="T16" fmla="*/ 2147483647 w 504"/>
              <a:gd name="T17" fmla="*/ 2147483647 h 984"/>
              <a:gd name="T18" fmla="*/ 2147483647 w 504"/>
              <a:gd name="T19" fmla="*/ 2147483647 h 984"/>
              <a:gd name="T20" fmla="*/ 2147483647 w 504"/>
              <a:gd name="T21" fmla="*/ 2147483647 h 984"/>
              <a:gd name="T22" fmla="*/ 2147483647 w 504"/>
              <a:gd name="T23" fmla="*/ 2147483647 h 984"/>
              <a:gd name="T24" fmla="*/ 2147483647 w 504"/>
              <a:gd name="T25" fmla="*/ 2147483647 h 984"/>
              <a:gd name="T26" fmla="*/ 2147483647 w 504"/>
              <a:gd name="T27" fmla="*/ 2147483647 h 984"/>
              <a:gd name="T28" fmla="*/ 2147483647 w 504"/>
              <a:gd name="T29" fmla="*/ 2147483647 h 984"/>
              <a:gd name="T30" fmla="*/ 2147483647 w 504"/>
              <a:gd name="T31" fmla="*/ 2147483647 h 984"/>
              <a:gd name="T32" fmla="*/ 2147483647 w 504"/>
              <a:gd name="T33" fmla="*/ 2147483647 h 984"/>
              <a:gd name="T34" fmla="*/ 2147483647 w 504"/>
              <a:gd name="T35" fmla="*/ 2147483647 h 984"/>
              <a:gd name="T36" fmla="*/ 2147483647 w 504"/>
              <a:gd name="T37" fmla="*/ 2147483647 h 984"/>
              <a:gd name="T38" fmla="*/ 2147483647 w 504"/>
              <a:gd name="T39" fmla="*/ 2147483647 h 984"/>
              <a:gd name="T40" fmla="*/ 2147483647 w 504"/>
              <a:gd name="T41" fmla="*/ 2147483647 h 984"/>
              <a:gd name="T42" fmla="*/ 2147483647 w 504"/>
              <a:gd name="T43" fmla="*/ 2147483647 h 984"/>
              <a:gd name="T44" fmla="*/ 2147483647 w 504"/>
              <a:gd name="T45" fmla="*/ 2147483647 h 984"/>
              <a:gd name="T46" fmla="*/ 2147483647 w 504"/>
              <a:gd name="T47" fmla="*/ 2147483647 h 984"/>
              <a:gd name="T48" fmla="*/ 2147483647 w 504"/>
              <a:gd name="T49" fmla="*/ 2147483647 h 984"/>
              <a:gd name="T50" fmla="*/ 2147483647 w 504"/>
              <a:gd name="T51" fmla="*/ 2147483647 h 984"/>
              <a:gd name="T52" fmla="*/ 2147483647 w 504"/>
              <a:gd name="T53" fmla="*/ 2147483647 h 984"/>
              <a:gd name="T54" fmla="*/ 2147483647 w 504"/>
              <a:gd name="T55" fmla="*/ 2147483647 h 984"/>
              <a:gd name="T56" fmla="*/ 2147483647 w 504"/>
              <a:gd name="T57" fmla="*/ 2147483647 h 984"/>
              <a:gd name="T58" fmla="*/ 2147483647 w 504"/>
              <a:gd name="T59" fmla="*/ 2147483647 h 984"/>
              <a:gd name="T60" fmla="*/ 2147483647 w 504"/>
              <a:gd name="T61" fmla="*/ 0 h 984"/>
              <a:gd name="T62" fmla="*/ 2147483647 w 504"/>
              <a:gd name="T63" fmla="*/ 2147483647 h 984"/>
              <a:gd name="T64" fmla="*/ 2147483647 w 504"/>
              <a:gd name="T65" fmla="*/ 2147483647 h 984"/>
              <a:gd name="T66" fmla="*/ 2147483647 w 504"/>
              <a:gd name="T67" fmla="*/ 2147483647 h 984"/>
              <a:gd name="T68" fmla="*/ 2147483647 w 504"/>
              <a:gd name="T69" fmla="*/ 2147483647 h 984"/>
              <a:gd name="T70" fmla="*/ 2147483647 w 504"/>
              <a:gd name="T71" fmla="*/ 2147483647 h 984"/>
              <a:gd name="T72" fmla="*/ 2147483647 w 504"/>
              <a:gd name="T73" fmla="*/ 2147483647 h 984"/>
              <a:gd name="T74" fmla="*/ 2147483647 w 504"/>
              <a:gd name="T75" fmla="*/ 2147483647 h 984"/>
              <a:gd name="T76" fmla="*/ 2147483647 w 504"/>
              <a:gd name="T77" fmla="*/ 2147483647 h 984"/>
              <a:gd name="T78" fmla="*/ 2147483647 w 504"/>
              <a:gd name="T79" fmla="*/ 2147483647 h 984"/>
              <a:gd name="T80" fmla="*/ 2147483647 w 504"/>
              <a:gd name="T81" fmla="*/ 2147483647 h 984"/>
              <a:gd name="T82" fmla="*/ 2147483647 w 504"/>
              <a:gd name="T83" fmla="*/ 2147483647 h 984"/>
              <a:gd name="T84" fmla="*/ 2147483647 w 504"/>
              <a:gd name="T85" fmla="*/ 2147483647 h 984"/>
              <a:gd name="T86" fmla="*/ 2147483647 w 504"/>
              <a:gd name="T87" fmla="*/ 2147483647 h 984"/>
              <a:gd name="T88" fmla="*/ 2147483647 w 504"/>
              <a:gd name="T89" fmla="*/ 2147483647 h 984"/>
              <a:gd name="T90" fmla="*/ 2147483647 w 504"/>
              <a:gd name="T91" fmla="*/ 2147483647 h 984"/>
              <a:gd name="T92" fmla="*/ 2147483647 w 504"/>
              <a:gd name="T93" fmla="*/ 2147483647 h 984"/>
              <a:gd name="T94" fmla="*/ 2147483647 w 504"/>
              <a:gd name="T95" fmla="*/ 2147483647 h 984"/>
              <a:gd name="T96" fmla="*/ 2147483647 w 504"/>
              <a:gd name="T97" fmla="*/ 2147483647 h 984"/>
              <a:gd name="T98" fmla="*/ 2147483647 w 504"/>
              <a:gd name="T99" fmla="*/ 2147483647 h 984"/>
              <a:gd name="T100" fmla="*/ 2147483647 w 504"/>
              <a:gd name="T101" fmla="*/ 2147483647 h 984"/>
              <a:gd name="T102" fmla="*/ 2147483647 w 504"/>
              <a:gd name="T103" fmla="*/ 2147483647 h 984"/>
              <a:gd name="T104" fmla="*/ 2147483647 w 504"/>
              <a:gd name="T105" fmla="*/ 2147483647 h 984"/>
              <a:gd name="T106" fmla="*/ 2147483647 w 504"/>
              <a:gd name="T107" fmla="*/ 2147483647 h 984"/>
              <a:gd name="T108" fmla="*/ 2147483647 w 504"/>
              <a:gd name="T109" fmla="*/ 2147483647 h 984"/>
              <a:gd name="T110" fmla="*/ 2147483647 w 504"/>
              <a:gd name="T111" fmla="*/ 2147483647 h 984"/>
              <a:gd name="T112" fmla="*/ 2147483647 w 504"/>
              <a:gd name="T113" fmla="*/ 2147483647 h 984"/>
              <a:gd name="T114" fmla="*/ 2147483647 w 504"/>
              <a:gd name="T115" fmla="*/ 2147483647 h 98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504"/>
              <a:gd name="T175" fmla="*/ 0 h 984"/>
              <a:gd name="T176" fmla="*/ 504 w 504"/>
              <a:gd name="T177" fmla="*/ 984 h 984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504" h="984">
                <a:moveTo>
                  <a:pt x="248" y="984"/>
                </a:moveTo>
                <a:lnTo>
                  <a:pt x="240" y="975"/>
                </a:lnTo>
                <a:lnTo>
                  <a:pt x="232" y="967"/>
                </a:lnTo>
                <a:lnTo>
                  <a:pt x="225" y="958"/>
                </a:lnTo>
                <a:lnTo>
                  <a:pt x="217" y="952"/>
                </a:lnTo>
                <a:lnTo>
                  <a:pt x="199" y="937"/>
                </a:lnTo>
                <a:lnTo>
                  <a:pt x="179" y="926"/>
                </a:lnTo>
                <a:lnTo>
                  <a:pt x="158" y="915"/>
                </a:lnTo>
                <a:lnTo>
                  <a:pt x="137" y="908"/>
                </a:lnTo>
                <a:lnTo>
                  <a:pt x="115" y="901"/>
                </a:lnTo>
                <a:lnTo>
                  <a:pt x="93" y="896"/>
                </a:lnTo>
                <a:lnTo>
                  <a:pt x="89" y="887"/>
                </a:lnTo>
                <a:lnTo>
                  <a:pt x="85" y="879"/>
                </a:lnTo>
                <a:lnTo>
                  <a:pt x="80" y="871"/>
                </a:lnTo>
                <a:lnTo>
                  <a:pt x="75" y="865"/>
                </a:lnTo>
                <a:lnTo>
                  <a:pt x="63" y="852"/>
                </a:lnTo>
                <a:lnTo>
                  <a:pt x="50" y="841"/>
                </a:lnTo>
                <a:lnTo>
                  <a:pt x="36" y="831"/>
                </a:lnTo>
                <a:lnTo>
                  <a:pt x="23" y="819"/>
                </a:lnTo>
                <a:lnTo>
                  <a:pt x="16" y="813"/>
                </a:lnTo>
                <a:lnTo>
                  <a:pt x="10" y="806"/>
                </a:lnTo>
                <a:lnTo>
                  <a:pt x="5" y="798"/>
                </a:lnTo>
                <a:lnTo>
                  <a:pt x="0" y="790"/>
                </a:lnTo>
                <a:lnTo>
                  <a:pt x="23" y="780"/>
                </a:lnTo>
                <a:lnTo>
                  <a:pt x="45" y="771"/>
                </a:lnTo>
                <a:lnTo>
                  <a:pt x="70" y="763"/>
                </a:lnTo>
                <a:lnTo>
                  <a:pt x="93" y="754"/>
                </a:lnTo>
                <a:lnTo>
                  <a:pt x="93" y="736"/>
                </a:lnTo>
                <a:lnTo>
                  <a:pt x="92" y="719"/>
                </a:lnTo>
                <a:lnTo>
                  <a:pt x="91" y="701"/>
                </a:lnTo>
                <a:lnTo>
                  <a:pt x="88" y="684"/>
                </a:lnTo>
                <a:lnTo>
                  <a:pt x="81" y="649"/>
                </a:lnTo>
                <a:lnTo>
                  <a:pt x="72" y="611"/>
                </a:lnTo>
                <a:lnTo>
                  <a:pt x="89" y="612"/>
                </a:lnTo>
                <a:lnTo>
                  <a:pt x="117" y="614"/>
                </a:lnTo>
                <a:lnTo>
                  <a:pt x="148" y="615"/>
                </a:lnTo>
                <a:lnTo>
                  <a:pt x="180" y="612"/>
                </a:lnTo>
                <a:lnTo>
                  <a:pt x="195" y="610"/>
                </a:lnTo>
                <a:lnTo>
                  <a:pt x="209" y="607"/>
                </a:lnTo>
                <a:lnTo>
                  <a:pt x="214" y="604"/>
                </a:lnTo>
                <a:lnTo>
                  <a:pt x="219" y="602"/>
                </a:lnTo>
                <a:lnTo>
                  <a:pt x="225" y="599"/>
                </a:lnTo>
                <a:lnTo>
                  <a:pt x="228" y="595"/>
                </a:lnTo>
                <a:lnTo>
                  <a:pt x="231" y="591"/>
                </a:lnTo>
                <a:lnTo>
                  <a:pt x="234" y="588"/>
                </a:lnTo>
                <a:lnTo>
                  <a:pt x="235" y="582"/>
                </a:lnTo>
                <a:lnTo>
                  <a:pt x="235" y="577"/>
                </a:lnTo>
                <a:lnTo>
                  <a:pt x="234" y="571"/>
                </a:lnTo>
                <a:lnTo>
                  <a:pt x="232" y="564"/>
                </a:lnTo>
                <a:lnTo>
                  <a:pt x="228" y="558"/>
                </a:lnTo>
                <a:lnTo>
                  <a:pt x="225" y="550"/>
                </a:lnTo>
                <a:lnTo>
                  <a:pt x="227" y="511"/>
                </a:lnTo>
                <a:lnTo>
                  <a:pt x="230" y="473"/>
                </a:lnTo>
                <a:lnTo>
                  <a:pt x="232" y="434"/>
                </a:lnTo>
                <a:lnTo>
                  <a:pt x="236" y="396"/>
                </a:lnTo>
                <a:lnTo>
                  <a:pt x="260" y="391"/>
                </a:lnTo>
                <a:lnTo>
                  <a:pt x="281" y="386"/>
                </a:lnTo>
                <a:lnTo>
                  <a:pt x="290" y="382"/>
                </a:lnTo>
                <a:lnTo>
                  <a:pt x="299" y="377"/>
                </a:lnTo>
                <a:lnTo>
                  <a:pt x="309" y="370"/>
                </a:lnTo>
                <a:lnTo>
                  <a:pt x="318" y="364"/>
                </a:lnTo>
                <a:lnTo>
                  <a:pt x="316" y="352"/>
                </a:lnTo>
                <a:lnTo>
                  <a:pt x="313" y="343"/>
                </a:lnTo>
                <a:lnTo>
                  <a:pt x="275" y="330"/>
                </a:lnTo>
                <a:lnTo>
                  <a:pt x="248" y="318"/>
                </a:lnTo>
                <a:lnTo>
                  <a:pt x="238" y="313"/>
                </a:lnTo>
                <a:lnTo>
                  <a:pt x="230" y="308"/>
                </a:lnTo>
                <a:lnTo>
                  <a:pt x="222" y="301"/>
                </a:lnTo>
                <a:lnTo>
                  <a:pt x="217" y="295"/>
                </a:lnTo>
                <a:lnTo>
                  <a:pt x="213" y="287"/>
                </a:lnTo>
                <a:lnTo>
                  <a:pt x="209" y="278"/>
                </a:lnTo>
                <a:lnTo>
                  <a:pt x="206" y="268"/>
                </a:lnTo>
                <a:lnTo>
                  <a:pt x="205" y="256"/>
                </a:lnTo>
                <a:lnTo>
                  <a:pt x="202" y="226"/>
                </a:lnTo>
                <a:lnTo>
                  <a:pt x="201" y="188"/>
                </a:lnTo>
                <a:lnTo>
                  <a:pt x="215" y="176"/>
                </a:lnTo>
                <a:lnTo>
                  <a:pt x="230" y="166"/>
                </a:lnTo>
                <a:lnTo>
                  <a:pt x="230" y="154"/>
                </a:lnTo>
                <a:lnTo>
                  <a:pt x="230" y="144"/>
                </a:lnTo>
                <a:lnTo>
                  <a:pt x="222" y="139"/>
                </a:lnTo>
                <a:lnTo>
                  <a:pt x="214" y="132"/>
                </a:lnTo>
                <a:lnTo>
                  <a:pt x="209" y="126"/>
                </a:lnTo>
                <a:lnTo>
                  <a:pt x="204" y="119"/>
                </a:lnTo>
                <a:lnTo>
                  <a:pt x="200" y="111"/>
                </a:lnTo>
                <a:lnTo>
                  <a:pt x="196" y="104"/>
                </a:lnTo>
                <a:lnTo>
                  <a:pt x="193" y="96"/>
                </a:lnTo>
                <a:lnTo>
                  <a:pt x="192" y="88"/>
                </a:lnTo>
                <a:lnTo>
                  <a:pt x="187" y="52"/>
                </a:lnTo>
                <a:lnTo>
                  <a:pt x="182" y="14"/>
                </a:lnTo>
                <a:lnTo>
                  <a:pt x="191" y="7"/>
                </a:lnTo>
                <a:lnTo>
                  <a:pt x="196" y="3"/>
                </a:lnTo>
                <a:lnTo>
                  <a:pt x="204" y="1"/>
                </a:lnTo>
                <a:lnTo>
                  <a:pt x="217" y="0"/>
                </a:lnTo>
                <a:lnTo>
                  <a:pt x="228" y="6"/>
                </a:lnTo>
                <a:lnTo>
                  <a:pt x="241" y="10"/>
                </a:lnTo>
                <a:lnTo>
                  <a:pt x="255" y="14"/>
                </a:lnTo>
                <a:lnTo>
                  <a:pt x="269" y="18"/>
                </a:lnTo>
                <a:lnTo>
                  <a:pt x="299" y="22"/>
                </a:lnTo>
                <a:lnTo>
                  <a:pt x="329" y="24"/>
                </a:lnTo>
                <a:lnTo>
                  <a:pt x="360" y="26"/>
                </a:lnTo>
                <a:lnTo>
                  <a:pt x="391" y="26"/>
                </a:lnTo>
                <a:lnTo>
                  <a:pt x="420" y="24"/>
                </a:lnTo>
                <a:lnTo>
                  <a:pt x="447" y="23"/>
                </a:lnTo>
                <a:lnTo>
                  <a:pt x="448" y="46"/>
                </a:lnTo>
                <a:lnTo>
                  <a:pt x="451" y="71"/>
                </a:lnTo>
                <a:lnTo>
                  <a:pt x="452" y="95"/>
                </a:lnTo>
                <a:lnTo>
                  <a:pt x="454" y="119"/>
                </a:lnTo>
                <a:lnTo>
                  <a:pt x="442" y="124"/>
                </a:lnTo>
                <a:lnTo>
                  <a:pt x="430" y="131"/>
                </a:lnTo>
                <a:lnTo>
                  <a:pt x="418" y="137"/>
                </a:lnTo>
                <a:lnTo>
                  <a:pt x="407" y="144"/>
                </a:lnTo>
                <a:lnTo>
                  <a:pt x="408" y="157"/>
                </a:lnTo>
                <a:lnTo>
                  <a:pt x="409" y="167"/>
                </a:lnTo>
                <a:lnTo>
                  <a:pt x="411" y="179"/>
                </a:lnTo>
                <a:lnTo>
                  <a:pt x="415" y="188"/>
                </a:lnTo>
                <a:lnTo>
                  <a:pt x="420" y="208"/>
                </a:lnTo>
                <a:lnTo>
                  <a:pt x="425" y="225"/>
                </a:lnTo>
                <a:lnTo>
                  <a:pt x="426" y="234"/>
                </a:lnTo>
                <a:lnTo>
                  <a:pt x="426" y="243"/>
                </a:lnTo>
                <a:lnTo>
                  <a:pt x="426" y="251"/>
                </a:lnTo>
                <a:lnTo>
                  <a:pt x="424" y="260"/>
                </a:lnTo>
                <a:lnTo>
                  <a:pt x="421" y="269"/>
                </a:lnTo>
                <a:lnTo>
                  <a:pt x="415" y="279"/>
                </a:lnTo>
                <a:lnTo>
                  <a:pt x="407" y="290"/>
                </a:lnTo>
                <a:lnTo>
                  <a:pt x="398" y="300"/>
                </a:lnTo>
                <a:lnTo>
                  <a:pt x="394" y="322"/>
                </a:lnTo>
                <a:lnTo>
                  <a:pt x="389" y="343"/>
                </a:lnTo>
                <a:lnTo>
                  <a:pt x="385" y="366"/>
                </a:lnTo>
                <a:lnTo>
                  <a:pt x="382" y="389"/>
                </a:lnTo>
                <a:lnTo>
                  <a:pt x="392" y="392"/>
                </a:lnTo>
                <a:lnTo>
                  <a:pt x="400" y="398"/>
                </a:lnTo>
                <a:lnTo>
                  <a:pt x="409" y="403"/>
                </a:lnTo>
                <a:lnTo>
                  <a:pt x="416" y="408"/>
                </a:lnTo>
                <a:lnTo>
                  <a:pt x="429" y="421"/>
                </a:lnTo>
                <a:lnTo>
                  <a:pt x="441" y="435"/>
                </a:lnTo>
                <a:lnTo>
                  <a:pt x="451" y="450"/>
                </a:lnTo>
                <a:lnTo>
                  <a:pt x="463" y="463"/>
                </a:lnTo>
                <a:lnTo>
                  <a:pt x="469" y="469"/>
                </a:lnTo>
                <a:lnTo>
                  <a:pt x="476" y="474"/>
                </a:lnTo>
                <a:lnTo>
                  <a:pt x="483" y="480"/>
                </a:lnTo>
                <a:lnTo>
                  <a:pt x="491" y="485"/>
                </a:lnTo>
                <a:lnTo>
                  <a:pt x="493" y="515"/>
                </a:lnTo>
                <a:lnTo>
                  <a:pt x="495" y="547"/>
                </a:lnTo>
                <a:lnTo>
                  <a:pt x="499" y="580"/>
                </a:lnTo>
                <a:lnTo>
                  <a:pt x="503" y="612"/>
                </a:lnTo>
                <a:lnTo>
                  <a:pt x="504" y="645"/>
                </a:lnTo>
                <a:lnTo>
                  <a:pt x="504" y="676"/>
                </a:lnTo>
                <a:lnTo>
                  <a:pt x="503" y="692"/>
                </a:lnTo>
                <a:lnTo>
                  <a:pt x="502" y="706"/>
                </a:lnTo>
                <a:lnTo>
                  <a:pt x="498" y="720"/>
                </a:lnTo>
                <a:lnTo>
                  <a:pt x="494" y="735"/>
                </a:lnTo>
                <a:lnTo>
                  <a:pt x="493" y="750"/>
                </a:lnTo>
                <a:lnTo>
                  <a:pt x="491" y="767"/>
                </a:lnTo>
                <a:lnTo>
                  <a:pt x="491" y="783"/>
                </a:lnTo>
                <a:lnTo>
                  <a:pt x="491" y="800"/>
                </a:lnTo>
                <a:lnTo>
                  <a:pt x="472" y="801"/>
                </a:lnTo>
                <a:lnTo>
                  <a:pt x="451" y="801"/>
                </a:lnTo>
                <a:lnTo>
                  <a:pt x="431" y="802"/>
                </a:lnTo>
                <a:lnTo>
                  <a:pt x="411" y="803"/>
                </a:lnTo>
                <a:lnTo>
                  <a:pt x="408" y="861"/>
                </a:lnTo>
                <a:lnTo>
                  <a:pt x="404" y="900"/>
                </a:lnTo>
                <a:lnTo>
                  <a:pt x="402" y="908"/>
                </a:lnTo>
                <a:lnTo>
                  <a:pt x="398" y="914"/>
                </a:lnTo>
                <a:lnTo>
                  <a:pt x="391" y="919"/>
                </a:lnTo>
                <a:lnTo>
                  <a:pt x="385" y="924"/>
                </a:lnTo>
                <a:lnTo>
                  <a:pt x="374" y="928"/>
                </a:lnTo>
                <a:lnTo>
                  <a:pt x="362" y="932"/>
                </a:lnTo>
                <a:lnTo>
                  <a:pt x="349" y="935"/>
                </a:lnTo>
                <a:lnTo>
                  <a:pt x="333" y="936"/>
                </a:lnTo>
                <a:lnTo>
                  <a:pt x="294" y="962"/>
                </a:lnTo>
                <a:lnTo>
                  <a:pt x="273" y="975"/>
                </a:lnTo>
                <a:lnTo>
                  <a:pt x="265" y="979"/>
                </a:lnTo>
                <a:lnTo>
                  <a:pt x="260" y="982"/>
                </a:lnTo>
                <a:lnTo>
                  <a:pt x="255" y="983"/>
                </a:lnTo>
                <a:lnTo>
                  <a:pt x="248" y="984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56" name="Freeform 21"/>
          <p:cNvSpPr>
            <a:spLocks/>
          </p:cNvSpPr>
          <p:nvPr/>
        </p:nvSpPr>
        <p:spPr bwMode="auto">
          <a:xfrm>
            <a:off x="7380288" y="4016375"/>
            <a:ext cx="38100" cy="49213"/>
          </a:xfrm>
          <a:custGeom>
            <a:avLst/>
            <a:gdLst>
              <a:gd name="T0" fmla="*/ 2147483647 w 92"/>
              <a:gd name="T1" fmla="*/ 2147483647 h 121"/>
              <a:gd name="T2" fmla="*/ 2147483647 w 92"/>
              <a:gd name="T3" fmla="*/ 2147483647 h 121"/>
              <a:gd name="T4" fmla="*/ 2147483647 w 92"/>
              <a:gd name="T5" fmla="*/ 2147483647 h 121"/>
              <a:gd name="T6" fmla="*/ 2147483647 w 92"/>
              <a:gd name="T7" fmla="*/ 2147483647 h 121"/>
              <a:gd name="T8" fmla="*/ 2147483647 w 92"/>
              <a:gd name="T9" fmla="*/ 2147483647 h 121"/>
              <a:gd name="T10" fmla="*/ 2147483647 w 92"/>
              <a:gd name="T11" fmla="*/ 2147483647 h 121"/>
              <a:gd name="T12" fmla="*/ 0 w 92"/>
              <a:gd name="T13" fmla="*/ 2147483647 h 121"/>
              <a:gd name="T14" fmla="*/ 2147483647 w 92"/>
              <a:gd name="T15" fmla="*/ 2147483647 h 121"/>
              <a:gd name="T16" fmla="*/ 2147483647 w 92"/>
              <a:gd name="T17" fmla="*/ 2147483647 h 121"/>
              <a:gd name="T18" fmla="*/ 2147483647 w 92"/>
              <a:gd name="T19" fmla="*/ 2147483647 h 121"/>
              <a:gd name="T20" fmla="*/ 2147483647 w 92"/>
              <a:gd name="T21" fmla="*/ 2147483647 h 121"/>
              <a:gd name="T22" fmla="*/ 2147483647 w 92"/>
              <a:gd name="T23" fmla="*/ 2147483647 h 121"/>
              <a:gd name="T24" fmla="*/ 2147483647 w 92"/>
              <a:gd name="T25" fmla="*/ 2147483647 h 121"/>
              <a:gd name="T26" fmla="*/ 2147483647 w 92"/>
              <a:gd name="T27" fmla="*/ 2147483647 h 121"/>
              <a:gd name="T28" fmla="*/ 2147483647 w 92"/>
              <a:gd name="T29" fmla="*/ 0 h 121"/>
              <a:gd name="T30" fmla="*/ 2147483647 w 92"/>
              <a:gd name="T31" fmla="*/ 2147483647 h 121"/>
              <a:gd name="T32" fmla="*/ 2147483647 w 92"/>
              <a:gd name="T33" fmla="*/ 2147483647 h 121"/>
              <a:gd name="T34" fmla="*/ 2147483647 w 92"/>
              <a:gd name="T35" fmla="*/ 2147483647 h 121"/>
              <a:gd name="T36" fmla="*/ 2147483647 w 92"/>
              <a:gd name="T37" fmla="*/ 2147483647 h 121"/>
              <a:gd name="T38" fmla="*/ 2147483647 w 92"/>
              <a:gd name="T39" fmla="*/ 2147483647 h 121"/>
              <a:gd name="T40" fmla="*/ 2147483647 w 92"/>
              <a:gd name="T41" fmla="*/ 2147483647 h 121"/>
              <a:gd name="T42" fmla="*/ 2147483647 w 92"/>
              <a:gd name="T43" fmla="*/ 2147483647 h 121"/>
              <a:gd name="T44" fmla="*/ 2147483647 w 92"/>
              <a:gd name="T45" fmla="*/ 2147483647 h 121"/>
              <a:gd name="T46" fmla="*/ 2147483647 w 92"/>
              <a:gd name="T47" fmla="*/ 2147483647 h 121"/>
              <a:gd name="T48" fmla="*/ 2147483647 w 92"/>
              <a:gd name="T49" fmla="*/ 2147483647 h 121"/>
              <a:gd name="T50" fmla="*/ 2147483647 w 92"/>
              <a:gd name="T51" fmla="*/ 2147483647 h 121"/>
              <a:gd name="T52" fmla="*/ 2147483647 w 92"/>
              <a:gd name="T53" fmla="*/ 2147483647 h 121"/>
              <a:gd name="T54" fmla="*/ 2147483647 w 92"/>
              <a:gd name="T55" fmla="*/ 2147483647 h 121"/>
              <a:gd name="T56" fmla="*/ 2147483647 w 92"/>
              <a:gd name="T57" fmla="*/ 2147483647 h 121"/>
              <a:gd name="T58" fmla="*/ 2147483647 w 92"/>
              <a:gd name="T59" fmla="*/ 2147483647 h 121"/>
              <a:gd name="T60" fmla="*/ 2147483647 w 92"/>
              <a:gd name="T61" fmla="*/ 2147483647 h 121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92"/>
              <a:gd name="T94" fmla="*/ 0 h 121"/>
              <a:gd name="T95" fmla="*/ 92 w 92"/>
              <a:gd name="T96" fmla="*/ 121 h 121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92" h="121">
                <a:moveTo>
                  <a:pt x="53" y="121"/>
                </a:moveTo>
                <a:lnTo>
                  <a:pt x="51" y="115"/>
                </a:lnTo>
                <a:lnTo>
                  <a:pt x="48" y="108"/>
                </a:lnTo>
                <a:lnTo>
                  <a:pt x="23" y="108"/>
                </a:lnTo>
                <a:lnTo>
                  <a:pt x="10" y="109"/>
                </a:lnTo>
                <a:lnTo>
                  <a:pt x="4" y="111"/>
                </a:lnTo>
                <a:lnTo>
                  <a:pt x="0" y="113"/>
                </a:lnTo>
                <a:lnTo>
                  <a:pt x="1" y="86"/>
                </a:lnTo>
                <a:lnTo>
                  <a:pt x="4" y="61"/>
                </a:lnTo>
                <a:lnTo>
                  <a:pt x="8" y="36"/>
                </a:lnTo>
                <a:lnTo>
                  <a:pt x="13" y="10"/>
                </a:lnTo>
                <a:lnTo>
                  <a:pt x="25" y="5"/>
                </a:lnTo>
                <a:lnTo>
                  <a:pt x="35" y="3"/>
                </a:lnTo>
                <a:lnTo>
                  <a:pt x="43" y="1"/>
                </a:lnTo>
                <a:lnTo>
                  <a:pt x="52" y="0"/>
                </a:lnTo>
                <a:lnTo>
                  <a:pt x="69" y="1"/>
                </a:lnTo>
                <a:lnTo>
                  <a:pt x="92" y="7"/>
                </a:lnTo>
                <a:lnTo>
                  <a:pt x="88" y="14"/>
                </a:lnTo>
                <a:lnTo>
                  <a:pt x="86" y="18"/>
                </a:lnTo>
                <a:lnTo>
                  <a:pt x="81" y="22"/>
                </a:lnTo>
                <a:lnTo>
                  <a:pt x="73" y="25"/>
                </a:lnTo>
                <a:lnTo>
                  <a:pt x="74" y="42"/>
                </a:lnTo>
                <a:lnTo>
                  <a:pt x="77" y="53"/>
                </a:lnTo>
                <a:lnTo>
                  <a:pt x="82" y="68"/>
                </a:lnTo>
                <a:lnTo>
                  <a:pt x="92" y="91"/>
                </a:lnTo>
                <a:lnTo>
                  <a:pt x="84" y="91"/>
                </a:lnTo>
                <a:lnTo>
                  <a:pt x="79" y="91"/>
                </a:lnTo>
                <a:lnTo>
                  <a:pt x="71" y="105"/>
                </a:lnTo>
                <a:lnTo>
                  <a:pt x="68" y="113"/>
                </a:lnTo>
                <a:lnTo>
                  <a:pt x="62" y="118"/>
                </a:lnTo>
                <a:lnTo>
                  <a:pt x="53" y="121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57" name="Freeform 22"/>
          <p:cNvSpPr>
            <a:spLocks/>
          </p:cNvSpPr>
          <p:nvPr/>
        </p:nvSpPr>
        <p:spPr bwMode="auto">
          <a:xfrm>
            <a:off x="8683625" y="4006850"/>
            <a:ext cx="9525" cy="34925"/>
          </a:xfrm>
          <a:custGeom>
            <a:avLst/>
            <a:gdLst>
              <a:gd name="T0" fmla="*/ 2147483647 w 23"/>
              <a:gd name="T1" fmla="*/ 2147483647 h 89"/>
              <a:gd name="T2" fmla="*/ 2147483647 w 23"/>
              <a:gd name="T3" fmla="*/ 2147483647 h 89"/>
              <a:gd name="T4" fmla="*/ 2147483647 w 23"/>
              <a:gd name="T5" fmla="*/ 2147483647 h 89"/>
              <a:gd name="T6" fmla="*/ 0 w 23"/>
              <a:gd name="T7" fmla="*/ 2147483647 h 89"/>
              <a:gd name="T8" fmla="*/ 0 w 23"/>
              <a:gd name="T9" fmla="*/ 0 h 89"/>
              <a:gd name="T10" fmla="*/ 2147483647 w 23"/>
              <a:gd name="T11" fmla="*/ 2147483647 h 89"/>
              <a:gd name="T12" fmla="*/ 2147483647 w 23"/>
              <a:gd name="T13" fmla="*/ 2147483647 h 89"/>
              <a:gd name="T14" fmla="*/ 2147483647 w 23"/>
              <a:gd name="T15" fmla="*/ 2147483647 h 89"/>
              <a:gd name="T16" fmla="*/ 2147483647 w 23"/>
              <a:gd name="T17" fmla="*/ 2147483647 h 89"/>
              <a:gd name="T18" fmla="*/ 2147483647 w 23"/>
              <a:gd name="T19" fmla="*/ 2147483647 h 89"/>
              <a:gd name="T20" fmla="*/ 2147483647 w 23"/>
              <a:gd name="T21" fmla="*/ 2147483647 h 8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3"/>
              <a:gd name="T34" fmla="*/ 0 h 89"/>
              <a:gd name="T35" fmla="*/ 23 w 23"/>
              <a:gd name="T36" fmla="*/ 89 h 8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3" h="89">
                <a:moveTo>
                  <a:pt x="10" y="89"/>
                </a:moveTo>
                <a:lnTo>
                  <a:pt x="4" y="73"/>
                </a:lnTo>
                <a:lnTo>
                  <a:pt x="1" y="59"/>
                </a:lnTo>
                <a:lnTo>
                  <a:pt x="0" y="38"/>
                </a:lnTo>
                <a:lnTo>
                  <a:pt x="0" y="0"/>
                </a:lnTo>
                <a:lnTo>
                  <a:pt x="8" y="16"/>
                </a:lnTo>
                <a:lnTo>
                  <a:pt x="13" y="30"/>
                </a:lnTo>
                <a:lnTo>
                  <a:pt x="18" y="52"/>
                </a:lnTo>
                <a:lnTo>
                  <a:pt x="23" y="89"/>
                </a:lnTo>
                <a:lnTo>
                  <a:pt x="16" y="89"/>
                </a:lnTo>
                <a:lnTo>
                  <a:pt x="10" y="89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58" name="Freeform 23"/>
          <p:cNvSpPr>
            <a:spLocks/>
          </p:cNvSpPr>
          <p:nvPr/>
        </p:nvSpPr>
        <p:spPr bwMode="auto">
          <a:xfrm>
            <a:off x="4587875" y="2649538"/>
            <a:ext cx="974725" cy="1354137"/>
          </a:xfrm>
          <a:custGeom>
            <a:avLst/>
            <a:gdLst>
              <a:gd name="T0" fmla="*/ 2147483647 w 2459"/>
              <a:gd name="T1" fmla="*/ 2147483647 h 3414"/>
              <a:gd name="T2" fmla="*/ 2147483647 w 2459"/>
              <a:gd name="T3" fmla="*/ 2147483647 h 3414"/>
              <a:gd name="T4" fmla="*/ 2147483647 w 2459"/>
              <a:gd name="T5" fmla="*/ 2147483647 h 3414"/>
              <a:gd name="T6" fmla="*/ 2147483647 w 2459"/>
              <a:gd name="T7" fmla="*/ 2147483647 h 3414"/>
              <a:gd name="T8" fmla="*/ 2147483647 w 2459"/>
              <a:gd name="T9" fmla="*/ 2147483647 h 3414"/>
              <a:gd name="T10" fmla="*/ 2147483647 w 2459"/>
              <a:gd name="T11" fmla="*/ 2147483647 h 3414"/>
              <a:gd name="T12" fmla="*/ 2147483647 w 2459"/>
              <a:gd name="T13" fmla="*/ 2147483647 h 3414"/>
              <a:gd name="T14" fmla="*/ 2147483647 w 2459"/>
              <a:gd name="T15" fmla="*/ 2147483647 h 3414"/>
              <a:gd name="T16" fmla="*/ 2147483647 w 2459"/>
              <a:gd name="T17" fmla="*/ 2147483647 h 3414"/>
              <a:gd name="T18" fmla="*/ 2147483647 w 2459"/>
              <a:gd name="T19" fmla="*/ 2147483647 h 3414"/>
              <a:gd name="T20" fmla="*/ 2147483647 w 2459"/>
              <a:gd name="T21" fmla="*/ 2147483647 h 3414"/>
              <a:gd name="T22" fmla="*/ 2147483647 w 2459"/>
              <a:gd name="T23" fmla="*/ 2147483647 h 3414"/>
              <a:gd name="T24" fmla="*/ 2147483647 w 2459"/>
              <a:gd name="T25" fmla="*/ 2147483647 h 3414"/>
              <a:gd name="T26" fmla="*/ 2147483647 w 2459"/>
              <a:gd name="T27" fmla="*/ 2147483647 h 3414"/>
              <a:gd name="T28" fmla="*/ 2147483647 w 2459"/>
              <a:gd name="T29" fmla="*/ 2147483647 h 3414"/>
              <a:gd name="T30" fmla="*/ 2147483647 w 2459"/>
              <a:gd name="T31" fmla="*/ 2147483647 h 3414"/>
              <a:gd name="T32" fmla="*/ 2147483647 w 2459"/>
              <a:gd name="T33" fmla="*/ 2147483647 h 3414"/>
              <a:gd name="T34" fmla="*/ 2147483647 w 2459"/>
              <a:gd name="T35" fmla="*/ 2147483647 h 3414"/>
              <a:gd name="T36" fmla="*/ 0 w 2459"/>
              <a:gd name="T37" fmla="*/ 2147483647 h 3414"/>
              <a:gd name="T38" fmla="*/ 2147483647 w 2459"/>
              <a:gd name="T39" fmla="*/ 2147483647 h 3414"/>
              <a:gd name="T40" fmla="*/ 2147483647 w 2459"/>
              <a:gd name="T41" fmla="*/ 2147483647 h 3414"/>
              <a:gd name="T42" fmla="*/ 2147483647 w 2459"/>
              <a:gd name="T43" fmla="*/ 2147483647 h 3414"/>
              <a:gd name="T44" fmla="*/ 2147483647 w 2459"/>
              <a:gd name="T45" fmla="*/ 2147483647 h 3414"/>
              <a:gd name="T46" fmla="*/ 2147483647 w 2459"/>
              <a:gd name="T47" fmla="*/ 2147483647 h 3414"/>
              <a:gd name="T48" fmla="*/ 2147483647 w 2459"/>
              <a:gd name="T49" fmla="*/ 2147483647 h 3414"/>
              <a:gd name="T50" fmla="*/ 2147483647 w 2459"/>
              <a:gd name="T51" fmla="*/ 2147483647 h 3414"/>
              <a:gd name="T52" fmla="*/ 2147483647 w 2459"/>
              <a:gd name="T53" fmla="*/ 2147483647 h 3414"/>
              <a:gd name="T54" fmla="*/ 2147483647 w 2459"/>
              <a:gd name="T55" fmla="*/ 2147483647 h 3414"/>
              <a:gd name="T56" fmla="*/ 2147483647 w 2459"/>
              <a:gd name="T57" fmla="*/ 2147483647 h 3414"/>
              <a:gd name="T58" fmla="*/ 2147483647 w 2459"/>
              <a:gd name="T59" fmla="*/ 2147483647 h 3414"/>
              <a:gd name="T60" fmla="*/ 2147483647 w 2459"/>
              <a:gd name="T61" fmla="*/ 2147483647 h 3414"/>
              <a:gd name="T62" fmla="*/ 2147483647 w 2459"/>
              <a:gd name="T63" fmla="*/ 2147483647 h 3414"/>
              <a:gd name="T64" fmla="*/ 2147483647 w 2459"/>
              <a:gd name="T65" fmla="*/ 2147483647 h 3414"/>
              <a:gd name="T66" fmla="*/ 2147483647 w 2459"/>
              <a:gd name="T67" fmla="*/ 2147483647 h 3414"/>
              <a:gd name="T68" fmla="*/ 2147483647 w 2459"/>
              <a:gd name="T69" fmla="*/ 2147483647 h 3414"/>
              <a:gd name="T70" fmla="*/ 2147483647 w 2459"/>
              <a:gd name="T71" fmla="*/ 2147483647 h 3414"/>
              <a:gd name="T72" fmla="*/ 2147483647 w 2459"/>
              <a:gd name="T73" fmla="*/ 2147483647 h 3414"/>
              <a:gd name="T74" fmla="*/ 2147483647 w 2459"/>
              <a:gd name="T75" fmla="*/ 2147483647 h 3414"/>
              <a:gd name="T76" fmla="*/ 2147483647 w 2459"/>
              <a:gd name="T77" fmla="*/ 2147483647 h 3414"/>
              <a:gd name="T78" fmla="*/ 2147483647 w 2459"/>
              <a:gd name="T79" fmla="*/ 2147483647 h 3414"/>
              <a:gd name="T80" fmla="*/ 2147483647 w 2459"/>
              <a:gd name="T81" fmla="*/ 2147483647 h 3414"/>
              <a:gd name="T82" fmla="*/ 2147483647 w 2459"/>
              <a:gd name="T83" fmla="*/ 2147483647 h 3414"/>
              <a:gd name="T84" fmla="*/ 2147483647 w 2459"/>
              <a:gd name="T85" fmla="*/ 2147483647 h 3414"/>
              <a:gd name="T86" fmla="*/ 2147483647 w 2459"/>
              <a:gd name="T87" fmla="*/ 2147483647 h 3414"/>
              <a:gd name="T88" fmla="*/ 2147483647 w 2459"/>
              <a:gd name="T89" fmla="*/ 2147483647 h 3414"/>
              <a:gd name="T90" fmla="*/ 2147483647 w 2459"/>
              <a:gd name="T91" fmla="*/ 2147483647 h 3414"/>
              <a:gd name="T92" fmla="*/ 2147483647 w 2459"/>
              <a:gd name="T93" fmla="*/ 2147483647 h 3414"/>
              <a:gd name="T94" fmla="*/ 2147483647 w 2459"/>
              <a:gd name="T95" fmla="*/ 2147483647 h 3414"/>
              <a:gd name="T96" fmla="*/ 2147483647 w 2459"/>
              <a:gd name="T97" fmla="*/ 2147483647 h 3414"/>
              <a:gd name="T98" fmla="*/ 2147483647 w 2459"/>
              <a:gd name="T99" fmla="*/ 2147483647 h 3414"/>
              <a:gd name="T100" fmla="*/ 2147483647 w 2459"/>
              <a:gd name="T101" fmla="*/ 2147483647 h 3414"/>
              <a:gd name="T102" fmla="*/ 2147483647 w 2459"/>
              <a:gd name="T103" fmla="*/ 2147483647 h 3414"/>
              <a:gd name="T104" fmla="*/ 2147483647 w 2459"/>
              <a:gd name="T105" fmla="*/ 2147483647 h 3414"/>
              <a:gd name="T106" fmla="*/ 2147483647 w 2459"/>
              <a:gd name="T107" fmla="*/ 2147483647 h 3414"/>
              <a:gd name="T108" fmla="*/ 2147483647 w 2459"/>
              <a:gd name="T109" fmla="*/ 2147483647 h 3414"/>
              <a:gd name="T110" fmla="*/ 2147483647 w 2459"/>
              <a:gd name="T111" fmla="*/ 2147483647 h 3414"/>
              <a:gd name="T112" fmla="*/ 2147483647 w 2459"/>
              <a:gd name="T113" fmla="*/ 2147483647 h 3414"/>
              <a:gd name="T114" fmla="*/ 2147483647 w 2459"/>
              <a:gd name="T115" fmla="*/ 2147483647 h 3414"/>
              <a:gd name="T116" fmla="*/ 2147483647 w 2459"/>
              <a:gd name="T117" fmla="*/ 2147483647 h 3414"/>
              <a:gd name="T118" fmla="*/ 2147483647 w 2459"/>
              <a:gd name="T119" fmla="*/ 2147483647 h 3414"/>
              <a:gd name="T120" fmla="*/ 2147483647 w 2459"/>
              <a:gd name="T121" fmla="*/ 2147483647 h 341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459"/>
              <a:gd name="T184" fmla="*/ 0 h 3414"/>
              <a:gd name="T185" fmla="*/ 2459 w 2459"/>
              <a:gd name="T186" fmla="*/ 3414 h 341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459" h="3414">
                <a:moveTo>
                  <a:pt x="1939" y="3414"/>
                </a:moveTo>
                <a:lnTo>
                  <a:pt x="1935" y="3402"/>
                </a:lnTo>
                <a:lnTo>
                  <a:pt x="1931" y="3390"/>
                </a:lnTo>
                <a:lnTo>
                  <a:pt x="1926" y="3380"/>
                </a:lnTo>
                <a:lnTo>
                  <a:pt x="1922" y="3368"/>
                </a:lnTo>
                <a:lnTo>
                  <a:pt x="1909" y="3367"/>
                </a:lnTo>
                <a:lnTo>
                  <a:pt x="1896" y="3365"/>
                </a:lnTo>
                <a:lnTo>
                  <a:pt x="1883" y="3364"/>
                </a:lnTo>
                <a:lnTo>
                  <a:pt x="1870" y="3364"/>
                </a:lnTo>
                <a:lnTo>
                  <a:pt x="1866" y="3347"/>
                </a:lnTo>
                <a:lnTo>
                  <a:pt x="1862" y="3333"/>
                </a:lnTo>
                <a:lnTo>
                  <a:pt x="1844" y="3328"/>
                </a:lnTo>
                <a:lnTo>
                  <a:pt x="1829" y="3321"/>
                </a:lnTo>
                <a:lnTo>
                  <a:pt x="1823" y="3317"/>
                </a:lnTo>
                <a:lnTo>
                  <a:pt x="1816" y="3313"/>
                </a:lnTo>
                <a:lnTo>
                  <a:pt x="1813" y="3309"/>
                </a:lnTo>
                <a:lnTo>
                  <a:pt x="1807" y="3306"/>
                </a:lnTo>
                <a:lnTo>
                  <a:pt x="1803" y="3300"/>
                </a:lnTo>
                <a:lnTo>
                  <a:pt x="1801" y="3294"/>
                </a:lnTo>
                <a:lnTo>
                  <a:pt x="1798" y="3289"/>
                </a:lnTo>
                <a:lnTo>
                  <a:pt x="1796" y="3282"/>
                </a:lnTo>
                <a:lnTo>
                  <a:pt x="1792" y="3267"/>
                </a:lnTo>
                <a:lnTo>
                  <a:pt x="1789" y="3248"/>
                </a:lnTo>
                <a:lnTo>
                  <a:pt x="1764" y="3230"/>
                </a:lnTo>
                <a:lnTo>
                  <a:pt x="1751" y="3221"/>
                </a:lnTo>
                <a:lnTo>
                  <a:pt x="1746" y="3220"/>
                </a:lnTo>
                <a:lnTo>
                  <a:pt x="1742" y="3218"/>
                </a:lnTo>
                <a:lnTo>
                  <a:pt x="1740" y="3217"/>
                </a:lnTo>
                <a:lnTo>
                  <a:pt x="1736" y="3217"/>
                </a:lnTo>
                <a:lnTo>
                  <a:pt x="1724" y="3230"/>
                </a:lnTo>
                <a:lnTo>
                  <a:pt x="1708" y="3246"/>
                </a:lnTo>
                <a:lnTo>
                  <a:pt x="1701" y="3254"/>
                </a:lnTo>
                <a:lnTo>
                  <a:pt x="1692" y="3259"/>
                </a:lnTo>
                <a:lnTo>
                  <a:pt x="1688" y="3261"/>
                </a:lnTo>
                <a:lnTo>
                  <a:pt x="1684" y="3263"/>
                </a:lnTo>
                <a:lnTo>
                  <a:pt x="1680" y="3263"/>
                </a:lnTo>
                <a:lnTo>
                  <a:pt x="1676" y="3261"/>
                </a:lnTo>
                <a:lnTo>
                  <a:pt x="1676" y="3250"/>
                </a:lnTo>
                <a:lnTo>
                  <a:pt x="1676" y="3239"/>
                </a:lnTo>
                <a:lnTo>
                  <a:pt x="1676" y="3228"/>
                </a:lnTo>
                <a:lnTo>
                  <a:pt x="1676" y="3217"/>
                </a:lnTo>
                <a:lnTo>
                  <a:pt x="1688" y="3209"/>
                </a:lnTo>
                <a:lnTo>
                  <a:pt x="1695" y="3204"/>
                </a:lnTo>
                <a:lnTo>
                  <a:pt x="1699" y="3199"/>
                </a:lnTo>
                <a:lnTo>
                  <a:pt x="1705" y="3191"/>
                </a:lnTo>
                <a:lnTo>
                  <a:pt x="1701" y="3178"/>
                </a:lnTo>
                <a:lnTo>
                  <a:pt x="1698" y="3166"/>
                </a:lnTo>
                <a:lnTo>
                  <a:pt x="1694" y="3157"/>
                </a:lnTo>
                <a:lnTo>
                  <a:pt x="1689" y="3149"/>
                </a:lnTo>
                <a:lnTo>
                  <a:pt x="1685" y="3142"/>
                </a:lnTo>
                <a:lnTo>
                  <a:pt x="1680" y="3136"/>
                </a:lnTo>
                <a:lnTo>
                  <a:pt x="1673" y="3133"/>
                </a:lnTo>
                <a:lnTo>
                  <a:pt x="1668" y="3129"/>
                </a:lnTo>
                <a:lnTo>
                  <a:pt x="1660" y="3126"/>
                </a:lnTo>
                <a:lnTo>
                  <a:pt x="1652" y="3123"/>
                </a:lnTo>
                <a:lnTo>
                  <a:pt x="1645" y="3122"/>
                </a:lnTo>
                <a:lnTo>
                  <a:pt x="1634" y="3121"/>
                </a:lnTo>
                <a:lnTo>
                  <a:pt x="1613" y="3120"/>
                </a:lnTo>
                <a:lnTo>
                  <a:pt x="1587" y="3120"/>
                </a:lnTo>
                <a:lnTo>
                  <a:pt x="1587" y="3112"/>
                </a:lnTo>
                <a:lnTo>
                  <a:pt x="1587" y="3107"/>
                </a:lnTo>
                <a:lnTo>
                  <a:pt x="1580" y="3107"/>
                </a:lnTo>
                <a:lnTo>
                  <a:pt x="1573" y="3107"/>
                </a:lnTo>
                <a:lnTo>
                  <a:pt x="1571" y="3099"/>
                </a:lnTo>
                <a:lnTo>
                  <a:pt x="1568" y="3092"/>
                </a:lnTo>
                <a:lnTo>
                  <a:pt x="1542" y="3087"/>
                </a:lnTo>
                <a:lnTo>
                  <a:pt x="1521" y="3084"/>
                </a:lnTo>
                <a:lnTo>
                  <a:pt x="1496" y="3083"/>
                </a:lnTo>
                <a:lnTo>
                  <a:pt x="1459" y="3083"/>
                </a:lnTo>
                <a:lnTo>
                  <a:pt x="1442" y="3073"/>
                </a:lnTo>
                <a:lnTo>
                  <a:pt x="1425" y="3064"/>
                </a:lnTo>
                <a:lnTo>
                  <a:pt x="1407" y="3056"/>
                </a:lnTo>
                <a:lnTo>
                  <a:pt x="1388" y="3049"/>
                </a:lnTo>
                <a:lnTo>
                  <a:pt x="1370" y="3044"/>
                </a:lnTo>
                <a:lnTo>
                  <a:pt x="1351" y="3040"/>
                </a:lnTo>
                <a:lnTo>
                  <a:pt x="1331" y="3038"/>
                </a:lnTo>
                <a:lnTo>
                  <a:pt x="1312" y="3036"/>
                </a:lnTo>
                <a:lnTo>
                  <a:pt x="1309" y="3023"/>
                </a:lnTo>
                <a:lnTo>
                  <a:pt x="1308" y="3010"/>
                </a:lnTo>
                <a:lnTo>
                  <a:pt x="1306" y="2997"/>
                </a:lnTo>
                <a:lnTo>
                  <a:pt x="1305" y="2984"/>
                </a:lnTo>
                <a:lnTo>
                  <a:pt x="1278" y="2976"/>
                </a:lnTo>
                <a:lnTo>
                  <a:pt x="1253" y="2971"/>
                </a:lnTo>
                <a:lnTo>
                  <a:pt x="1241" y="2970"/>
                </a:lnTo>
                <a:lnTo>
                  <a:pt x="1230" y="2969"/>
                </a:lnTo>
                <a:lnTo>
                  <a:pt x="1219" y="2970"/>
                </a:lnTo>
                <a:lnTo>
                  <a:pt x="1209" y="2971"/>
                </a:lnTo>
                <a:lnTo>
                  <a:pt x="1200" y="2975"/>
                </a:lnTo>
                <a:lnTo>
                  <a:pt x="1191" y="2980"/>
                </a:lnTo>
                <a:lnTo>
                  <a:pt x="1183" y="2987"/>
                </a:lnTo>
                <a:lnTo>
                  <a:pt x="1176" y="2995"/>
                </a:lnTo>
                <a:lnTo>
                  <a:pt x="1170" y="3005"/>
                </a:lnTo>
                <a:lnTo>
                  <a:pt x="1165" y="3018"/>
                </a:lnTo>
                <a:lnTo>
                  <a:pt x="1161" y="3032"/>
                </a:lnTo>
                <a:lnTo>
                  <a:pt x="1158" y="3048"/>
                </a:lnTo>
                <a:lnTo>
                  <a:pt x="1140" y="3047"/>
                </a:lnTo>
                <a:lnTo>
                  <a:pt x="1122" y="3045"/>
                </a:lnTo>
                <a:lnTo>
                  <a:pt x="1105" y="3045"/>
                </a:lnTo>
                <a:lnTo>
                  <a:pt x="1087" y="3044"/>
                </a:lnTo>
                <a:lnTo>
                  <a:pt x="1076" y="3049"/>
                </a:lnTo>
                <a:lnTo>
                  <a:pt x="1063" y="3052"/>
                </a:lnTo>
                <a:lnTo>
                  <a:pt x="1049" y="3053"/>
                </a:lnTo>
                <a:lnTo>
                  <a:pt x="1033" y="3053"/>
                </a:lnTo>
                <a:lnTo>
                  <a:pt x="1002" y="3052"/>
                </a:lnTo>
                <a:lnTo>
                  <a:pt x="971" y="3051"/>
                </a:lnTo>
                <a:lnTo>
                  <a:pt x="955" y="3049"/>
                </a:lnTo>
                <a:lnTo>
                  <a:pt x="941" y="3051"/>
                </a:lnTo>
                <a:lnTo>
                  <a:pt x="928" y="3053"/>
                </a:lnTo>
                <a:lnTo>
                  <a:pt x="915" y="3057"/>
                </a:lnTo>
                <a:lnTo>
                  <a:pt x="910" y="3060"/>
                </a:lnTo>
                <a:lnTo>
                  <a:pt x="904" y="3062"/>
                </a:lnTo>
                <a:lnTo>
                  <a:pt x="899" y="3066"/>
                </a:lnTo>
                <a:lnTo>
                  <a:pt x="895" y="3070"/>
                </a:lnTo>
                <a:lnTo>
                  <a:pt x="891" y="3075"/>
                </a:lnTo>
                <a:lnTo>
                  <a:pt x="888" y="3081"/>
                </a:lnTo>
                <a:lnTo>
                  <a:pt x="885" y="3087"/>
                </a:lnTo>
                <a:lnTo>
                  <a:pt x="884" y="3095"/>
                </a:lnTo>
                <a:lnTo>
                  <a:pt x="854" y="3090"/>
                </a:lnTo>
                <a:lnTo>
                  <a:pt x="825" y="3086"/>
                </a:lnTo>
                <a:lnTo>
                  <a:pt x="798" y="3086"/>
                </a:lnTo>
                <a:lnTo>
                  <a:pt x="768" y="3087"/>
                </a:lnTo>
                <a:lnTo>
                  <a:pt x="764" y="3074"/>
                </a:lnTo>
                <a:lnTo>
                  <a:pt x="760" y="3062"/>
                </a:lnTo>
                <a:lnTo>
                  <a:pt x="739" y="3062"/>
                </a:lnTo>
                <a:lnTo>
                  <a:pt x="716" y="3062"/>
                </a:lnTo>
                <a:lnTo>
                  <a:pt x="694" y="3062"/>
                </a:lnTo>
                <a:lnTo>
                  <a:pt x="672" y="3061"/>
                </a:lnTo>
                <a:lnTo>
                  <a:pt x="660" y="3058"/>
                </a:lnTo>
                <a:lnTo>
                  <a:pt x="649" y="3057"/>
                </a:lnTo>
                <a:lnTo>
                  <a:pt x="639" y="3053"/>
                </a:lnTo>
                <a:lnTo>
                  <a:pt x="630" y="3049"/>
                </a:lnTo>
                <a:lnTo>
                  <a:pt x="621" y="3044"/>
                </a:lnTo>
                <a:lnTo>
                  <a:pt x="612" y="3039"/>
                </a:lnTo>
                <a:lnTo>
                  <a:pt x="604" y="3031"/>
                </a:lnTo>
                <a:lnTo>
                  <a:pt x="596" y="3023"/>
                </a:lnTo>
                <a:lnTo>
                  <a:pt x="596" y="2988"/>
                </a:lnTo>
                <a:lnTo>
                  <a:pt x="593" y="2954"/>
                </a:lnTo>
                <a:lnTo>
                  <a:pt x="591" y="2922"/>
                </a:lnTo>
                <a:lnTo>
                  <a:pt x="591" y="2889"/>
                </a:lnTo>
                <a:lnTo>
                  <a:pt x="593" y="2875"/>
                </a:lnTo>
                <a:lnTo>
                  <a:pt x="596" y="2859"/>
                </a:lnTo>
                <a:lnTo>
                  <a:pt x="600" y="2845"/>
                </a:lnTo>
                <a:lnTo>
                  <a:pt x="606" y="2832"/>
                </a:lnTo>
                <a:lnTo>
                  <a:pt x="614" y="2818"/>
                </a:lnTo>
                <a:lnTo>
                  <a:pt x="625" y="2805"/>
                </a:lnTo>
                <a:lnTo>
                  <a:pt x="638" y="2793"/>
                </a:lnTo>
                <a:lnTo>
                  <a:pt x="652" y="2781"/>
                </a:lnTo>
                <a:lnTo>
                  <a:pt x="652" y="2770"/>
                </a:lnTo>
                <a:lnTo>
                  <a:pt x="652" y="2758"/>
                </a:lnTo>
                <a:lnTo>
                  <a:pt x="640" y="2753"/>
                </a:lnTo>
                <a:lnTo>
                  <a:pt x="630" y="2746"/>
                </a:lnTo>
                <a:lnTo>
                  <a:pt x="652" y="2715"/>
                </a:lnTo>
                <a:lnTo>
                  <a:pt x="662" y="2695"/>
                </a:lnTo>
                <a:lnTo>
                  <a:pt x="664" y="2692"/>
                </a:lnTo>
                <a:lnTo>
                  <a:pt x="664" y="2686"/>
                </a:lnTo>
                <a:lnTo>
                  <a:pt x="662" y="2681"/>
                </a:lnTo>
                <a:lnTo>
                  <a:pt x="660" y="2675"/>
                </a:lnTo>
                <a:lnTo>
                  <a:pt x="652" y="2659"/>
                </a:lnTo>
                <a:lnTo>
                  <a:pt x="639" y="2637"/>
                </a:lnTo>
                <a:lnTo>
                  <a:pt x="623" y="2627"/>
                </a:lnTo>
                <a:lnTo>
                  <a:pt x="610" y="2615"/>
                </a:lnTo>
                <a:lnTo>
                  <a:pt x="604" y="2610"/>
                </a:lnTo>
                <a:lnTo>
                  <a:pt x="597" y="2602"/>
                </a:lnTo>
                <a:lnTo>
                  <a:pt x="592" y="2595"/>
                </a:lnTo>
                <a:lnTo>
                  <a:pt x="587" y="2586"/>
                </a:lnTo>
                <a:lnTo>
                  <a:pt x="558" y="2589"/>
                </a:lnTo>
                <a:lnTo>
                  <a:pt x="530" y="2593"/>
                </a:lnTo>
                <a:lnTo>
                  <a:pt x="502" y="2597"/>
                </a:lnTo>
                <a:lnTo>
                  <a:pt x="475" y="2598"/>
                </a:lnTo>
                <a:lnTo>
                  <a:pt x="466" y="2590"/>
                </a:lnTo>
                <a:lnTo>
                  <a:pt x="456" y="2582"/>
                </a:lnTo>
                <a:lnTo>
                  <a:pt x="444" y="2577"/>
                </a:lnTo>
                <a:lnTo>
                  <a:pt x="432" y="2572"/>
                </a:lnTo>
                <a:lnTo>
                  <a:pt x="407" y="2563"/>
                </a:lnTo>
                <a:lnTo>
                  <a:pt x="381" y="2556"/>
                </a:lnTo>
                <a:lnTo>
                  <a:pt x="372" y="2543"/>
                </a:lnTo>
                <a:lnTo>
                  <a:pt x="364" y="2532"/>
                </a:lnTo>
                <a:lnTo>
                  <a:pt x="358" y="2520"/>
                </a:lnTo>
                <a:lnTo>
                  <a:pt x="350" y="2508"/>
                </a:lnTo>
                <a:lnTo>
                  <a:pt x="331" y="2508"/>
                </a:lnTo>
                <a:lnTo>
                  <a:pt x="312" y="2509"/>
                </a:lnTo>
                <a:lnTo>
                  <a:pt x="315" y="2554"/>
                </a:lnTo>
                <a:lnTo>
                  <a:pt x="314" y="2576"/>
                </a:lnTo>
                <a:lnTo>
                  <a:pt x="314" y="2580"/>
                </a:lnTo>
                <a:lnTo>
                  <a:pt x="312" y="2581"/>
                </a:lnTo>
                <a:lnTo>
                  <a:pt x="312" y="2578"/>
                </a:lnTo>
                <a:lnTo>
                  <a:pt x="312" y="2576"/>
                </a:lnTo>
                <a:lnTo>
                  <a:pt x="298" y="2574"/>
                </a:lnTo>
                <a:lnTo>
                  <a:pt x="284" y="2573"/>
                </a:lnTo>
                <a:lnTo>
                  <a:pt x="270" y="2573"/>
                </a:lnTo>
                <a:lnTo>
                  <a:pt x="257" y="2573"/>
                </a:lnTo>
                <a:lnTo>
                  <a:pt x="245" y="2589"/>
                </a:lnTo>
                <a:lnTo>
                  <a:pt x="236" y="2600"/>
                </a:lnTo>
                <a:lnTo>
                  <a:pt x="230" y="2607"/>
                </a:lnTo>
                <a:lnTo>
                  <a:pt x="228" y="2613"/>
                </a:lnTo>
                <a:lnTo>
                  <a:pt x="224" y="2623"/>
                </a:lnTo>
                <a:lnTo>
                  <a:pt x="221" y="2633"/>
                </a:lnTo>
                <a:lnTo>
                  <a:pt x="188" y="2632"/>
                </a:lnTo>
                <a:lnTo>
                  <a:pt x="154" y="2632"/>
                </a:lnTo>
                <a:lnTo>
                  <a:pt x="138" y="2632"/>
                </a:lnTo>
                <a:lnTo>
                  <a:pt x="121" y="2633"/>
                </a:lnTo>
                <a:lnTo>
                  <a:pt x="104" y="2636"/>
                </a:lnTo>
                <a:lnTo>
                  <a:pt x="87" y="2638"/>
                </a:lnTo>
                <a:lnTo>
                  <a:pt x="86" y="2627"/>
                </a:lnTo>
                <a:lnTo>
                  <a:pt x="85" y="2613"/>
                </a:lnTo>
                <a:lnTo>
                  <a:pt x="82" y="2600"/>
                </a:lnTo>
                <a:lnTo>
                  <a:pt x="77" y="2589"/>
                </a:lnTo>
                <a:lnTo>
                  <a:pt x="72" y="2577"/>
                </a:lnTo>
                <a:lnTo>
                  <a:pt x="65" y="2567"/>
                </a:lnTo>
                <a:lnTo>
                  <a:pt x="56" y="2558"/>
                </a:lnTo>
                <a:lnTo>
                  <a:pt x="47" y="2550"/>
                </a:lnTo>
                <a:lnTo>
                  <a:pt x="42" y="2520"/>
                </a:lnTo>
                <a:lnTo>
                  <a:pt x="41" y="2489"/>
                </a:lnTo>
                <a:lnTo>
                  <a:pt x="39" y="2459"/>
                </a:lnTo>
                <a:lnTo>
                  <a:pt x="41" y="2429"/>
                </a:lnTo>
                <a:lnTo>
                  <a:pt x="41" y="2399"/>
                </a:lnTo>
                <a:lnTo>
                  <a:pt x="42" y="2369"/>
                </a:lnTo>
                <a:lnTo>
                  <a:pt x="42" y="2339"/>
                </a:lnTo>
                <a:lnTo>
                  <a:pt x="41" y="2308"/>
                </a:lnTo>
                <a:lnTo>
                  <a:pt x="31" y="2299"/>
                </a:lnTo>
                <a:lnTo>
                  <a:pt x="25" y="2290"/>
                </a:lnTo>
                <a:lnTo>
                  <a:pt x="18" y="2280"/>
                </a:lnTo>
                <a:lnTo>
                  <a:pt x="12" y="2273"/>
                </a:lnTo>
                <a:lnTo>
                  <a:pt x="8" y="2265"/>
                </a:lnTo>
                <a:lnTo>
                  <a:pt x="4" y="2257"/>
                </a:lnTo>
                <a:lnTo>
                  <a:pt x="2" y="2249"/>
                </a:lnTo>
                <a:lnTo>
                  <a:pt x="0" y="2241"/>
                </a:lnTo>
                <a:lnTo>
                  <a:pt x="0" y="2235"/>
                </a:lnTo>
                <a:lnTo>
                  <a:pt x="0" y="2228"/>
                </a:lnTo>
                <a:lnTo>
                  <a:pt x="2" y="2222"/>
                </a:lnTo>
                <a:lnTo>
                  <a:pt x="3" y="2215"/>
                </a:lnTo>
                <a:lnTo>
                  <a:pt x="5" y="2209"/>
                </a:lnTo>
                <a:lnTo>
                  <a:pt x="8" y="2202"/>
                </a:lnTo>
                <a:lnTo>
                  <a:pt x="12" y="2197"/>
                </a:lnTo>
                <a:lnTo>
                  <a:pt x="16" y="2192"/>
                </a:lnTo>
                <a:lnTo>
                  <a:pt x="26" y="2182"/>
                </a:lnTo>
                <a:lnTo>
                  <a:pt x="39" y="2172"/>
                </a:lnTo>
                <a:lnTo>
                  <a:pt x="52" y="2163"/>
                </a:lnTo>
                <a:lnTo>
                  <a:pt x="68" y="2156"/>
                </a:lnTo>
                <a:lnTo>
                  <a:pt x="99" y="2141"/>
                </a:lnTo>
                <a:lnTo>
                  <a:pt x="133" y="2130"/>
                </a:lnTo>
                <a:lnTo>
                  <a:pt x="152" y="2106"/>
                </a:lnTo>
                <a:lnTo>
                  <a:pt x="169" y="2084"/>
                </a:lnTo>
                <a:lnTo>
                  <a:pt x="178" y="2074"/>
                </a:lnTo>
                <a:lnTo>
                  <a:pt x="189" y="2063"/>
                </a:lnTo>
                <a:lnTo>
                  <a:pt x="199" y="2055"/>
                </a:lnTo>
                <a:lnTo>
                  <a:pt x="212" y="2048"/>
                </a:lnTo>
                <a:lnTo>
                  <a:pt x="216" y="2041"/>
                </a:lnTo>
                <a:lnTo>
                  <a:pt x="221" y="2035"/>
                </a:lnTo>
                <a:lnTo>
                  <a:pt x="227" y="2029"/>
                </a:lnTo>
                <a:lnTo>
                  <a:pt x="232" y="2024"/>
                </a:lnTo>
                <a:lnTo>
                  <a:pt x="242" y="2014"/>
                </a:lnTo>
                <a:lnTo>
                  <a:pt x="250" y="2003"/>
                </a:lnTo>
                <a:lnTo>
                  <a:pt x="249" y="1981"/>
                </a:lnTo>
                <a:lnTo>
                  <a:pt x="247" y="1958"/>
                </a:lnTo>
                <a:lnTo>
                  <a:pt x="247" y="1934"/>
                </a:lnTo>
                <a:lnTo>
                  <a:pt x="246" y="1912"/>
                </a:lnTo>
                <a:lnTo>
                  <a:pt x="257" y="1903"/>
                </a:lnTo>
                <a:lnTo>
                  <a:pt x="268" y="1897"/>
                </a:lnTo>
                <a:lnTo>
                  <a:pt x="270" y="1878"/>
                </a:lnTo>
                <a:lnTo>
                  <a:pt x="271" y="1860"/>
                </a:lnTo>
                <a:lnTo>
                  <a:pt x="272" y="1842"/>
                </a:lnTo>
                <a:lnTo>
                  <a:pt x="273" y="1825"/>
                </a:lnTo>
                <a:lnTo>
                  <a:pt x="288" y="1820"/>
                </a:lnTo>
                <a:lnTo>
                  <a:pt x="302" y="1815"/>
                </a:lnTo>
                <a:lnTo>
                  <a:pt x="316" y="1811"/>
                </a:lnTo>
                <a:lnTo>
                  <a:pt x="331" y="1806"/>
                </a:lnTo>
                <a:lnTo>
                  <a:pt x="332" y="1780"/>
                </a:lnTo>
                <a:lnTo>
                  <a:pt x="331" y="1752"/>
                </a:lnTo>
                <a:lnTo>
                  <a:pt x="328" y="1741"/>
                </a:lnTo>
                <a:lnTo>
                  <a:pt x="323" y="1729"/>
                </a:lnTo>
                <a:lnTo>
                  <a:pt x="320" y="1724"/>
                </a:lnTo>
                <a:lnTo>
                  <a:pt x="315" y="1718"/>
                </a:lnTo>
                <a:lnTo>
                  <a:pt x="310" y="1713"/>
                </a:lnTo>
                <a:lnTo>
                  <a:pt x="305" y="1709"/>
                </a:lnTo>
                <a:lnTo>
                  <a:pt x="298" y="1678"/>
                </a:lnTo>
                <a:lnTo>
                  <a:pt x="293" y="1647"/>
                </a:lnTo>
                <a:lnTo>
                  <a:pt x="286" y="1616"/>
                </a:lnTo>
                <a:lnTo>
                  <a:pt x="281" y="1584"/>
                </a:lnTo>
                <a:lnTo>
                  <a:pt x="267" y="1584"/>
                </a:lnTo>
                <a:lnTo>
                  <a:pt x="254" y="1587"/>
                </a:lnTo>
                <a:lnTo>
                  <a:pt x="242" y="1590"/>
                </a:lnTo>
                <a:lnTo>
                  <a:pt x="229" y="1591"/>
                </a:lnTo>
                <a:lnTo>
                  <a:pt x="204" y="1573"/>
                </a:lnTo>
                <a:lnTo>
                  <a:pt x="190" y="1564"/>
                </a:lnTo>
                <a:lnTo>
                  <a:pt x="181" y="1558"/>
                </a:lnTo>
                <a:lnTo>
                  <a:pt x="172" y="1556"/>
                </a:lnTo>
                <a:lnTo>
                  <a:pt x="171" y="1543"/>
                </a:lnTo>
                <a:lnTo>
                  <a:pt x="169" y="1531"/>
                </a:lnTo>
                <a:lnTo>
                  <a:pt x="167" y="1519"/>
                </a:lnTo>
                <a:lnTo>
                  <a:pt x="165" y="1508"/>
                </a:lnTo>
                <a:lnTo>
                  <a:pt x="160" y="1506"/>
                </a:lnTo>
                <a:lnTo>
                  <a:pt x="155" y="1504"/>
                </a:lnTo>
                <a:lnTo>
                  <a:pt x="150" y="1500"/>
                </a:lnTo>
                <a:lnTo>
                  <a:pt x="146" y="1496"/>
                </a:lnTo>
                <a:lnTo>
                  <a:pt x="138" y="1487"/>
                </a:lnTo>
                <a:lnTo>
                  <a:pt x="130" y="1477"/>
                </a:lnTo>
                <a:lnTo>
                  <a:pt x="119" y="1453"/>
                </a:lnTo>
                <a:lnTo>
                  <a:pt x="108" y="1431"/>
                </a:lnTo>
                <a:lnTo>
                  <a:pt x="96" y="1428"/>
                </a:lnTo>
                <a:lnTo>
                  <a:pt x="87" y="1427"/>
                </a:lnTo>
                <a:lnTo>
                  <a:pt x="81" y="1410"/>
                </a:lnTo>
                <a:lnTo>
                  <a:pt x="76" y="1392"/>
                </a:lnTo>
                <a:lnTo>
                  <a:pt x="56" y="1389"/>
                </a:lnTo>
                <a:lnTo>
                  <a:pt x="38" y="1387"/>
                </a:lnTo>
                <a:lnTo>
                  <a:pt x="20" y="1384"/>
                </a:lnTo>
                <a:lnTo>
                  <a:pt x="3" y="1383"/>
                </a:lnTo>
                <a:lnTo>
                  <a:pt x="3" y="1370"/>
                </a:lnTo>
                <a:lnTo>
                  <a:pt x="4" y="1359"/>
                </a:lnTo>
                <a:lnTo>
                  <a:pt x="7" y="1350"/>
                </a:lnTo>
                <a:lnTo>
                  <a:pt x="12" y="1343"/>
                </a:lnTo>
                <a:lnTo>
                  <a:pt x="17" y="1336"/>
                </a:lnTo>
                <a:lnTo>
                  <a:pt x="24" y="1329"/>
                </a:lnTo>
                <a:lnTo>
                  <a:pt x="30" y="1324"/>
                </a:lnTo>
                <a:lnTo>
                  <a:pt x="38" y="1319"/>
                </a:lnTo>
                <a:lnTo>
                  <a:pt x="52" y="1307"/>
                </a:lnTo>
                <a:lnTo>
                  <a:pt x="65" y="1294"/>
                </a:lnTo>
                <a:lnTo>
                  <a:pt x="72" y="1285"/>
                </a:lnTo>
                <a:lnTo>
                  <a:pt x="76" y="1276"/>
                </a:lnTo>
                <a:lnTo>
                  <a:pt x="80" y="1264"/>
                </a:lnTo>
                <a:lnTo>
                  <a:pt x="81" y="1251"/>
                </a:lnTo>
                <a:lnTo>
                  <a:pt x="74" y="1249"/>
                </a:lnTo>
                <a:lnTo>
                  <a:pt x="68" y="1246"/>
                </a:lnTo>
                <a:lnTo>
                  <a:pt x="63" y="1229"/>
                </a:lnTo>
                <a:lnTo>
                  <a:pt x="55" y="1214"/>
                </a:lnTo>
                <a:lnTo>
                  <a:pt x="46" y="1198"/>
                </a:lnTo>
                <a:lnTo>
                  <a:pt x="38" y="1184"/>
                </a:lnTo>
                <a:lnTo>
                  <a:pt x="29" y="1169"/>
                </a:lnTo>
                <a:lnTo>
                  <a:pt x="22" y="1154"/>
                </a:lnTo>
                <a:lnTo>
                  <a:pt x="20" y="1146"/>
                </a:lnTo>
                <a:lnTo>
                  <a:pt x="17" y="1138"/>
                </a:lnTo>
                <a:lnTo>
                  <a:pt x="16" y="1130"/>
                </a:lnTo>
                <a:lnTo>
                  <a:pt x="16" y="1121"/>
                </a:lnTo>
                <a:lnTo>
                  <a:pt x="28" y="1106"/>
                </a:lnTo>
                <a:lnTo>
                  <a:pt x="35" y="1090"/>
                </a:lnTo>
                <a:lnTo>
                  <a:pt x="43" y="1075"/>
                </a:lnTo>
                <a:lnTo>
                  <a:pt x="48" y="1060"/>
                </a:lnTo>
                <a:lnTo>
                  <a:pt x="56" y="1032"/>
                </a:lnTo>
                <a:lnTo>
                  <a:pt x="65" y="1006"/>
                </a:lnTo>
                <a:lnTo>
                  <a:pt x="70" y="993"/>
                </a:lnTo>
                <a:lnTo>
                  <a:pt x="77" y="982"/>
                </a:lnTo>
                <a:lnTo>
                  <a:pt x="85" y="972"/>
                </a:lnTo>
                <a:lnTo>
                  <a:pt x="96" y="964"/>
                </a:lnTo>
                <a:lnTo>
                  <a:pt x="110" y="956"/>
                </a:lnTo>
                <a:lnTo>
                  <a:pt x="126" y="950"/>
                </a:lnTo>
                <a:lnTo>
                  <a:pt x="147" y="946"/>
                </a:lnTo>
                <a:lnTo>
                  <a:pt x="172" y="942"/>
                </a:lnTo>
                <a:lnTo>
                  <a:pt x="181" y="937"/>
                </a:lnTo>
                <a:lnTo>
                  <a:pt x="191" y="930"/>
                </a:lnTo>
                <a:lnTo>
                  <a:pt x="202" y="921"/>
                </a:lnTo>
                <a:lnTo>
                  <a:pt x="212" y="911"/>
                </a:lnTo>
                <a:lnTo>
                  <a:pt x="233" y="888"/>
                </a:lnTo>
                <a:lnTo>
                  <a:pt x="254" y="862"/>
                </a:lnTo>
                <a:lnTo>
                  <a:pt x="273" y="836"/>
                </a:lnTo>
                <a:lnTo>
                  <a:pt x="292" y="810"/>
                </a:lnTo>
                <a:lnTo>
                  <a:pt x="309" y="786"/>
                </a:lnTo>
                <a:lnTo>
                  <a:pt x="322" y="765"/>
                </a:lnTo>
                <a:lnTo>
                  <a:pt x="328" y="739"/>
                </a:lnTo>
                <a:lnTo>
                  <a:pt x="335" y="715"/>
                </a:lnTo>
                <a:lnTo>
                  <a:pt x="344" y="692"/>
                </a:lnTo>
                <a:lnTo>
                  <a:pt x="357" y="669"/>
                </a:lnTo>
                <a:lnTo>
                  <a:pt x="372" y="669"/>
                </a:lnTo>
                <a:lnTo>
                  <a:pt x="387" y="669"/>
                </a:lnTo>
                <a:lnTo>
                  <a:pt x="398" y="667"/>
                </a:lnTo>
                <a:lnTo>
                  <a:pt x="409" y="665"/>
                </a:lnTo>
                <a:lnTo>
                  <a:pt x="417" y="662"/>
                </a:lnTo>
                <a:lnTo>
                  <a:pt x="424" y="660"/>
                </a:lnTo>
                <a:lnTo>
                  <a:pt x="431" y="656"/>
                </a:lnTo>
                <a:lnTo>
                  <a:pt x="436" y="650"/>
                </a:lnTo>
                <a:lnTo>
                  <a:pt x="458" y="623"/>
                </a:lnTo>
                <a:lnTo>
                  <a:pt x="489" y="579"/>
                </a:lnTo>
                <a:lnTo>
                  <a:pt x="510" y="566"/>
                </a:lnTo>
                <a:lnTo>
                  <a:pt x="532" y="553"/>
                </a:lnTo>
                <a:lnTo>
                  <a:pt x="554" y="540"/>
                </a:lnTo>
                <a:lnTo>
                  <a:pt x="578" y="527"/>
                </a:lnTo>
                <a:lnTo>
                  <a:pt x="583" y="518"/>
                </a:lnTo>
                <a:lnTo>
                  <a:pt x="590" y="505"/>
                </a:lnTo>
                <a:lnTo>
                  <a:pt x="596" y="490"/>
                </a:lnTo>
                <a:lnTo>
                  <a:pt x="603" y="475"/>
                </a:lnTo>
                <a:lnTo>
                  <a:pt x="608" y="460"/>
                </a:lnTo>
                <a:lnTo>
                  <a:pt x="614" y="447"/>
                </a:lnTo>
                <a:lnTo>
                  <a:pt x="619" y="437"/>
                </a:lnTo>
                <a:lnTo>
                  <a:pt x="623" y="431"/>
                </a:lnTo>
                <a:lnTo>
                  <a:pt x="648" y="428"/>
                </a:lnTo>
                <a:lnTo>
                  <a:pt x="669" y="425"/>
                </a:lnTo>
                <a:lnTo>
                  <a:pt x="688" y="425"/>
                </a:lnTo>
                <a:lnTo>
                  <a:pt x="707" y="424"/>
                </a:lnTo>
                <a:lnTo>
                  <a:pt x="722" y="424"/>
                </a:lnTo>
                <a:lnTo>
                  <a:pt x="737" y="423"/>
                </a:lnTo>
                <a:lnTo>
                  <a:pt x="748" y="421"/>
                </a:lnTo>
                <a:lnTo>
                  <a:pt x="759" y="418"/>
                </a:lnTo>
                <a:lnTo>
                  <a:pt x="768" y="412"/>
                </a:lnTo>
                <a:lnTo>
                  <a:pt x="777" y="406"/>
                </a:lnTo>
                <a:lnTo>
                  <a:pt x="783" y="395"/>
                </a:lnTo>
                <a:lnTo>
                  <a:pt x="790" y="384"/>
                </a:lnTo>
                <a:lnTo>
                  <a:pt x="795" y="367"/>
                </a:lnTo>
                <a:lnTo>
                  <a:pt x="799" y="346"/>
                </a:lnTo>
                <a:lnTo>
                  <a:pt x="803" y="321"/>
                </a:lnTo>
                <a:lnTo>
                  <a:pt x="807" y="293"/>
                </a:lnTo>
                <a:lnTo>
                  <a:pt x="826" y="281"/>
                </a:lnTo>
                <a:lnTo>
                  <a:pt x="843" y="271"/>
                </a:lnTo>
                <a:lnTo>
                  <a:pt x="858" y="261"/>
                </a:lnTo>
                <a:lnTo>
                  <a:pt x="869" y="251"/>
                </a:lnTo>
                <a:lnTo>
                  <a:pt x="878" y="239"/>
                </a:lnTo>
                <a:lnTo>
                  <a:pt x="888" y="226"/>
                </a:lnTo>
                <a:lnTo>
                  <a:pt x="895" y="209"/>
                </a:lnTo>
                <a:lnTo>
                  <a:pt x="903" y="189"/>
                </a:lnTo>
                <a:lnTo>
                  <a:pt x="932" y="174"/>
                </a:lnTo>
                <a:lnTo>
                  <a:pt x="954" y="164"/>
                </a:lnTo>
                <a:lnTo>
                  <a:pt x="976" y="150"/>
                </a:lnTo>
                <a:lnTo>
                  <a:pt x="1010" y="127"/>
                </a:lnTo>
                <a:lnTo>
                  <a:pt x="1032" y="124"/>
                </a:lnTo>
                <a:lnTo>
                  <a:pt x="1055" y="121"/>
                </a:lnTo>
                <a:lnTo>
                  <a:pt x="1077" y="118"/>
                </a:lnTo>
                <a:lnTo>
                  <a:pt x="1101" y="116"/>
                </a:lnTo>
                <a:lnTo>
                  <a:pt x="1137" y="91"/>
                </a:lnTo>
                <a:lnTo>
                  <a:pt x="1172" y="66"/>
                </a:lnTo>
                <a:lnTo>
                  <a:pt x="1210" y="43"/>
                </a:lnTo>
                <a:lnTo>
                  <a:pt x="1247" y="19"/>
                </a:lnTo>
                <a:lnTo>
                  <a:pt x="1280" y="25"/>
                </a:lnTo>
                <a:lnTo>
                  <a:pt x="1312" y="30"/>
                </a:lnTo>
                <a:lnTo>
                  <a:pt x="1329" y="34"/>
                </a:lnTo>
                <a:lnTo>
                  <a:pt x="1344" y="35"/>
                </a:lnTo>
                <a:lnTo>
                  <a:pt x="1361" y="35"/>
                </a:lnTo>
                <a:lnTo>
                  <a:pt x="1378" y="35"/>
                </a:lnTo>
                <a:lnTo>
                  <a:pt x="1383" y="25"/>
                </a:lnTo>
                <a:lnTo>
                  <a:pt x="1390" y="16"/>
                </a:lnTo>
                <a:lnTo>
                  <a:pt x="1416" y="10"/>
                </a:lnTo>
                <a:lnTo>
                  <a:pt x="1444" y="3"/>
                </a:lnTo>
                <a:lnTo>
                  <a:pt x="1460" y="1"/>
                </a:lnTo>
                <a:lnTo>
                  <a:pt x="1474" y="0"/>
                </a:lnTo>
                <a:lnTo>
                  <a:pt x="1481" y="1"/>
                </a:lnTo>
                <a:lnTo>
                  <a:pt x="1487" y="3"/>
                </a:lnTo>
                <a:lnTo>
                  <a:pt x="1492" y="5"/>
                </a:lnTo>
                <a:lnTo>
                  <a:pt x="1499" y="8"/>
                </a:lnTo>
                <a:lnTo>
                  <a:pt x="1499" y="19"/>
                </a:lnTo>
                <a:lnTo>
                  <a:pt x="1500" y="30"/>
                </a:lnTo>
                <a:lnTo>
                  <a:pt x="1502" y="39"/>
                </a:lnTo>
                <a:lnTo>
                  <a:pt x="1504" y="46"/>
                </a:lnTo>
                <a:lnTo>
                  <a:pt x="1507" y="51"/>
                </a:lnTo>
                <a:lnTo>
                  <a:pt x="1511" y="55"/>
                </a:lnTo>
                <a:lnTo>
                  <a:pt x="1516" y="57"/>
                </a:lnTo>
                <a:lnTo>
                  <a:pt x="1521" y="59"/>
                </a:lnTo>
                <a:lnTo>
                  <a:pt x="1535" y="60"/>
                </a:lnTo>
                <a:lnTo>
                  <a:pt x="1551" y="57"/>
                </a:lnTo>
                <a:lnTo>
                  <a:pt x="1571" y="53"/>
                </a:lnTo>
                <a:lnTo>
                  <a:pt x="1593" y="49"/>
                </a:lnTo>
                <a:lnTo>
                  <a:pt x="1616" y="57"/>
                </a:lnTo>
                <a:lnTo>
                  <a:pt x="1634" y="62"/>
                </a:lnTo>
                <a:lnTo>
                  <a:pt x="1655" y="65"/>
                </a:lnTo>
                <a:lnTo>
                  <a:pt x="1689" y="68"/>
                </a:lnTo>
                <a:lnTo>
                  <a:pt x="1694" y="79"/>
                </a:lnTo>
                <a:lnTo>
                  <a:pt x="1699" y="90"/>
                </a:lnTo>
                <a:lnTo>
                  <a:pt x="1705" y="99"/>
                </a:lnTo>
                <a:lnTo>
                  <a:pt x="1711" y="108"/>
                </a:lnTo>
                <a:lnTo>
                  <a:pt x="1716" y="116"/>
                </a:lnTo>
                <a:lnTo>
                  <a:pt x="1723" y="122"/>
                </a:lnTo>
                <a:lnTo>
                  <a:pt x="1731" y="129"/>
                </a:lnTo>
                <a:lnTo>
                  <a:pt x="1737" y="135"/>
                </a:lnTo>
                <a:lnTo>
                  <a:pt x="1745" y="139"/>
                </a:lnTo>
                <a:lnTo>
                  <a:pt x="1753" y="144"/>
                </a:lnTo>
                <a:lnTo>
                  <a:pt x="1762" y="148"/>
                </a:lnTo>
                <a:lnTo>
                  <a:pt x="1770" y="151"/>
                </a:lnTo>
                <a:lnTo>
                  <a:pt x="1788" y="156"/>
                </a:lnTo>
                <a:lnTo>
                  <a:pt x="1806" y="160"/>
                </a:lnTo>
                <a:lnTo>
                  <a:pt x="1826" y="161"/>
                </a:lnTo>
                <a:lnTo>
                  <a:pt x="1845" y="161"/>
                </a:lnTo>
                <a:lnTo>
                  <a:pt x="1866" y="161"/>
                </a:lnTo>
                <a:lnTo>
                  <a:pt x="1887" y="160"/>
                </a:lnTo>
                <a:lnTo>
                  <a:pt x="1930" y="159"/>
                </a:lnTo>
                <a:lnTo>
                  <a:pt x="1973" y="157"/>
                </a:lnTo>
                <a:lnTo>
                  <a:pt x="1978" y="147"/>
                </a:lnTo>
                <a:lnTo>
                  <a:pt x="1983" y="137"/>
                </a:lnTo>
                <a:lnTo>
                  <a:pt x="1993" y="138"/>
                </a:lnTo>
                <a:lnTo>
                  <a:pt x="2002" y="140"/>
                </a:lnTo>
                <a:lnTo>
                  <a:pt x="2010" y="144"/>
                </a:lnTo>
                <a:lnTo>
                  <a:pt x="2019" y="150"/>
                </a:lnTo>
                <a:lnTo>
                  <a:pt x="2034" y="161"/>
                </a:lnTo>
                <a:lnTo>
                  <a:pt x="2049" y="173"/>
                </a:lnTo>
                <a:lnTo>
                  <a:pt x="2060" y="173"/>
                </a:lnTo>
                <a:lnTo>
                  <a:pt x="2070" y="173"/>
                </a:lnTo>
                <a:lnTo>
                  <a:pt x="2082" y="173"/>
                </a:lnTo>
                <a:lnTo>
                  <a:pt x="2094" y="173"/>
                </a:lnTo>
                <a:lnTo>
                  <a:pt x="2099" y="166"/>
                </a:lnTo>
                <a:lnTo>
                  <a:pt x="2103" y="159"/>
                </a:lnTo>
                <a:lnTo>
                  <a:pt x="2105" y="150"/>
                </a:lnTo>
                <a:lnTo>
                  <a:pt x="2108" y="142"/>
                </a:lnTo>
                <a:lnTo>
                  <a:pt x="2109" y="122"/>
                </a:lnTo>
                <a:lnTo>
                  <a:pt x="2110" y="104"/>
                </a:lnTo>
                <a:lnTo>
                  <a:pt x="2126" y="98"/>
                </a:lnTo>
                <a:lnTo>
                  <a:pt x="2138" y="91"/>
                </a:lnTo>
                <a:lnTo>
                  <a:pt x="2143" y="86"/>
                </a:lnTo>
                <a:lnTo>
                  <a:pt x="2148" y="81"/>
                </a:lnTo>
                <a:lnTo>
                  <a:pt x="2153" y="74"/>
                </a:lnTo>
                <a:lnTo>
                  <a:pt x="2159" y="68"/>
                </a:lnTo>
                <a:lnTo>
                  <a:pt x="2164" y="68"/>
                </a:lnTo>
                <a:lnTo>
                  <a:pt x="2170" y="68"/>
                </a:lnTo>
                <a:lnTo>
                  <a:pt x="2166" y="82"/>
                </a:lnTo>
                <a:lnTo>
                  <a:pt x="2165" y="96"/>
                </a:lnTo>
                <a:lnTo>
                  <a:pt x="2162" y="111"/>
                </a:lnTo>
                <a:lnTo>
                  <a:pt x="2162" y="125"/>
                </a:lnTo>
                <a:lnTo>
                  <a:pt x="2162" y="139"/>
                </a:lnTo>
                <a:lnTo>
                  <a:pt x="2164" y="152"/>
                </a:lnTo>
                <a:lnTo>
                  <a:pt x="2165" y="165"/>
                </a:lnTo>
                <a:lnTo>
                  <a:pt x="2168" y="179"/>
                </a:lnTo>
                <a:lnTo>
                  <a:pt x="2172" y="193"/>
                </a:lnTo>
                <a:lnTo>
                  <a:pt x="2177" y="206"/>
                </a:lnTo>
                <a:lnTo>
                  <a:pt x="2182" y="219"/>
                </a:lnTo>
                <a:lnTo>
                  <a:pt x="2187" y="232"/>
                </a:lnTo>
                <a:lnTo>
                  <a:pt x="2195" y="243"/>
                </a:lnTo>
                <a:lnTo>
                  <a:pt x="2203" y="256"/>
                </a:lnTo>
                <a:lnTo>
                  <a:pt x="2211" y="268"/>
                </a:lnTo>
                <a:lnTo>
                  <a:pt x="2220" y="281"/>
                </a:lnTo>
                <a:lnTo>
                  <a:pt x="2221" y="310"/>
                </a:lnTo>
                <a:lnTo>
                  <a:pt x="2222" y="337"/>
                </a:lnTo>
                <a:lnTo>
                  <a:pt x="2225" y="366"/>
                </a:lnTo>
                <a:lnTo>
                  <a:pt x="2226" y="394"/>
                </a:lnTo>
                <a:lnTo>
                  <a:pt x="2228" y="423"/>
                </a:lnTo>
                <a:lnTo>
                  <a:pt x="2229" y="451"/>
                </a:lnTo>
                <a:lnTo>
                  <a:pt x="2230" y="481"/>
                </a:lnTo>
                <a:lnTo>
                  <a:pt x="2231" y="510"/>
                </a:lnTo>
                <a:lnTo>
                  <a:pt x="2228" y="531"/>
                </a:lnTo>
                <a:lnTo>
                  <a:pt x="2224" y="550"/>
                </a:lnTo>
                <a:lnTo>
                  <a:pt x="2221" y="568"/>
                </a:lnTo>
                <a:lnTo>
                  <a:pt x="2217" y="592"/>
                </a:lnTo>
                <a:lnTo>
                  <a:pt x="2215" y="622"/>
                </a:lnTo>
                <a:lnTo>
                  <a:pt x="2211" y="663"/>
                </a:lnTo>
                <a:lnTo>
                  <a:pt x="2207" y="717"/>
                </a:lnTo>
                <a:lnTo>
                  <a:pt x="2200" y="788"/>
                </a:lnTo>
                <a:lnTo>
                  <a:pt x="2178" y="807"/>
                </a:lnTo>
                <a:lnTo>
                  <a:pt x="2156" y="825"/>
                </a:lnTo>
                <a:lnTo>
                  <a:pt x="2144" y="834"/>
                </a:lnTo>
                <a:lnTo>
                  <a:pt x="2133" y="842"/>
                </a:lnTo>
                <a:lnTo>
                  <a:pt x="2121" y="848"/>
                </a:lnTo>
                <a:lnTo>
                  <a:pt x="2108" y="853"/>
                </a:lnTo>
                <a:lnTo>
                  <a:pt x="2104" y="877"/>
                </a:lnTo>
                <a:lnTo>
                  <a:pt x="2101" y="898"/>
                </a:lnTo>
                <a:lnTo>
                  <a:pt x="2100" y="908"/>
                </a:lnTo>
                <a:lnTo>
                  <a:pt x="2101" y="918"/>
                </a:lnTo>
                <a:lnTo>
                  <a:pt x="2103" y="930"/>
                </a:lnTo>
                <a:lnTo>
                  <a:pt x="2105" y="942"/>
                </a:lnTo>
                <a:lnTo>
                  <a:pt x="2114" y="946"/>
                </a:lnTo>
                <a:lnTo>
                  <a:pt x="2125" y="950"/>
                </a:lnTo>
                <a:lnTo>
                  <a:pt x="2135" y="954"/>
                </a:lnTo>
                <a:lnTo>
                  <a:pt x="2146" y="957"/>
                </a:lnTo>
                <a:lnTo>
                  <a:pt x="2143" y="1008"/>
                </a:lnTo>
                <a:lnTo>
                  <a:pt x="2143" y="1056"/>
                </a:lnTo>
                <a:lnTo>
                  <a:pt x="2144" y="1068"/>
                </a:lnTo>
                <a:lnTo>
                  <a:pt x="2146" y="1080"/>
                </a:lnTo>
                <a:lnTo>
                  <a:pt x="2148" y="1091"/>
                </a:lnTo>
                <a:lnTo>
                  <a:pt x="2151" y="1103"/>
                </a:lnTo>
                <a:lnTo>
                  <a:pt x="2155" y="1114"/>
                </a:lnTo>
                <a:lnTo>
                  <a:pt x="2160" y="1124"/>
                </a:lnTo>
                <a:lnTo>
                  <a:pt x="2166" y="1134"/>
                </a:lnTo>
                <a:lnTo>
                  <a:pt x="2174" y="1145"/>
                </a:lnTo>
                <a:lnTo>
                  <a:pt x="2175" y="1180"/>
                </a:lnTo>
                <a:lnTo>
                  <a:pt x="2177" y="1216"/>
                </a:lnTo>
                <a:lnTo>
                  <a:pt x="2179" y="1253"/>
                </a:lnTo>
                <a:lnTo>
                  <a:pt x="2182" y="1289"/>
                </a:lnTo>
                <a:lnTo>
                  <a:pt x="2208" y="1309"/>
                </a:lnTo>
                <a:lnTo>
                  <a:pt x="2235" y="1329"/>
                </a:lnTo>
                <a:lnTo>
                  <a:pt x="2241" y="1336"/>
                </a:lnTo>
                <a:lnTo>
                  <a:pt x="2246" y="1343"/>
                </a:lnTo>
                <a:lnTo>
                  <a:pt x="2251" y="1349"/>
                </a:lnTo>
                <a:lnTo>
                  <a:pt x="2255" y="1356"/>
                </a:lnTo>
                <a:lnTo>
                  <a:pt x="2257" y="1363"/>
                </a:lnTo>
                <a:lnTo>
                  <a:pt x="2260" y="1371"/>
                </a:lnTo>
                <a:lnTo>
                  <a:pt x="2260" y="1379"/>
                </a:lnTo>
                <a:lnTo>
                  <a:pt x="2260" y="1388"/>
                </a:lnTo>
                <a:lnTo>
                  <a:pt x="2244" y="1397"/>
                </a:lnTo>
                <a:lnTo>
                  <a:pt x="2230" y="1408"/>
                </a:lnTo>
                <a:lnTo>
                  <a:pt x="2220" y="1418"/>
                </a:lnTo>
                <a:lnTo>
                  <a:pt x="2211" y="1428"/>
                </a:lnTo>
                <a:lnTo>
                  <a:pt x="2203" y="1440"/>
                </a:lnTo>
                <a:lnTo>
                  <a:pt x="2198" y="1452"/>
                </a:lnTo>
                <a:lnTo>
                  <a:pt x="2192" y="1463"/>
                </a:lnTo>
                <a:lnTo>
                  <a:pt x="2189" y="1475"/>
                </a:lnTo>
                <a:lnTo>
                  <a:pt x="2181" y="1500"/>
                </a:lnTo>
                <a:lnTo>
                  <a:pt x="2173" y="1525"/>
                </a:lnTo>
                <a:lnTo>
                  <a:pt x="2168" y="1536"/>
                </a:lnTo>
                <a:lnTo>
                  <a:pt x="2161" y="1549"/>
                </a:lnTo>
                <a:lnTo>
                  <a:pt x="2153" y="1560"/>
                </a:lnTo>
                <a:lnTo>
                  <a:pt x="2143" y="1571"/>
                </a:lnTo>
                <a:lnTo>
                  <a:pt x="2142" y="1588"/>
                </a:lnTo>
                <a:lnTo>
                  <a:pt x="2139" y="1605"/>
                </a:lnTo>
                <a:lnTo>
                  <a:pt x="2139" y="1622"/>
                </a:lnTo>
                <a:lnTo>
                  <a:pt x="2140" y="1639"/>
                </a:lnTo>
                <a:lnTo>
                  <a:pt x="2142" y="1657"/>
                </a:lnTo>
                <a:lnTo>
                  <a:pt x="2147" y="1673"/>
                </a:lnTo>
                <a:lnTo>
                  <a:pt x="2149" y="1681"/>
                </a:lnTo>
                <a:lnTo>
                  <a:pt x="2153" y="1689"/>
                </a:lnTo>
                <a:lnTo>
                  <a:pt x="2157" y="1696"/>
                </a:lnTo>
                <a:lnTo>
                  <a:pt x="2162" y="1704"/>
                </a:lnTo>
                <a:lnTo>
                  <a:pt x="2177" y="1705"/>
                </a:lnTo>
                <a:lnTo>
                  <a:pt x="2191" y="1709"/>
                </a:lnTo>
                <a:lnTo>
                  <a:pt x="2204" y="1712"/>
                </a:lnTo>
                <a:lnTo>
                  <a:pt x="2217" y="1717"/>
                </a:lnTo>
                <a:lnTo>
                  <a:pt x="2241" y="1726"/>
                </a:lnTo>
                <a:lnTo>
                  <a:pt x="2264" y="1738"/>
                </a:lnTo>
                <a:lnTo>
                  <a:pt x="2287" y="1748"/>
                </a:lnTo>
                <a:lnTo>
                  <a:pt x="2312" y="1757"/>
                </a:lnTo>
                <a:lnTo>
                  <a:pt x="2325" y="1761"/>
                </a:lnTo>
                <a:lnTo>
                  <a:pt x="2339" y="1765"/>
                </a:lnTo>
                <a:lnTo>
                  <a:pt x="2354" y="1768"/>
                </a:lnTo>
                <a:lnTo>
                  <a:pt x="2371" y="1769"/>
                </a:lnTo>
                <a:lnTo>
                  <a:pt x="2391" y="1777"/>
                </a:lnTo>
                <a:lnTo>
                  <a:pt x="2412" y="1784"/>
                </a:lnTo>
                <a:lnTo>
                  <a:pt x="2424" y="1785"/>
                </a:lnTo>
                <a:lnTo>
                  <a:pt x="2434" y="1787"/>
                </a:lnTo>
                <a:lnTo>
                  <a:pt x="2446" y="1787"/>
                </a:lnTo>
                <a:lnTo>
                  <a:pt x="2459" y="1786"/>
                </a:lnTo>
                <a:lnTo>
                  <a:pt x="2454" y="1804"/>
                </a:lnTo>
                <a:lnTo>
                  <a:pt x="2447" y="1819"/>
                </a:lnTo>
                <a:lnTo>
                  <a:pt x="2445" y="1825"/>
                </a:lnTo>
                <a:lnTo>
                  <a:pt x="2441" y="1830"/>
                </a:lnTo>
                <a:lnTo>
                  <a:pt x="2436" y="1836"/>
                </a:lnTo>
                <a:lnTo>
                  <a:pt x="2432" y="1839"/>
                </a:lnTo>
                <a:lnTo>
                  <a:pt x="2420" y="1849"/>
                </a:lnTo>
                <a:lnTo>
                  <a:pt x="2407" y="1855"/>
                </a:lnTo>
                <a:lnTo>
                  <a:pt x="2391" y="1862"/>
                </a:lnTo>
                <a:lnTo>
                  <a:pt x="2375" y="1867"/>
                </a:lnTo>
                <a:lnTo>
                  <a:pt x="2371" y="1875"/>
                </a:lnTo>
                <a:lnTo>
                  <a:pt x="2371" y="1882"/>
                </a:lnTo>
                <a:lnTo>
                  <a:pt x="2346" y="1878"/>
                </a:lnTo>
                <a:lnTo>
                  <a:pt x="2321" y="1873"/>
                </a:lnTo>
                <a:lnTo>
                  <a:pt x="2309" y="1871"/>
                </a:lnTo>
                <a:lnTo>
                  <a:pt x="2298" y="1868"/>
                </a:lnTo>
                <a:lnTo>
                  <a:pt x="2287" y="1867"/>
                </a:lnTo>
                <a:lnTo>
                  <a:pt x="2276" y="1867"/>
                </a:lnTo>
                <a:lnTo>
                  <a:pt x="2268" y="1880"/>
                </a:lnTo>
                <a:lnTo>
                  <a:pt x="2259" y="1893"/>
                </a:lnTo>
                <a:lnTo>
                  <a:pt x="2252" y="1907"/>
                </a:lnTo>
                <a:lnTo>
                  <a:pt x="2244" y="1921"/>
                </a:lnTo>
                <a:lnTo>
                  <a:pt x="2231" y="1951"/>
                </a:lnTo>
                <a:lnTo>
                  <a:pt x="2218" y="1983"/>
                </a:lnTo>
                <a:lnTo>
                  <a:pt x="2208" y="2015"/>
                </a:lnTo>
                <a:lnTo>
                  <a:pt x="2198" y="2046"/>
                </a:lnTo>
                <a:lnTo>
                  <a:pt x="2189" y="2076"/>
                </a:lnTo>
                <a:lnTo>
                  <a:pt x="2179" y="2106"/>
                </a:lnTo>
                <a:lnTo>
                  <a:pt x="2181" y="2118"/>
                </a:lnTo>
                <a:lnTo>
                  <a:pt x="2182" y="2130"/>
                </a:lnTo>
                <a:lnTo>
                  <a:pt x="2186" y="2140"/>
                </a:lnTo>
                <a:lnTo>
                  <a:pt x="2190" y="2149"/>
                </a:lnTo>
                <a:lnTo>
                  <a:pt x="2199" y="2169"/>
                </a:lnTo>
                <a:lnTo>
                  <a:pt x="2208" y="2187"/>
                </a:lnTo>
                <a:lnTo>
                  <a:pt x="2213" y="2196"/>
                </a:lnTo>
                <a:lnTo>
                  <a:pt x="2216" y="2205"/>
                </a:lnTo>
                <a:lnTo>
                  <a:pt x="2218" y="2214"/>
                </a:lnTo>
                <a:lnTo>
                  <a:pt x="2220" y="2225"/>
                </a:lnTo>
                <a:lnTo>
                  <a:pt x="2220" y="2236"/>
                </a:lnTo>
                <a:lnTo>
                  <a:pt x="2218" y="2248"/>
                </a:lnTo>
                <a:lnTo>
                  <a:pt x="2215" y="2261"/>
                </a:lnTo>
                <a:lnTo>
                  <a:pt x="2208" y="2275"/>
                </a:lnTo>
                <a:lnTo>
                  <a:pt x="2207" y="2299"/>
                </a:lnTo>
                <a:lnTo>
                  <a:pt x="2203" y="2322"/>
                </a:lnTo>
                <a:lnTo>
                  <a:pt x="2198" y="2344"/>
                </a:lnTo>
                <a:lnTo>
                  <a:pt x="2190" y="2366"/>
                </a:lnTo>
                <a:lnTo>
                  <a:pt x="2181" y="2387"/>
                </a:lnTo>
                <a:lnTo>
                  <a:pt x="2172" y="2407"/>
                </a:lnTo>
                <a:lnTo>
                  <a:pt x="2160" y="2426"/>
                </a:lnTo>
                <a:lnTo>
                  <a:pt x="2147" y="2444"/>
                </a:lnTo>
                <a:lnTo>
                  <a:pt x="2134" y="2463"/>
                </a:lnTo>
                <a:lnTo>
                  <a:pt x="2118" y="2480"/>
                </a:lnTo>
                <a:lnTo>
                  <a:pt x="2103" y="2495"/>
                </a:lnTo>
                <a:lnTo>
                  <a:pt x="2086" y="2511"/>
                </a:lnTo>
                <a:lnTo>
                  <a:pt x="2069" y="2526"/>
                </a:lnTo>
                <a:lnTo>
                  <a:pt x="2051" y="2541"/>
                </a:lnTo>
                <a:lnTo>
                  <a:pt x="2031" y="2554"/>
                </a:lnTo>
                <a:lnTo>
                  <a:pt x="2013" y="2568"/>
                </a:lnTo>
                <a:lnTo>
                  <a:pt x="2002" y="2572"/>
                </a:lnTo>
                <a:lnTo>
                  <a:pt x="1992" y="2576"/>
                </a:lnTo>
                <a:lnTo>
                  <a:pt x="1984" y="2581"/>
                </a:lnTo>
                <a:lnTo>
                  <a:pt x="1975" y="2586"/>
                </a:lnTo>
                <a:lnTo>
                  <a:pt x="1969" y="2593"/>
                </a:lnTo>
                <a:lnTo>
                  <a:pt x="1962" y="2599"/>
                </a:lnTo>
                <a:lnTo>
                  <a:pt x="1956" y="2606"/>
                </a:lnTo>
                <a:lnTo>
                  <a:pt x="1950" y="2613"/>
                </a:lnTo>
                <a:lnTo>
                  <a:pt x="1940" y="2630"/>
                </a:lnTo>
                <a:lnTo>
                  <a:pt x="1934" y="2647"/>
                </a:lnTo>
                <a:lnTo>
                  <a:pt x="1928" y="2667"/>
                </a:lnTo>
                <a:lnTo>
                  <a:pt x="1924" y="2686"/>
                </a:lnTo>
                <a:lnTo>
                  <a:pt x="1922" y="2707"/>
                </a:lnTo>
                <a:lnTo>
                  <a:pt x="1922" y="2728"/>
                </a:lnTo>
                <a:lnTo>
                  <a:pt x="1922" y="2750"/>
                </a:lnTo>
                <a:lnTo>
                  <a:pt x="1923" y="2771"/>
                </a:lnTo>
                <a:lnTo>
                  <a:pt x="1927" y="2814"/>
                </a:lnTo>
                <a:lnTo>
                  <a:pt x="1931" y="2852"/>
                </a:lnTo>
                <a:lnTo>
                  <a:pt x="1956" y="2881"/>
                </a:lnTo>
                <a:lnTo>
                  <a:pt x="1970" y="2898"/>
                </a:lnTo>
                <a:lnTo>
                  <a:pt x="1978" y="2911"/>
                </a:lnTo>
                <a:lnTo>
                  <a:pt x="1986" y="2927"/>
                </a:lnTo>
                <a:lnTo>
                  <a:pt x="2030" y="2932"/>
                </a:lnTo>
                <a:lnTo>
                  <a:pt x="2054" y="2936"/>
                </a:lnTo>
                <a:lnTo>
                  <a:pt x="2069" y="2940"/>
                </a:lnTo>
                <a:lnTo>
                  <a:pt x="2082" y="2944"/>
                </a:lnTo>
                <a:lnTo>
                  <a:pt x="2083" y="2971"/>
                </a:lnTo>
                <a:lnTo>
                  <a:pt x="2084" y="3000"/>
                </a:lnTo>
                <a:lnTo>
                  <a:pt x="2086" y="3027"/>
                </a:lnTo>
                <a:lnTo>
                  <a:pt x="2087" y="3056"/>
                </a:lnTo>
                <a:lnTo>
                  <a:pt x="2069" y="3055"/>
                </a:lnTo>
                <a:lnTo>
                  <a:pt x="2051" y="3055"/>
                </a:lnTo>
                <a:lnTo>
                  <a:pt x="2032" y="3055"/>
                </a:lnTo>
                <a:lnTo>
                  <a:pt x="2014" y="3055"/>
                </a:lnTo>
                <a:lnTo>
                  <a:pt x="2004" y="3078"/>
                </a:lnTo>
                <a:lnTo>
                  <a:pt x="1996" y="3096"/>
                </a:lnTo>
                <a:lnTo>
                  <a:pt x="1992" y="3103"/>
                </a:lnTo>
                <a:lnTo>
                  <a:pt x="1989" y="3109"/>
                </a:lnTo>
                <a:lnTo>
                  <a:pt x="1988" y="3114"/>
                </a:lnTo>
                <a:lnTo>
                  <a:pt x="1988" y="3120"/>
                </a:lnTo>
                <a:lnTo>
                  <a:pt x="1988" y="3125"/>
                </a:lnTo>
                <a:lnTo>
                  <a:pt x="1989" y="3130"/>
                </a:lnTo>
                <a:lnTo>
                  <a:pt x="1993" y="3135"/>
                </a:lnTo>
                <a:lnTo>
                  <a:pt x="1997" y="3143"/>
                </a:lnTo>
                <a:lnTo>
                  <a:pt x="2010" y="3160"/>
                </a:lnTo>
                <a:lnTo>
                  <a:pt x="2031" y="3183"/>
                </a:lnTo>
                <a:lnTo>
                  <a:pt x="2036" y="3195"/>
                </a:lnTo>
                <a:lnTo>
                  <a:pt x="2041" y="3207"/>
                </a:lnTo>
                <a:lnTo>
                  <a:pt x="2045" y="3211"/>
                </a:lnTo>
                <a:lnTo>
                  <a:pt x="2051" y="3216"/>
                </a:lnTo>
                <a:lnTo>
                  <a:pt x="2056" y="3218"/>
                </a:lnTo>
                <a:lnTo>
                  <a:pt x="2062" y="3221"/>
                </a:lnTo>
                <a:lnTo>
                  <a:pt x="2064" y="3235"/>
                </a:lnTo>
                <a:lnTo>
                  <a:pt x="2065" y="3250"/>
                </a:lnTo>
                <a:lnTo>
                  <a:pt x="2066" y="3265"/>
                </a:lnTo>
                <a:lnTo>
                  <a:pt x="2068" y="3280"/>
                </a:lnTo>
                <a:lnTo>
                  <a:pt x="2051" y="3286"/>
                </a:lnTo>
                <a:lnTo>
                  <a:pt x="2035" y="3293"/>
                </a:lnTo>
                <a:lnTo>
                  <a:pt x="2022" y="3300"/>
                </a:lnTo>
                <a:lnTo>
                  <a:pt x="2012" y="3308"/>
                </a:lnTo>
                <a:lnTo>
                  <a:pt x="2002" y="3319"/>
                </a:lnTo>
                <a:lnTo>
                  <a:pt x="1995" y="3332"/>
                </a:lnTo>
                <a:lnTo>
                  <a:pt x="1989" y="3347"/>
                </a:lnTo>
                <a:lnTo>
                  <a:pt x="1983" y="3365"/>
                </a:lnTo>
                <a:lnTo>
                  <a:pt x="1966" y="3390"/>
                </a:lnTo>
                <a:lnTo>
                  <a:pt x="1954" y="3403"/>
                </a:lnTo>
                <a:lnTo>
                  <a:pt x="1948" y="3410"/>
                </a:lnTo>
                <a:lnTo>
                  <a:pt x="1939" y="3414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59" name="Freeform 24"/>
          <p:cNvSpPr>
            <a:spLocks/>
          </p:cNvSpPr>
          <p:nvPr/>
        </p:nvSpPr>
        <p:spPr bwMode="auto">
          <a:xfrm>
            <a:off x="8667750" y="3860800"/>
            <a:ext cx="33338" cy="90488"/>
          </a:xfrm>
          <a:custGeom>
            <a:avLst/>
            <a:gdLst>
              <a:gd name="T0" fmla="*/ 2147483647 w 85"/>
              <a:gd name="T1" fmla="*/ 2147483647 h 225"/>
              <a:gd name="T2" fmla="*/ 2147483647 w 85"/>
              <a:gd name="T3" fmla="*/ 2147483647 h 225"/>
              <a:gd name="T4" fmla="*/ 2147483647 w 85"/>
              <a:gd name="T5" fmla="*/ 2147483647 h 225"/>
              <a:gd name="T6" fmla="*/ 2147483647 w 85"/>
              <a:gd name="T7" fmla="*/ 2147483647 h 225"/>
              <a:gd name="T8" fmla="*/ 2147483647 w 85"/>
              <a:gd name="T9" fmla="*/ 2147483647 h 225"/>
              <a:gd name="T10" fmla="*/ 0 w 85"/>
              <a:gd name="T11" fmla="*/ 2147483647 h 225"/>
              <a:gd name="T12" fmla="*/ 0 w 85"/>
              <a:gd name="T13" fmla="*/ 2147483647 h 225"/>
              <a:gd name="T14" fmla="*/ 2147483647 w 85"/>
              <a:gd name="T15" fmla="*/ 2147483647 h 225"/>
              <a:gd name="T16" fmla="*/ 2147483647 w 85"/>
              <a:gd name="T17" fmla="*/ 2147483647 h 225"/>
              <a:gd name="T18" fmla="*/ 2147483647 w 85"/>
              <a:gd name="T19" fmla="*/ 2147483647 h 225"/>
              <a:gd name="T20" fmla="*/ 2147483647 w 85"/>
              <a:gd name="T21" fmla="*/ 2147483647 h 225"/>
              <a:gd name="T22" fmla="*/ 2147483647 w 85"/>
              <a:gd name="T23" fmla="*/ 2147483647 h 225"/>
              <a:gd name="T24" fmla="*/ 2147483647 w 85"/>
              <a:gd name="T25" fmla="*/ 2147483647 h 225"/>
              <a:gd name="T26" fmla="*/ 2147483647 w 85"/>
              <a:gd name="T27" fmla="*/ 2147483647 h 225"/>
              <a:gd name="T28" fmla="*/ 2147483647 w 85"/>
              <a:gd name="T29" fmla="*/ 2147483647 h 225"/>
              <a:gd name="T30" fmla="*/ 2147483647 w 85"/>
              <a:gd name="T31" fmla="*/ 2147483647 h 225"/>
              <a:gd name="T32" fmla="*/ 2147483647 w 85"/>
              <a:gd name="T33" fmla="*/ 0 h 225"/>
              <a:gd name="T34" fmla="*/ 2147483647 w 85"/>
              <a:gd name="T35" fmla="*/ 0 h 225"/>
              <a:gd name="T36" fmla="*/ 2147483647 w 85"/>
              <a:gd name="T37" fmla="*/ 0 h 225"/>
              <a:gd name="T38" fmla="*/ 2147483647 w 85"/>
              <a:gd name="T39" fmla="*/ 2147483647 h 225"/>
              <a:gd name="T40" fmla="*/ 2147483647 w 85"/>
              <a:gd name="T41" fmla="*/ 2147483647 h 225"/>
              <a:gd name="T42" fmla="*/ 2147483647 w 85"/>
              <a:gd name="T43" fmla="*/ 2147483647 h 225"/>
              <a:gd name="T44" fmla="*/ 2147483647 w 85"/>
              <a:gd name="T45" fmla="*/ 2147483647 h 225"/>
              <a:gd name="T46" fmla="*/ 2147483647 w 85"/>
              <a:gd name="T47" fmla="*/ 2147483647 h 225"/>
              <a:gd name="T48" fmla="*/ 2147483647 w 85"/>
              <a:gd name="T49" fmla="*/ 2147483647 h 225"/>
              <a:gd name="T50" fmla="*/ 2147483647 w 85"/>
              <a:gd name="T51" fmla="*/ 2147483647 h 225"/>
              <a:gd name="T52" fmla="*/ 2147483647 w 85"/>
              <a:gd name="T53" fmla="*/ 2147483647 h 225"/>
              <a:gd name="T54" fmla="*/ 2147483647 w 85"/>
              <a:gd name="T55" fmla="*/ 2147483647 h 225"/>
              <a:gd name="T56" fmla="*/ 2147483647 w 85"/>
              <a:gd name="T57" fmla="*/ 2147483647 h 225"/>
              <a:gd name="T58" fmla="*/ 2147483647 w 85"/>
              <a:gd name="T59" fmla="*/ 2147483647 h 225"/>
              <a:gd name="T60" fmla="*/ 2147483647 w 85"/>
              <a:gd name="T61" fmla="*/ 2147483647 h 225"/>
              <a:gd name="T62" fmla="*/ 2147483647 w 85"/>
              <a:gd name="T63" fmla="*/ 2147483647 h 225"/>
              <a:gd name="T64" fmla="*/ 2147483647 w 85"/>
              <a:gd name="T65" fmla="*/ 2147483647 h 225"/>
              <a:gd name="T66" fmla="*/ 2147483647 w 85"/>
              <a:gd name="T67" fmla="*/ 2147483647 h 225"/>
              <a:gd name="T68" fmla="*/ 2147483647 w 85"/>
              <a:gd name="T69" fmla="*/ 2147483647 h 225"/>
              <a:gd name="T70" fmla="*/ 2147483647 w 85"/>
              <a:gd name="T71" fmla="*/ 2147483647 h 225"/>
              <a:gd name="T72" fmla="*/ 2147483647 w 85"/>
              <a:gd name="T73" fmla="*/ 2147483647 h 225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85"/>
              <a:gd name="T112" fmla="*/ 0 h 225"/>
              <a:gd name="T113" fmla="*/ 85 w 85"/>
              <a:gd name="T114" fmla="*/ 225 h 225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85" h="225">
                <a:moveTo>
                  <a:pt x="29" y="225"/>
                </a:moveTo>
                <a:lnTo>
                  <a:pt x="19" y="218"/>
                </a:lnTo>
                <a:lnTo>
                  <a:pt x="11" y="212"/>
                </a:lnTo>
                <a:lnTo>
                  <a:pt x="6" y="204"/>
                </a:lnTo>
                <a:lnTo>
                  <a:pt x="2" y="196"/>
                </a:lnTo>
                <a:lnTo>
                  <a:pt x="0" y="188"/>
                </a:lnTo>
                <a:lnTo>
                  <a:pt x="0" y="179"/>
                </a:lnTo>
                <a:lnTo>
                  <a:pt x="2" y="170"/>
                </a:lnTo>
                <a:lnTo>
                  <a:pt x="4" y="161"/>
                </a:lnTo>
                <a:lnTo>
                  <a:pt x="22" y="124"/>
                </a:lnTo>
                <a:lnTo>
                  <a:pt x="38" y="93"/>
                </a:lnTo>
                <a:lnTo>
                  <a:pt x="33" y="70"/>
                </a:lnTo>
                <a:lnTo>
                  <a:pt x="28" y="46"/>
                </a:lnTo>
                <a:lnTo>
                  <a:pt x="26" y="36"/>
                </a:lnTo>
                <a:lnTo>
                  <a:pt x="26" y="24"/>
                </a:lnTo>
                <a:lnTo>
                  <a:pt x="26" y="11"/>
                </a:lnTo>
                <a:lnTo>
                  <a:pt x="26" y="0"/>
                </a:lnTo>
                <a:lnTo>
                  <a:pt x="42" y="0"/>
                </a:lnTo>
                <a:lnTo>
                  <a:pt x="58" y="0"/>
                </a:lnTo>
                <a:lnTo>
                  <a:pt x="67" y="16"/>
                </a:lnTo>
                <a:lnTo>
                  <a:pt x="74" y="37"/>
                </a:lnTo>
                <a:lnTo>
                  <a:pt x="81" y="61"/>
                </a:lnTo>
                <a:lnTo>
                  <a:pt x="85" y="85"/>
                </a:lnTo>
                <a:lnTo>
                  <a:pt x="85" y="97"/>
                </a:lnTo>
                <a:lnTo>
                  <a:pt x="85" y="110"/>
                </a:lnTo>
                <a:lnTo>
                  <a:pt x="84" y="120"/>
                </a:lnTo>
                <a:lnTo>
                  <a:pt x="82" y="132"/>
                </a:lnTo>
                <a:lnTo>
                  <a:pt x="78" y="141"/>
                </a:lnTo>
                <a:lnTo>
                  <a:pt x="73" y="150"/>
                </a:lnTo>
                <a:lnTo>
                  <a:pt x="68" y="158"/>
                </a:lnTo>
                <a:lnTo>
                  <a:pt x="60" y="165"/>
                </a:lnTo>
                <a:lnTo>
                  <a:pt x="55" y="178"/>
                </a:lnTo>
                <a:lnTo>
                  <a:pt x="51" y="191"/>
                </a:lnTo>
                <a:lnTo>
                  <a:pt x="47" y="204"/>
                </a:lnTo>
                <a:lnTo>
                  <a:pt x="42" y="218"/>
                </a:lnTo>
                <a:lnTo>
                  <a:pt x="34" y="221"/>
                </a:lnTo>
                <a:lnTo>
                  <a:pt x="29" y="225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60" name="Freeform 25"/>
          <p:cNvSpPr>
            <a:spLocks/>
          </p:cNvSpPr>
          <p:nvPr/>
        </p:nvSpPr>
        <p:spPr bwMode="auto">
          <a:xfrm>
            <a:off x="2754313" y="3619500"/>
            <a:ext cx="406400" cy="306388"/>
          </a:xfrm>
          <a:custGeom>
            <a:avLst/>
            <a:gdLst>
              <a:gd name="T0" fmla="*/ 2147483647 w 1026"/>
              <a:gd name="T1" fmla="*/ 2147483647 h 773"/>
              <a:gd name="T2" fmla="*/ 2147483647 w 1026"/>
              <a:gd name="T3" fmla="*/ 2147483647 h 773"/>
              <a:gd name="T4" fmla="*/ 2147483647 w 1026"/>
              <a:gd name="T5" fmla="*/ 2147483647 h 773"/>
              <a:gd name="T6" fmla="*/ 2147483647 w 1026"/>
              <a:gd name="T7" fmla="*/ 2147483647 h 773"/>
              <a:gd name="T8" fmla="*/ 2147483647 w 1026"/>
              <a:gd name="T9" fmla="*/ 2147483647 h 773"/>
              <a:gd name="T10" fmla="*/ 2147483647 w 1026"/>
              <a:gd name="T11" fmla="*/ 2147483647 h 773"/>
              <a:gd name="T12" fmla="*/ 2147483647 w 1026"/>
              <a:gd name="T13" fmla="*/ 2147483647 h 773"/>
              <a:gd name="T14" fmla="*/ 2147483647 w 1026"/>
              <a:gd name="T15" fmla="*/ 2147483647 h 773"/>
              <a:gd name="T16" fmla="*/ 2147483647 w 1026"/>
              <a:gd name="T17" fmla="*/ 2147483647 h 773"/>
              <a:gd name="T18" fmla="*/ 2147483647 w 1026"/>
              <a:gd name="T19" fmla="*/ 2147483647 h 773"/>
              <a:gd name="T20" fmla="*/ 2147483647 w 1026"/>
              <a:gd name="T21" fmla="*/ 2147483647 h 773"/>
              <a:gd name="T22" fmla="*/ 2147483647 w 1026"/>
              <a:gd name="T23" fmla="*/ 2147483647 h 773"/>
              <a:gd name="T24" fmla="*/ 2147483647 w 1026"/>
              <a:gd name="T25" fmla="*/ 2147483647 h 773"/>
              <a:gd name="T26" fmla="*/ 2147483647 w 1026"/>
              <a:gd name="T27" fmla="*/ 2147483647 h 773"/>
              <a:gd name="T28" fmla="*/ 2147483647 w 1026"/>
              <a:gd name="T29" fmla="*/ 2147483647 h 773"/>
              <a:gd name="T30" fmla="*/ 2147483647 w 1026"/>
              <a:gd name="T31" fmla="*/ 2147483647 h 773"/>
              <a:gd name="T32" fmla="*/ 2147483647 w 1026"/>
              <a:gd name="T33" fmla="*/ 2147483647 h 773"/>
              <a:gd name="T34" fmla="*/ 2147483647 w 1026"/>
              <a:gd name="T35" fmla="*/ 2147483647 h 773"/>
              <a:gd name="T36" fmla="*/ 2147483647 w 1026"/>
              <a:gd name="T37" fmla="*/ 2147483647 h 773"/>
              <a:gd name="T38" fmla="*/ 2147483647 w 1026"/>
              <a:gd name="T39" fmla="*/ 2147483647 h 773"/>
              <a:gd name="T40" fmla="*/ 2147483647 w 1026"/>
              <a:gd name="T41" fmla="*/ 2147483647 h 773"/>
              <a:gd name="T42" fmla="*/ 2147483647 w 1026"/>
              <a:gd name="T43" fmla="*/ 2147483647 h 773"/>
              <a:gd name="T44" fmla="*/ 2147483647 w 1026"/>
              <a:gd name="T45" fmla="*/ 2147483647 h 773"/>
              <a:gd name="T46" fmla="*/ 2147483647 w 1026"/>
              <a:gd name="T47" fmla="*/ 2147483647 h 773"/>
              <a:gd name="T48" fmla="*/ 2147483647 w 1026"/>
              <a:gd name="T49" fmla="*/ 2147483647 h 773"/>
              <a:gd name="T50" fmla="*/ 2147483647 w 1026"/>
              <a:gd name="T51" fmla="*/ 0 h 773"/>
              <a:gd name="T52" fmla="*/ 2147483647 w 1026"/>
              <a:gd name="T53" fmla="*/ 2147483647 h 773"/>
              <a:gd name="T54" fmla="*/ 2147483647 w 1026"/>
              <a:gd name="T55" fmla="*/ 2147483647 h 773"/>
              <a:gd name="T56" fmla="*/ 2147483647 w 1026"/>
              <a:gd name="T57" fmla="*/ 2147483647 h 773"/>
              <a:gd name="T58" fmla="*/ 2147483647 w 1026"/>
              <a:gd name="T59" fmla="*/ 2147483647 h 773"/>
              <a:gd name="T60" fmla="*/ 2147483647 w 1026"/>
              <a:gd name="T61" fmla="*/ 2147483647 h 773"/>
              <a:gd name="T62" fmla="*/ 2147483647 w 1026"/>
              <a:gd name="T63" fmla="*/ 2147483647 h 773"/>
              <a:gd name="T64" fmla="*/ 2147483647 w 1026"/>
              <a:gd name="T65" fmla="*/ 2147483647 h 773"/>
              <a:gd name="T66" fmla="*/ 2147483647 w 1026"/>
              <a:gd name="T67" fmla="*/ 2147483647 h 773"/>
              <a:gd name="T68" fmla="*/ 2147483647 w 1026"/>
              <a:gd name="T69" fmla="*/ 2147483647 h 773"/>
              <a:gd name="T70" fmla="*/ 2147483647 w 1026"/>
              <a:gd name="T71" fmla="*/ 2147483647 h 773"/>
              <a:gd name="T72" fmla="*/ 2147483647 w 1026"/>
              <a:gd name="T73" fmla="*/ 2147483647 h 773"/>
              <a:gd name="T74" fmla="*/ 2147483647 w 1026"/>
              <a:gd name="T75" fmla="*/ 2147483647 h 773"/>
              <a:gd name="T76" fmla="*/ 2147483647 w 1026"/>
              <a:gd name="T77" fmla="*/ 2147483647 h 773"/>
              <a:gd name="T78" fmla="*/ 2147483647 w 1026"/>
              <a:gd name="T79" fmla="*/ 2147483647 h 773"/>
              <a:gd name="T80" fmla="*/ 2147483647 w 1026"/>
              <a:gd name="T81" fmla="*/ 2147483647 h 773"/>
              <a:gd name="T82" fmla="*/ 2147483647 w 1026"/>
              <a:gd name="T83" fmla="*/ 2147483647 h 773"/>
              <a:gd name="T84" fmla="*/ 2147483647 w 1026"/>
              <a:gd name="T85" fmla="*/ 2147483647 h 773"/>
              <a:gd name="T86" fmla="*/ 2147483647 w 1026"/>
              <a:gd name="T87" fmla="*/ 2147483647 h 773"/>
              <a:gd name="T88" fmla="*/ 2147483647 w 1026"/>
              <a:gd name="T89" fmla="*/ 2147483647 h 773"/>
              <a:gd name="T90" fmla="*/ 2147483647 w 1026"/>
              <a:gd name="T91" fmla="*/ 2147483647 h 773"/>
              <a:gd name="T92" fmla="*/ 2147483647 w 1026"/>
              <a:gd name="T93" fmla="*/ 2147483647 h 773"/>
              <a:gd name="T94" fmla="*/ 2147483647 w 1026"/>
              <a:gd name="T95" fmla="*/ 2147483647 h 773"/>
              <a:gd name="T96" fmla="*/ 2147483647 w 1026"/>
              <a:gd name="T97" fmla="*/ 2147483647 h 773"/>
              <a:gd name="T98" fmla="*/ 2147483647 w 1026"/>
              <a:gd name="T99" fmla="*/ 2147483647 h 773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026"/>
              <a:gd name="T151" fmla="*/ 0 h 773"/>
              <a:gd name="T152" fmla="*/ 1026 w 1026"/>
              <a:gd name="T153" fmla="*/ 773 h 773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026" h="773">
                <a:moveTo>
                  <a:pt x="873" y="773"/>
                </a:moveTo>
                <a:lnTo>
                  <a:pt x="862" y="768"/>
                </a:lnTo>
                <a:lnTo>
                  <a:pt x="849" y="762"/>
                </a:lnTo>
                <a:lnTo>
                  <a:pt x="834" y="759"/>
                </a:lnTo>
                <a:lnTo>
                  <a:pt x="820" y="755"/>
                </a:lnTo>
                <a:lnTo>
                  <a:pt x="790" y="749"/>
                </a:lnTo>
                <a:lnTo>
                  <a:pt x="759" y="745"/>
                </a:lnTo>
                <a:lnTo>
                  <a:pt x="726" y="743"/>
                </a:lnTo>
                <a:lnTo>
                  <a:pt x="695" y="740"/>
                </a:lnTo>
                <a:lnTo>
                  <a:pt x="665" y="739"/>
                </a:lnTo>
                <a:lnTo>
                  <a:pt x="637" y="736"/>
                </a:lnTo>
                <a:lnTo>
                  <a:pt x="600" y="723"/>
                </a:lnTo>
                <a:lnTo>
                  <a:pt x="562" y="710"/>
                </a:lnTo>
                <a:lnTo>
                  <a:pt x="526" y="697"/>
                </a:lnTo>
                <a:lnTo>
                  <a:pt x="490" y="686"/>
                </a:lnTo>
                <a:lnTo>
                  <a:pt x="466" y="688"/>
                </a:lnTo>
                <a:lnTo>
                  <a:pt x="445" y="692"/>
                </a:lnTo>
                <a:lnTo>
                  <a:pt x="423" y="696"/>
                </a:lnTo>
                <a:lnTo>
                  <a:pt x="401" y="701"/>
                </a:lnTo>
                <a:lnTo>
                  <a:pt x="391" y="703"/>
                </a:lnTo>
                <a:lnTo>
                  <a:pt x="380" y="704"/>
                </a:lnTo>
                <a:lnTo>
                  <a:pt x="371" y="705"/>
                </a:lnTo>
                <a:lnTo>
                  <a:pt x="361" y="705"/>
                </a:lnTo>
                <a:lnTo>
                  <a:pt x="350" y="704"/>
                </a:lnTo>
                <a:lnTo>
                  <a:pt x="341" y="701"/>
                </a:lnTo>
                <a:lnTo>
                  <a:pt x="331" y="697"/>
                </a:lnTo>
                <a:lnTo>
                  <a:pt x="322" y="692"/>
                </a:lnTo>
                <a:lnTo>
                  <a:pt x="296" y="684"/>
                </a:lnTo>
                <a:lnTo>
                  <a:pt x="270" y="678"/>
                </a:lnTo>
                <a:lnTo>
                  <a:pt x="245" y="671"/>
                </a:lnTo>
                <a:lnTo>
                  <a:pt x="219" y="664"/>
                </a:lnTo>
                <a:lnTo>
                  <a:pt x="194" y="657"/>
                </a:lnTo>
                <a:lnTo>
                  <a:pt x="168" y="651"/>
                </a:lnTo>
                <a:lnTo>
                  <a:pt x="143" y="644"/>
                </a:lnTo>
                <a:lnTo>
                  <a:pt x="117" y="638"/>
                </a:lnTo>
                <a:lnTo>
                  <a:pt x="112" y="608"/>
                </a:lnTo>
                <a:lnTo>
                  <a:pt x="110" y="588"/>
                </a:lnTo>
                <a:lnTo>
                  <a:pt x="110" y="572"/>
                </a:lnTo>
                <a:lnTo>
                  <a:pt x="110" y="553"/>
                </a:lnTo>
                <a:lnTo>
                  <a:pt x="125" y="540"/>
                </a:lnTo>
                <a:lnTo>
                  <a:pt x="134" y="531"/>
                </a:lnTo>
                <a:lnTo>
                  <a:pt x="141" y="523"/>
                </a:lnTo>
                <a:lnTo>
                  <a:pt x="146" y="513"/>
                </a:lnTo>
                <a:lnTo>
                  <a:pt x="142" y="502"/>
                </a:lnTo>
                <a:lnTo>
                  <a:pt x="138" y="493"/>
                </a:lnTo>
                <a:lnTo>
                  <a:pt x="134" y="485"/>
                </a:lnTo>
                <a:lnTo>
                  <a:pt x="129" y="479"/>
                </a:lnTo>
                <a:lnTo>
                  <a:pt x="124" y="474"/>
                </a:lnTo>
                <a:lnTo>
                  <a:pt x="119" y="468"/>
                </a:lnTo>
                <a:lnTo>
                  <a:pt x="112" y="464"/>
                </a:lnTo>
                <a:lnTo>
                  <a:pt x="106" y="462"/>
                </a:lnTo>
                <a:lnTo>
                  <a:pt x="93" y="458"/>
                </a:lnTo>
                <a:lnTo>
                  <a:pt x="76" y="455"/>
                </a:lnTo>
                <a:lnTo>
                  <a:pt x="58" y="454"/>
                </a:lnTo>
                <a:lnTo>
                  <a:pt x="37" y="451"/>
                </a:lnTo>
                <a:lnTo>
                  <a:pt x="25" y="436"/>
                </a:lnTo>
                <a:lnTo>
                  <a:pt x="16" y="427"/>
                </a:lnTo>
                <a:lnTo>
                  <a:pt x="9" y="420"/>
                </a:lnTo>
                <a:lnTo>
                  <a:pt x="0" y="415"/>
                </a:lnTo>
                <a:lnTo>
                  <a:pt x="3" y="399"/>
                </a:lnTo>
                <a:lnTo>
                  <a:pt x="7" y="384"/>
                </a:lnTo>
                <a:lnTo>
                  <a:pt x="9" y="368"/>
                </a:lnTo>
                <a:lnTo>
                  <a:pt x="13" y="354"/>
                </a:lnTo>
                <a:lnTo>
                  <a:pt x="26" y="347"/>
                </a:lnTo>
                <a:lnTo>
                  <a:pt x="41" y="344"/>
                </a:lnTo>
                <a:lnTo>
                  <a:pt x="43" y="329"/>
                </a:lnTo>
                <a:lnTo>
                  <a:pt x="47" y="316"/>
                </a:lnTo>
                <a:lnTo>
                  <a:pt x="58" y="311"/>
                </a:lnTo>
                <a:lnTo>
                  <a:pt x="67" y="304"/>
                </a:lnTo>
                <a:lnTo>
                  <a:pt x="73" y="298"/>
                </a:lnTo>
                <a:lnTo>
                  <a:pt x="80" y="291"/>
                </a:lnTo>
                <a:lnTo>
                  <a:pt x="86" y="285"/>
                </a:lnTo>
                <a:lnTo>
                  <a:pt x="91" y="277"/>
                </a:lnTo>
                <a:lnTo>
                  <a:pt x="97" y="268"/>
                </a:lnTo>
                <a:lnTo>
                  <a:pt x="102" y="258"/>
                </a:lnTo>
                <a:lnTo>
                  <a:pt x="112" y="256"/>
                </a:lnTo>
                <a:lnTo>
                  <a:pt x="123" y="256"/>
                </a:lnTo>
                <a:lnTo>
                  <a:pt x="132" y="255"/>
                </a:lnTo>
                <a:lnTo>
                  <a:pt x="140" y="252"/>
                </a:lnTo>
                <a:lnTo>
                  <a:pt x="147" y="250"/>
                </a:lnTo>
                <a:lnTo>
                  <a:pt x="154" y="246"/>
                </a:lnTo>
                <a:lnTo>
                  <a:pt x="160" y="243"/>
                </a:lnTo>
                <a:lnTo>
                  <a:pt x="166" y="238"/>
                </a:lnTo>
                <a:lnTo>
                  <a:pt x="175" y="229"/>
                </a:lnTo>
                <a:lnTo>
                  <a:pt x="183" y="217"/>
                </a:lnTo>
                <a:lnTo>
                  <a:pt x="188" y="206"/>
                </a:lnTo>
                <a:lnTo>
                  <a:pt x="193" y="191"/>
                </a:lnTo>
                <a:lnTo>
                  <a:pt x="196" y="176"/>
                </a:lnTo>
                <a:lnTo>
                  <a:pt x="197" y="160"/>
                </a:lnTo>
                <a:lnTo>
                  <a:pt x="198" y="143"/>
                </a:lnTo>
                <a:lnTo>
                  <a:pt x="199" y="126"/>
                </a:lnTo>
                <a:lnTo>
                  <a:pt x="199" y="91"/>
                </a:lnTo>
                <a:lnTo>
                  <a:pt x="201" y="57"/>
                </a:lnTo>
                <a:lnTo>
                  <a:pt x="210" y="43"/>
                </a:lnTo>
                <a:lnTo>
                  <a:pt x="222" y="31"/>
                </a:lnTo>
                <a:lnTo>
                  <a:pt x="233" y="21"/>
                </a:lnTo>
                <a:lnTo>
                  <a:pt x="246" y="12"/>
                </a:lnTo>
                <a:lnTo>
                  <a:pt x="254" y="8"/>
                </a:lnTo>
                <a:lnTo>
                  <a:pt x="261" y="5"/>
                </a:lnTo>
                <a:lnTo>
                  <a:pt x="268" y="3"/>
                </a:lnTo>
                <a:lnTo>
                  <a:pt x="276" y="1"/>
                </a:lnTo>
                <a:lnTo>
                  <a:pt x="284" y="0"/>
                </a:lnTo>
                <a:lnTo>
                  <a:pt x="293" y="0"/>
                </a:lnTo>
                <a:lnTo>
                  <a:pt x="301" y="0"/>
                </a:lnTo>
                <a:lnTo>
                  <a:pt x="310" y="1"/>
                </a:lnTo>
                <a:lnTo>
                  <a:pt x="313" y="8"/>
                </a:lnTo>
                <a:lnTo>
                  <a:pt x="317" y="17"/>
                </a:lnTo>
                <a:lnTo>
                  <a:pt x="331" y="18"/>
                </a:lnTo>
                <a:lnTo>
                  <a:pt x="346" y="22"/>
                </a:lnTo>
                <a:lnTo>
                  <a:pt x="361" y="26"/>
                </a:lnTo>
                <a:lnTo>
                  <a:pt x="376" y="31"/>
                </a:lnTo>
                <a:lnTo>
                  <a:pt x="392" y="37"/>
                </a:lnTo>
                <a:lnTo>
                  <a:pt x="406" y="43"/>
                </a:lnTo>
                <a:lnTo>
                  <a:pt x="419" y="51"/>
                </a:lnTo>
                <a:lnTo>
                  <a:pt x="431" y="59"/>
                </a:lnTo>
                <a:lnTo>
                  <a:pt x="438" y="72"/>
                </a:lnTo>
                <a:lnTo>
                  <a:pt x="443" y="82"/>
                </a:lnTo>
                <a:lnTo>
                  <a:pt x="449" y="90"/>
                </a:lnTo>
                <a:lnTo>
                  <a:pt x="454" y="96"/>
                </a:lnTo>
                <a:lnTo>
                  <a:pt x="461" y="102"/>
                </a:lnTo>
                <a:lnTo>
                  <a:pt x="467" y="105"/>
                </a:lnTo>
                <a:lnTo>
                  <a:pt x="474" y="108"/>
                </a:lnTo>
                <a:lnTo>
                  <a:pt x="480" y="109"/>
                </a:lnTo>
                <a:lnTo>
                  <a:pt x="487" y="109"/>
                </a:lnTo>
                <a:lnTo>
                  <a:pt x="493" y="108"/>
                </a:lnTo>
                <a:lnTo>
                  <a:pt x="500" y="107"/>
                </a:lnTo>
                <a:lnTo>
                  <a:pt x="506" y="104"/>
                </a:lnTo>
                <a:lnTo>
                  <a:pt x="521" y="98"/>
                </a:lnTo>
                <a:lnTo>
                  <a:pt x="535" y="89"/>
                </a:lnTo>
                <a:lnTo>
                  <a:pt x="548" y="81"/>
                </a:lnTo>
                <a:lnTo>
                  <a:pt x="562" y="72"/>
                </a:lnTo>
                <a:lnTo>
                  <a:pt x="577" y="65"/>
                </a:lnTo>
                <a:lnTo>
                  <a:pt x="590" y="60"/>
                </a:lnTo>
                <a:lnTo>
                  <a:pt x="596" y="59"/>
                </a:lnTo>
                <a:lnTo>
                  <a:pt x="603" y="59"/>
                </a:lnTo>
                <a:lnTo>
                  <a:pt x="609" y="60"/>
                </a:lnTo>
                <a:lnTo>
                  <a:pt x="616" y="61"/>
                </a:lnTo>
                <a:lnTo>
                  <a:pt x="622" y="65"/>
                </a:lnTo>
                <a:lnTo>
                  <a:pt x="629" y="70"/>
                </a:lnTo>
                <a:lnTo>
                  <a:pt x="635" y="76"/>
                </a:lnTo>
                <a:lnTo>
                  <a:pt x="640" y="85"/>
                </a:lnTo>
                <a:lnTo>
                  <a:pt x="630" y="121"/>
                </a:lnTo>
                <a:lnTo>
                  <a:pt x="622" y="151"/>
                </a:lnTo>
                <a:lnTo>
                  <a:pt x="620" y="163"/>
                </a:lnTo>
                <a:lnTo>
                  <a:pt x="618" y="174"/>
                </a:lnTo>
                <a:lnTo>
                  <a:pt x="618" y="185"/>
                </a:lnTo>
                <a:lnTo>
                  <a:pt x="620" y="194"/>
                </a:lnTo>
                <a:lnTo>
                  <a:pt x="622" y="203"/>
                </a:lnTo>
                <a:lnTo>
                  <a:pt x="626" y="212"/>
                </a:lnTo>
                <a:lnTo>
                  <a:pt x="631" y="221"/>
                </a:lnTo>
                <a:lnTo>
                  <a:pt x="638" y="230"/>
                </a:lnTo>
                <a:lnTo>
                  <a:pt x="656" y="251"/>
                </a:lnTo>
                <a:lnTo>
                  <a:pt x="681" y="276"/>
                </a:lnTo>
                <a:lnTo>
                  <a:pt x="689" y="297"/>
                </a:lnTo>
                <a:lnTo>
                  <a:pt x="696" y="316"/>
                </a:lnTo>
                <a:lnTo>
                  <a:pt x="704" y="337"/>
                </a:lnTo>
                <a:lnTo>
                  <a:pt x="712" y="358"/>
                </a:lnTo>
                <a:lnTo>
                  <a:pt x="726" y="362"/>
                </a:lnTo>
                <a:lnTo>
                  <a:pt x="737" y="367"/>
                </a:lnTo>
                <a:lnTo>
                  <a:pt x="742" y="371"/>
                </a:lnTo>
                <a:lnTo>
                  <a:pt x="746" y="376"/>
                </a:lnTo>
                <a:lnTo>
                  <a:pt x="750" y="381"/>
                </a:lnTo>
                <a:lnTo>
                  <a:pt x="752" y="388"/>
                </a:lnTo>
                <a:lnTo>
                  <a:pt x="774" y="390"/>
                </a:lnTo>
                <a:lnTo>
                  <a:pt x="794" y="394"/>
                </a:lnTo>
                <a:lnTo>
                  <a:pt x="811" y="401"/>
                </a:lnTo>
                <a:lnTo>
                  <a:pt x="825" y="407"/>
                </a:lnTo>
                <a:lnTo>
                  <a:pt x="838" y="415"/>
                </a:lnTo>
                <a:lnTo>
                  <a:pt x="849" y="425"/>
                </a:lnTo>
                <a:lnTo>
                  <a:pt x="859" y="435"/>
                </a:lnTo>
                <a:lnTo>
                  <a:pt x="867" y="446"/>
                </a:lnTo>
                <a:lnTo>
                  <a:pt x="882" y="471"/>
                </a:lnTo>
                <a:lnTo>
                  <a:pt x="897" y="498"/>
                </a:lnTo>
                <a:lnTo>
                  <a:pt x="905" y="513"/>
                </a:lnTo>
                <a:lnTo>
                  <a:pt x="914" y="527"/>
                </a:lnTo>
                <a:lnTo>
                  <a:pt x="924" y="541"/>
                </a:lnTo>
                <a:lnTo>
                  <a:pt x="936" y="556"/>
                </a:lnTo>
                <a:lnTo>
                  <a:pt x="945" y="559"/>
                </a:lnTo>
                <a:lnTo>
                  <a:pt x="955" y="563"/>
                </a:lnTo>
                <a:lnTo>
                  <a:pt x="966" y="569"/>
                </a:lnTo>
                <a:lnTo>
                  <a:pt x="977" y="572"/>
                </a:lnTo>
                <a:lnTo>
                  <a:pt x="980" y="596"/>
                </a:lnTo>
                <a:lnTo>
                  <a:pt x="983" y="615"/>
                </a:lnTo>
                <a:lnTo>
                  <a:pt x="987" y="634"/>
                </a:lnTo>
                <a:lnTo>
                  <a:pt x="992" y="651"/>
                </a:lnTo>
                <a:lnTo>
                  <a:pt x="998" y="667"/>
                </a:lnTo>
                <a:lnTo>
                  <a:pt x="1006" y="684"/>
                </a:lnTo>
                <a:lnTo>
                  <a:pt x="1015" y="703"/>
                </a:lnTo>
                <a:lnTo>
                  <a:pt x="1026" y="722"/>
                </a:lnTo>
                <a:lnTo>
                  <a:pt x="1015" y="723"/>
                </a:lnTo>
                <a:lnTo>
                  <a:pt x="1003" y="722"/>
                </a:lnTo>
                <a:lnTo>
                  <a:pt x="984" y="718"/>
                </a:lnTo>
                <a:lnTo>
                  <a:pt x="950" y="709"/>
                </a:lnTo>
                <a:lnTo>
                  <a:pt x="942" y="723"/>
                </a:lnTo>
                <a:lnTo>
                  <a:pt x="933" y="738"/>
                </a:lnTo>
                <a:lnTo>
                  <a:pt x="925" y="752"/>
                </a:lnTo>
                <a:lnTo>
                  <a:pt x="918" y="766"/>
                </a:lnTo>
                <a:lnTo>
                  <a:pt x="906" y="769"/>
                </a:lnTo>
                <a:lnTo>
                  <a:pt x="895" y="770"/>
                </a:lnTo>
                <a:lnTo>
                  <a:pt x="884" y="772"/>
                </a:lnTo>
                <a:lnTo>
                  <a:pt x="873" y="773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61" name="Freeform 26"/>
          <p:cNvSpPr>
            <a:spLocks/>
          </p:cNvSpPr>
          <p:nvPr/>
        </p:nvSpPr>
        <p:spPr bwMode="auto">
          <a:xfrm>
            <a:off x="706438" y="3509963"/>
            <a:ext cx="320675" cy="392112"/>
          </a:xfrm>
          <a:custGeom>
            <a:avLst/>
            <a:gdLst>
              <a:gd name="T0" fmla="*/ 2147483647 w 809"/>
              <a:gd name="T1" fmla="*/ 2147483647 h 987"/>
              <a:gd name="T2" fmla="*/ 2147483647 w 809"/>
              <a:gd name="T3" fmla="*/ 2147483647 h 987"/>
              <a:gd name="T4" fmla="*/ 2147483647 w 809"/>
              <a:gd name="T5" fmla="*/ 2147483647 h 987"/>
              <a:gd name="T6" fmla="*/ 2147483647 w 809"/>
              <a:gd name="T7" fmla="*/ 2147483647 h 987"/>
              <a:gd name="T8" fmla="*/ 2147483647 w 809"/>
              <a:gd name="T9" fmla="*/ 2147483647 h 987"/>
              <a:gd name="T10" fmla="*/ 2147483647 w 809"/>
              <a:gd name="T11" fmla="*/ 2147483647 h 987"/>
              <a:gd name="T12" fmla="*/ 2147483647 w 809"/>
              <a:gd name="T13" fmla="*/ 2147483647 h 987"/>
              <a:gd name="T14" fmla="*/ 2147483647 w 809"/>
              <a:gd name="T15" fmla="*/ 2147483647 h 987"/>
              <a:gd name="T16" fmla="*/ 2147483647 w 809"/>
              <a:gd name="T17" fmla="*/ 2147483647 h 987"/>
              <a:gd name="T18" fmla="*/ 2147483647 w 809"/>
              <a:gd name="T19" fmla="*/ 2147483647 h 987"/>
              <a:gd name="T20" fmla="*/ 2147483647 w 809"/>
              <a:gd name="T21" fmla="*/ 2147483647 h 987"/>
              <a:gd name="T22" fmla="*/ 2147483647 w 809"/>
              <a:gd name="T23" fmla="*/ 2147483647 h 987"/>
              <a:gd name="T24" fmla="*/ 2147483647 w 809"/>
              <a:gd name="T25" fmla="*/ 2147483647 h 987"/>
              <a:gd name="T26" fmla="*/ 2147483647 w 809"/>
              <a:gd name="T27" fmla="*/ 2147483647 h 987"/>
              <a:gd name="T28" fmla="*/ 2147483647 w 809"/>
              <a:gd name="T29" fmla="*/ 2147483647 h 987"/>
              <a:gd name="T30" fmla="*/ 2147483647 w 809"/>
              <a:gd name="T31" fmla="*/ 2147483647 h 987"/>
              <a:gd name="T32" fmla="*/ 2147483647 w 809"/>
              <a:gd name="T33" fmla="*/ 2147483647 h 987"/>
              <a:gd name="T34" fmla="*/ 2147483647 w 809"/>
              <a:gd name="T35" fmla="*/ 2147483647 h 987"/>
              <a:gd name="T36" fmla="*/ 2147483647 w 809"/>
              <a:gd name="T37" fmla="*/ 2147483647 h 987"/>
              <a:gd name="T38" fmla="*/ 2147483647 w 809"/>
              <a:gd name="T39" fmla="*/ 2147483647 h 987"/>
              <a:gd name="T40" fmla="*/ 2147483647 w 809"/>
              <a:gd name="T41" fmla="*/ 2147483647 h 987"/>
              <a:gd name="T42" fmla="*/ 2147483647 w 809"/>
              <a:gd name="T43" fmla="*/ 2147483647 h 987"/>
              <a:gd name="T44" fmla="*/ 2147483647 w 809"/>
              <a:gd name="T45" fmla="*/ 2147483647 h 987"/>
              <a:gd name="T46" fmla="*/ 2147483647 w 809"/>
              <a:gd name="T47" fmla="*/ 2147483647 h 987"/>
              <a:gd name="T48" fmla="*/ 2147483647 w 809"/>
              <a:gd name="T49" fmla="*/ 2147483647 h 987"/>
              <a:gd name="T50" fmla="*/ 2147483647 w 809"/>
              <a:gd name="T51" fmla="*/ 2147483647 h 987"/>
              <a:gd name="T52" fmla="*/ 2147483647 w 809"/>
              <a:gd name="T53" fmla="*/ 2147483647 h 987"/>
              <a:gd name="T54" fmla="*/ 2147483647 w 809"/>
              <a:gd name="T55" fmla="*/ 2147483647 h 987"/>
              <a:gd name="T56" fmla="*/ 2147483647 w 809"/>
              <a:gd name="T57" fmla="*/ 2147483647 h 987"/>
              <a:gd name="T58" fmla="*/ 2147483647 w 809"/>
              <a:gd name="T59" fmla="*/ 2147483647 h 987"/>
              <a:gd name="T60" fmla="*/ 2147483647 w 809"/>
              <a:gd name="T61" fmla="*/ 2147483647 h 987"/>
              <a:gd name="T62" fmla="*/ 2147483647 w 809"/>
              <a:gd name="T63" fmla="*/ 2147483647 h 987"/>
              <a:gd name="T64" fmla="*/ 2147483647 w 809"/>
              <a:gd name="T65" fmla="*/ 2147483647 h 987"/>
              <a:gd name="T66" fmla="*/ 2147483647 w 809"/>
              <a:gd name="T67" fmla="*/ 2147483647 h 987"/>
              <a:gd name="T68" fmla="*/ 2147483647 w 809"/>
              <a:gd name="T69" fmla="*/ 2147483647 h 987"/>
              <a:gd name="T70" fmla="*/ 2147483647 w 809"/>
              <a:gd name="T71" fmla="*/ 2147483647 h 987"/>
              <a:gd name="T72" fmla="*/ 2147483647 w 809"/>
              <a:gd name="T73" fmla="*/ 2147483647 h 987"/>
              <a:gd name="T74" fmla="*/ 2147483647 w 809"/>
              <a:gd name="T75" fmla="*/ 2147483647 h 987"/>
              <a:gd name="T76" fmla="*/ 2147483647 w 809"/>
              <a:gd name="T77" fmla="*/ 2147483647 h 987"/>
              <a:gd name="T78" fmla="*/ 2147483647 w 809"/>
              <a:gd name="T79" fmla="*/ 2147483647 h 987"/>
              <a:gd name="T80" fmla="*/ 2147483647 w 809"/>
              <a:gd name="T81" fmla="*/ 2147483647 h 987"/>
              <a:gd name="T82" fmla="*/ 2147483647 w 809"/>
              <a:gd name="T83" fmla="*/ 2147483647 h 987"/>
              <a:gd name="T84" fmla="*/ 2147483647 w 809"/>
              <a:gd name="T85" fmla="*/ 2147483647 h 987"/>
              <a:gd name="T86" fmla="*/ 2147483647 w 809"/>
              <a:gd name="T87" fmla="*/ 2147483647 h 987"/>
              <a:gd name="T88" fmla="*/ 2147483647 w 809"/>
              <a:gd name="T89" fmla="*/ 2147483647 h 987"/>
              <a:gd name="T90" fmla="*/ 2147483647 w 809"/>
              <a:gd name="T91" fmla="*/ 2147483647 h 987"/>
              <a:gd name="T92" fmla="*/ 2147483647 w 809"/>
              <a:gd name="T93" fmla="*/ 2147483647 h 987"/>
              <a:gd name="T94" fmla="*/ 2147483647 w 809"/>
              <a:gd name="T95" fmla="*/ 2147483647 h 987"/>
              <a:gd name="T96" fmla="*/ 2147483647 w 809"/>
              <a:gd name="T97" fmla="*/ 2147483647 h 987"/>
              <a:gd name="T98" fmla="*/ 2147483647 w 809"/>
              <a:gd name="T99" fmla="*/ 2147483647 h 987"/>
              <a:gd name="T100" fmla="*/ 2147483647 w 809"/>
              <a:gd name="T101" fmla="*/ 2147483647 h 987"/>
              <a:gd name="T102" fmla="*/ 2147483647 w 809"/>
              <a:gd name="T103" fmla="*/ 2147483647 h 987"/>
              <a:gd name="T104" fmla="*/ 2147483647 w 809"/>
              <a:gd name="T105" fmla="*/ 2147483647 h 987"/>
              <a:gd name="T106" fmla="*/ 2147483647 w 809"/>
              <a:gd name="T107" fmla="*/ 2147483647 h 987"/>
              <a:gd name="T108" fmla="*/ 2147483647 w 809"/>
              <a:gd name="T109" fmla="*/ 2147483647 h 987"/>
              <a:gd name="T110" fmla="*/ 2147483647 w 809"/>
              <a:gd name="T111" fmla="*/ 2147483647 h 987"/>
              <a:gd name="T112" fmla="*/ 2147483647 w 809"/>
              <a:gd name="T113" fmla="*/ 2147483647 h 987"/>
              <a:gd name="T114" fmla="*/ 2147483647 w 809"/>
              <a:gd name="T115" fmla="*/ 2147483647 h 987"/>
              <a:gd name="T116" fmla="*/ 2147483647 w 809"/>
              <a:gd name="T117" fmla="*/ 2147483647 h 987"/>
              <a:gd name="T118" fmla="*/ 2147483647 w 809"/>
              <a:gd name="T119" fmla="*/ 2147483647 h 987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809"/>
              <a:gd name="T181" fmla="*/ 0 h 987"/>
              <a:gd name="T182" fmla="*/ 809 w 809"/>
              <a:gd name="T183" fmla="*/ 987 h 987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809" h="987">
                <a:moveTo>
                  <a:pt x="262" y="987"/>
                </a:moveTo>
                <a:lnTo>
                  <a:pt x="259" y="977"/>
                </a:lnTo>
                <a:lnTo>
                  <a:pt x="255" y="968"/>
                </a:lnTo>
                <a:lnTo>
                  <a:pt x="251" y="960"/>
                </a:lnTo>
                <a:lnTo>
                  <a:pt x="245" y="952"/>
                </a:lnTo>
                <a:lnTo>
                  <a:pt x="242" y="946"/>
                </a:lnTo>
                <a:lnTo>
                  <a:pt x="235" y="939"/>
                </a:lnTo>
                <a:lnTo>
                  <a:pt x="230" y="934"/>
                </a:lnTo>
                <a:lnTo>
                  <a:pt x="223" y="929"/>
                </a:lnTo>
                <a:lnTo>
                  <a:pt x="210" y="922"/>
                </a:lnTo>
                <a:lnTo>
                  <a:pt x="193" y="916"/>
                </a:lnTo>
                <a:lnTo>
                  <a:pt x="175" y="911"/>
                </a:lnTo>
                <a:lnTo>
                  <a:pt x="154" y="905"/>
                </a:lnTo>
                <a:lnTo>
                  <a:pt x="149" y="871"/>
                </a:lnTo>
                <a:lnTo>
                  <a:pt x="147" y="838"/>
                </a:lnTo>
                <a:lnTo>
                  <a:pt x="144" y="803"/>
                </a:lnTo>
                <a:lnTo>
                  <a:pt x="144" y="769"/>
                </a:lnTo>
                <a:lnTo>
                  <a:pt x="144" y="735"/>
                </a:lnTo>
                <a:lnTo>
                  <a:pt x="145" y="700"/>
                </a:lnTo>
                <a:lnTo>
                  <a:pt x="148" y="666"/>
                </a:lnTo>
                <a:lnTo>
                  <a:pt x="151" y="632"/>
                </a:lnTo>
                <a:lnTo>
                  <a:pt x="138" y="593"/>
                </a:lnTo>
                <a:lnTo>
                  <a:pt x="126" y="554"/>
                </a:lnTo>
                <a:lnTo>
                  <a:pt x="115" y="515"/>
                </a:lnTo>
                <a:lnTo>
                  <a:pt x="104" y="476"/>
                </a:lnTo>
                <a:lnTo>
                  <a:pt x="98" y="457"/>
                </a:lnTo>
                <a:lnTo>
                  <a:pt x="92" y="438"/>
                </a:lnTo>
                <a:lnTo>
                  <a:pt x="84" y="419"/>
                </a:lnTo>
                <a:lnTo>
                  <a:pt x="78" y="401"/>
                </a:lnTo>
                <a:lnTo>
                  <a:pt x="69" y="382"/>
                </a:lnTo>
                <a:lnTo>
                  <a:pt x="58" y="364"/>
                </a:lnTo>
                <a:lnTo>
                  <a:pt x="48" y="347"/>
                </a:lnTo>
                <a:lnTo>
                  <a:pt x="36" y="330"/>
                </a:lnTo>
                <a:lnTo>
                  <a:pt x="37" y="296"/>
                </a:lnTo>
                <a:lnTo>
                  <a:pt x="39" y="264"/>
                </a:lnTo>
                <a:lnTo>
                  <a:pt x="40" y="231"/>
                </a:lnTo>
                <a:lnTo>
                  <a:pt x="41" y="199"/>
                </a:lnTo>
                <a:lnTo>
                  <a:pt x="31" y="185"/>
                </a:lnTo>
                <a:lnTo>
                  <a:pt x="20" y="170"/>
                </a:lnTo>
                <a:lnTo>
                  <a:pt x="13" y="159"/>
                </a:lnTo>
                <a:lnTo>
                  <a:pt x="6" y="146"/>
                </a:lnTo>
                <a:lnTo>
                  <a:pt x="4" y="139"/>
                </a:lnTo>
                <a:lnTo>
                  <a:pt x="1" y="133"/>
                </a:lnTo>
                <a:lnTo>
                  <a:pt x="1" y="125"/>
                </a:lnTo>
                <a:lnTo>
                  <a:pt x="0" y="118"/>
                </a:lnTo>
                <a:lnTo>
                  <a:pt x="0" y="110"/>
                </a:lnTo>
                <a:lnTo>
                  <a:pt x="1" y="103"/>
                </a:lnTo>
                <a:lnTo>
                  <a:pt x="4" y="94"/>
                </a:lnTo>
                <a:lnTo>
                  <a:pt x="6" y="84"/>
                </a:lnTo>
                <a:lnTo>
                  <a:pt x="20" y="86"/>
                </a:lnTo>
                <a:lnTo>
                  <a:pt x="33" y="88"/>
                </a:lnTo>
                <a:lnTo>
                  <a:pt x="46" y="94"/>
                </a:lnTo>
                <a:lnTo>
                  <a:pt x="58" y="100"/>
                </a:lnTo>
                <a:lnTo>
                  <a:pt x="70" y="108"/>
                </a:lnTo>
                <a:lnTo>
                  <a:pt x="82" y="116"/>
                </a:lnTo>
                <a:lnTo>
                  <a:pt x="92" y="125"/>
                </a:lnTo>
                <a:lnTo>
                  <a:pt x="104" y="135"/>
                </a:lnTo>
                <a:lnTo>
                  <a:pt x="126" y="155"/>
                </a:lnTo>
                <a:lnTo>
                  <a:pt x="148" y="174"/>
                </a:lnTo>
                <a:lnTo>
                  <a:pt x="160" y="182"/>
                </a:lnTo>
                <a:lnTo>
                  <a:pt x="173" y="190"/>
                </a:lnTo>
                <a:lnTo>
                  <a:pt x="186" y="195"/>
                </a:lnTo>
                <a:lnTo>
                  <a:pt x="199" y="199"/>
                </a:lnTo>
                <a:lnTo>
                  <a:pt x="210" y="185"/>
                </a:lnTo>
                <a:lnTo>
                  <a:pt x="222" y="173"/>
                </a:lnTo>
                <a:lnTo>
                  <a:pt x="236" y="172"/>
                </a:lnTo>
                <a:lnTo>
                  <a:pt x="251" y="170"/>
                </a:lnTo>
                <a:lnTo>
                  <a:pt x="266" y="170"/>
                </a:lnTo>
                <a:lnTo>
                  <a:pt x="282" y="170"/>
                </a:lnTo>
                <a:lnTo>
                  <a:pt x="294" y="159"/>
                </a:lnTo>
                <a:lnTo>
                  <a:pt x="304" y="149"/>
                </a:lnTo>
                <a:lnTo>
                  <a:pt x="309" y="147"/>
                </a:lnTo>
                <a:lnTo>
                  <a:pt x="314" y="144"/>
                </a:lnTo>
                <a:lnTo>
                  <a:pt x="320" y="143"/>
                </a:lnTo>
                <a:lnTo>
                  <a:pt x="325" y="142"/>
                </a:lnTo>
                <a:lnTo>
                  <a:pt x="334" y="143"/>
                </a:lnTo>
                <a:lnTo>
                  <a:pt x="343" y="146"/>
                </a:lnTo>
                <a:lnTo>
                  <a:pt x="352" y="148"/>
                </a:lnTo>
                <a:lnTo>
                  <a:pt x="361" y="153"/>
                </a:lnTo>
                <a:lnTo>
                  <a:pt x="370" y="159"/>
                </a:lnTo>
                <a:lnTo>
                  <a:pt x="379" y="164"/>
                </a:lnTo>
                <a:lnTo>
                  <a:pt x="390" y="168"/>
                </a:lnTo>
                <a:lnTo>
                  <a:pt x="399" y="170"/>
                </a:lnTo>
                <a:lnTo>
                  <a:pt x="409" y="172"/>
                </a:lnTo>
                <a:lnTo>
                  <a:pt x="420" y="172"/>
                </a:lnTo>
                <a:lnTo>
                  <a:pt x="425" y="170"/>
                </a:lnTo>
                <a:lnTo>
                  <a:pt x="432" y="168"/>
                </a:lnTo>
                <a:lnTo>
                  <a:pt x="437" y="165"/>
                </a:lnTo>
                <a:lnTo>
                  <a:pt x="443" y="161"/>
                </a:lnTo>
                <a:lnTo>
                  <a:pt x="443" y="147"/>
                </a:lnTo>
                <a:lnTo>
                  <a:pt x="441" y="134"/>
                </a:lnTo>
                <a:lnTo>
                  <a:pt x="438" y="121"/>
                </a:lnTo>
                <a:lnTo>
                  <a:pt x="435" y="109"/>
                </a:lnTo>
                <a:lnTo>
                  <a:pt x="429" y="84"/>
                </a:lnTo>
                <a:lnTo>
                  <a:pt x="424" y="58"/>
                </a:lnTo>
                <a:lnTo>
                  <a:pt x="416" y="58"/>
                </a:lnTo>
                <a:lnTo>
                  <a:pt x="411" y="58"/>
                </a:lnTo>
                <a:lnTo>
                  <a:pt x="412" y="43"/>
                </a:lnTo>
                <a:lnTo>
                  <a:pt x="415" y="32"/>
                </a:lnTo>
                <a:lnTo>
                  <a:pt x="419" y="21"/>
                </a:lnTo>
                <a:lnTo>
                  <a:pt x="428" y="4"/>
                </a:lnTo>
                <a:lnTo>
                  <a:pt x="439" y="1"/>
                </a:lnTo>
                <a:lnTo>
                  <a:pt x="451" y="0"/>
                </a:lnTo>
                <a:lnTo>
                  <a:pt x="458" y="8"/>
                </a:lnTo>
                <a:lnTo>
                  <a:pt x="464" y="14"/>
                </a:lnTo>
                <a:lnTo>
                  <a:pt x="472" y="21"/>
                </a:lnTo>
                <a:lnTo>
                  <a:pt x="480" y="26"/>
                </a:lnTo>
                <a:lnTo>
                  <a:pt x="498" y="34"/>
                </a:lnTo>
                <a:lnTo>
                  <a:pt x="517" y="39"/>
                </a:lnTo>
                <a:lnTo>
                  <a:pt x="558" y="48"/>
                </a:lnTo>
                <a:lnTo>
                  <a:pt x="597" y="58"/>
                </a:lnTo>
                <a:lnTo>
                  <a:pt x="601" y="70"/>
                </a:lnTo>
                <a:lnTo>
                  <a:pt x="603" y="84"/>
                </a:lnTo>
                <a:lnTo>
                  <a:pt x="608" y="84"/>
                </a:lnTo>
                <a:lnTo>
                  <a:pt x="616" y="84"/>
                </a:lnTo>
                <a:lnTo>
                  <a:pt x="616" y="90"/>
                </a:lnTo>
                <a:lnTo>
                  <a:pt x="616" y="97"/>
                </a:lnTo>
                <a:lnTo>
                  <a:pt x="602" y="101"/>
                </a:lnTo>
                <a:lnTo>
                  <a:pt x="588" y="107"/>
                </a:lnTo>
                <a:lnTo>
                  <a:pt x="588" y="117"/>
                </a:lnTo>
                <a:lnTo>
                  <a:pt x="589" y="125"/>
                </a:lnTo>
                <a:lnTo>
                  <a:pt x="592" y="134"/>
                </a:lnTo>
                <a:lnTo>
                  <a:pt x="594" y="140"/>
                </a:lnTo>
                <a:lnTo>
                  <a:pt x="597" y="147"/>
                </a:lnTo>
                <a:lnTo>
                  <a:pt x="602" y="153"/>
                </a:lnTo>
                <a:lnTo>
                  <a:pt x="606" y="157"/>
                </a:lnTo>
                <a:lnTo>
                  <a:pt x="611" y="161"/>
                </a:lnTo>
                <a:lnTo>
                  <a:pt x="618" y="165"/>
                </a:lnTo>
                <a:lnTo>
                  <a:pt x="624" y="166"/>
                </a:lnTo>
                <a:lnTo>
                  <a:pt x="631" y="168"/>
                </a:lnTo>
                <a:lnTo>
                  <a:pt x="638" y="168"/>
                </a:lnTo>
                <a:lnTo>
                  <a:pt x="645" y="166"/>
                </a:lnTo>
                <a:lnTo>
                  <a:pt x="654" y="165"/>
                </a:lnTo>
                <a:lnTo>
                  <a:pt x="662" y="161"/>
                </a:lnTo>
                <a:lnTo>
                  <a:pt x="670" y="157"/>
                </a:lnTo>
                <a:lnTo>
                  <a:pt x="697" y="186"/>
                </a:lnTo>
                <a:lnTo>
                  <a:pt x="726" y="212"/>
                </a:lnTo>
                <a:lnTo>
                  <a:pt x="739" y="226"/>
                </a:lnTo>
                <a:lnTo>
                  <a:pt x="750" y="239"/>
                </a:lnTo>
                <a:lnTo>
                  <a:pt x="761" y="255"/>
                </a:lnTo>
                <a:lnTo>
                  <a:pt x="770" y="270"/>
                </a:lnTo>
                <a:lnTo>
                  <a:pt x="753" y="274"/>
                </a:lnTo>
                <a:lnTo>
                  <a:pt x="736" y="280"/>
                </a:lnTo>
                <a:lnTo>
                  <a:pt x="735" y="306"/>
                </a:lnTo>
                <a:lnTo>
                  <a:pt x="733" y="336"/>
                </a:lnTo>
                <a:lnTo>
                  <a:pt x="733" y="351"/>
                </a:lnTo>
                <a:lnTo>
                  <a:pt x="735" y="367"/>
                </a:lnTo>
                <a:lnTo>
                  <a:pt x="736" y="382"/>
                </a:lnTo>
                <a:lnTo>
                  <a:pt x="739" y="397"/>
                </a:lnTo>
                <a:lnTo>
                  <a:pt x="741" y="412"/>
                </a:lnTo>
                <a:lnTo>
                  <a:pt x="746" y="425"/>
                </a:lnTo>
                <a:lnTo>
                  <a:pt x="753" y="438"/>
                </a:lnTo>
                <a:lnTo>
                  <a:pt x="761" y="450"/>
                </a:lnTo>
                <a:lnTo>
                  <a:pt x="770" y="462"/>
                </a:lnTo>
                <a:lnTo>
                  <a:pt x="780" y="470"/>
                </a:lnTo>
                <a:lnTo>
                  <a:pt x="787" y="473"/>
                </a:lnTo>
                <a:lnTo>
                  <a:pt x="793" y="477"/>
                </a:lnTo>
                <a:lnTo>
                  <a:pt x="801" y="480"/>
                </a:lnTo>
                <a:lnTo>
                  <a:pt x="809" y="483"/>
                </a:lnTo>
                <a:lnTo>
                  <a:pt x="801" y="497"/>
                </a:lnTo>
                <a:lnTo>
                  <a:pt x="796" y="511"/>
                </a:lnTo>
                <a:lnTo>
                  <a:pt x="791" y="527"/>
                </a:lnTo>
                <a:lnTo>
                  <a:pt x="785" y="541"/>
                </a:lnTo>
                <a:lnTo>
                  <a:pt x="780" y="555"/>
                </a:lnTo>
                <a:lnTo>
                  <a:pt x="774" y="570"/>
                </a:lnTo>
                <a:lnTo>
                  <a:pt x="766" y="584"/>
                </a:lnTo>
                <a:lnTo>
                  <a:pt x="757" y="597"/>
                </a:lnTo>
                <a:lnTo>
                  <a:pt x="748" y="596"/>
                </a:lnTo>
                <a:lnTo>
                  <a:pt x="740" y="594"/>
                </a:lnTo>
                <a:lnTo>
                  <a:pt x="732" y="592"/>
                </a:lnTo>
                <a:lnTo>
                  <a:pt x="727" y="589"/>
                </a:lnTo>
                <a:lnTo>
                  <a:pt x="716" y="584"/>
                </a:lnTo>
                <a:lnTo>
                  <a:pt x="707" y="579"/>
                </a:lnTo>
                <a:lnTo>
                  <a:pt x="702" y="577"/>
                </a:lnTo>
                <a:lnTo>
                  <a:pt x="697" y="577"/>
                </a:lnTo>
                <a:lnTo>
                  <a:pt x="693" y="577"/>
                </a:lnTo>
                <a:lnTo>
                  <a:pt x="687" y="577"/>
                </a:lnTo>
                <a:lnTo>
                  <a:pt x="681" y="580"/>
                </a:lnTo>
                <a:lnTo>
                  <a:pt x="674" y="584"/>
                </a:lnTo>
                <a:lnTo>
                  <a:pt x="666" y="589"/>
                </a:lnTo>
                <a:lnTo>
                  <a:pt x="657" y="596"/>
                </a:lnTo>
                <a:lnTo>
                  <a:pt x="648" y="617"/>
                </a:lnTo>
                <a:lnTo>
                  <a:pt x="644" y="633"/>
                </a:lnTo>
                <a:lnTo>
                  <a:pt x="642" y="641"/>
                </a:lnTo>
                <a:lnTo>
                  <a:pt x="641" y="648"/>
                </a:lnTo>
                <a:lnTo>
                  <a:pt x="642" y="656"/>
                </a:lnTo>
                <a:lnTo>
                  <a:pt x="644" y="662"/>
                </a:lnTo>
                <a:lnTo>
                  <a:pt x="648" y="675"/>
                </a:lnTo>
                <a:lnTo>
                  <a:pt x="655" y="688"/>
                </a:lnTo>
                <a:lnTo>
                  <a:pt x="664" y="704"/>
                </a:lnTo>
                <a:lnTo>
                  <a:pt x="676" y="721"/>
                </a:lnTo>
                <a:lnTo>
                  <a:pt x="672" y="734"/>
                </a:lnTo>
                <a:lnTo>
                  <a:pt x="670" y="748"/>
                </a:lnTo>
                <a:lnTo>
                  <a:pt x="667" y="761"/>
                </a:lnTo>
                <a:lnTo>
                  <a:pt x="664" y="777"/>
                </a:lnTo>
                <a:lnTo>
                  <a:pt x="662" y="805"/>
                </a:lnTo>
                <a:lnTo>
                  <a:pt x="661" y="834"/>
                </a:lnTo>
                <a:lnTo>
                  <a:pt x="646" y="839"/>
                </a:lnTo>
                <a:lnTo>
                  <a:pt x="633" y="843"/>
                </a:lnTo>
                <a:lnTo>
                  <a:pt x="620" y="847"/>
                </a:lnTo>
                <a:lnTo>
                  <a:pt x="607" y="852"/>
                </a:lnTo>
                <a:lnTo>
                  <a:pt x="606" y="869"/>
                </a:lnTo>
                <a:lnTo>
                  <a:pt x="605" y="887"/>
                </a:lnTo>
                <a:lnTo>
                  <a:pt x="603" y="905"/>
                </a:lnTo>
                <a:lnTo>
                  <a:pt x="603" y="925"/>
                </a:lnTo>
                <a:lnTo>
                  <a:pt x="589" y="925"/>
                </a:lnTo>
                <a:lnTo>
                  <a:pt x="575" y="926"/>
                </a:lnTo>
                <a:lnTo>
                  <a:pt x="562" y="927"/>
                </a:lnTo>
                <a:lnTo>
                  <a:pt x="549" y="929"/>
                </a:lnTo>
                <a:lnTo>
                  <a:pt x="546" y="939"/>
                </a:lnTo>
                <a:lnTo>
                  <a:pt x="543" y="947"/>
                </a:lnTo>
                <a:lnTo>
                  <a:pt x="541" y="955"/>
                </a:lnTo>
                <a:lnTo>
                  <a:pt x="537" y="960"/>
                </a:lnTo>
                <a:lnTo>
                  <a:pt x="533" y="964"/>
                </a:lnTo>
                <a:lnTo>
                  <a:pt x="528" y="966"/>
                </a:lnTo>
                <a:lnTo>
                  <a:pt x="523" y="966"/>
                </a:lnTo>
                <a:lnTo>
                  <a:pt x="517" y="966"/>
                </a:lnTo>
                <a:lnTo>
                  <a:pt x="511" y="965"/>
                </a:lnTo>
                <a:lnTo>
                  <a:pt x="506" y="964"/>
                </a:lnTo>
                <a:lnTo>
                  <a:pt x="499" y="960"/>
                </a:lnTo>
                <a:lnTo>
                  <a:pt x="493" y="956"/>
                </a:lnTo>
                <a:lnTo>
                  <a:pt x="478" y="947"/>
                </a:lnTo>
                <a:lnTo>
                  <a:pt x="463" y="937"/>
                </a:lnTo>
                <a:lnTo>
                  <a:pt x="463" y="922"/>
                </a:lnTo>
                <a:lnTo>
                  <a:pt x="463" y="911"/>
                </a:lnTo>
                <a:lnTo>
                  <a:pt x="441" y="911"/>
                </a:lnTo>
                <a:lnTo>
                  <a:pt x="420" y="909"/>
                </a:lnTo>
                <a:lnTo>
                  <a:pt x="398" y="909"/>
                </a:lnTo>
                <a:lnTo>
                  <a:pt x="376" y="909"/>
                </a:lnTo>
                <a:lnTo>
                  <a:pt x="370" y="922"/>
                </a:lnTo>
                <a:lnTo>
                  <a:pt x="366" y="937"/>
                </a:lnTo>
                <a:lnTo>
                  <a:pt x="340" y="939"/>
                </a:lnTo>
                <a:lnTo>
                  <a:pt x="324" y="943"/>
                </a:lnTo>
                <a:lnTo>
                  <a:pt x="317" y="946"/>
                </a:lnTo>
                <a:lnTo>
                  <a:pt x="312" y="948"/>
                </a:lnTo>
                <a:lnTo>
                  <a:pt x="307" y="951"/>
                </a:lnTo>
                <a:lnTo>
                  <a:pt x="304" y="955"/>
                </a:lnTo>
                <a:lnTo>
                  <a:pt x="296" y="963"/>
                </a:lnTo>
                <a:lnTo>
                  <a:pt x="290" y="970"/>
                </a:lnTo>
                <a:lnTo>
                  <a:pt x="278" y="978"/>
                </a:lnTo>
                <a:lnTo>
                  <a:pt x="262" y="987"/>
                </a:lnTo>
              </a:path>
            </a:pathLst>
          </a:custGeom>
          <a:solidFill>
            <a:srgbClr val="00FF00"/>
          </a:solidFill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62" name="Freeform 27"/>
          <p:cNvSpPr>
            <a:spLocks/>
          </p:cNvSpPr>
          <p:nvPr/>
        </p:nvSpPr>
        <p:spPr bwMode="auto">
          <a:xfrm>
            <a:off x="785813" y="3673475"/>
            <a:ext cx="136525" cy="190500"/>
          </a:xfrm>
          <a:custGeom>
            <a:avLst/>
            <a:gdLst>
              <a:gd name="T0" fmla="*/ 2147483647 w 344"/>
              <a:gd name="T1" fmla="*/ 2147483647 h 481"/>
              <a:gd name="T2" fmla="*/ 2147483647 w 344"/>
              <a:gd name="T3" fmla="*/ 2147483647 h 481"/>
              <a:gd name="T4" fmla="*/ 2147483647 w 344"/>
              <a:gd name="T5" fmla="*/ 2147483647 h 481"/>
              <a:gd name="T6" fmla="*/ 2147483647 w 344"/>
              <a:gd name="T7" fmla="*/ 2147483647 h 481"/>
              <a:gd name="T8" fmla="*/ 2147483647 w 344"/>
              <a:gd name="T9" fmla="*/ 2147483647 h 481"/>
              <a:gd name="T10" fmla="*/ 0 w 344"/>
              <a:gd name="T11" fmla="*/ 2147483647 h 481"/>
              <a:gd name="T12" fmla="*/ 0 w 344"/>
              <a:gd name="T13" fmla="*/ 2147483647 h 481"/>
              <a:gd name="T14" fmla="*/ 2147483647 w 344"/>
              <a:gd name="T15" fmla="*/ 2147483647 h 481"/>
              <a:gd name="T16" fmla="*/ 2147483647 w 344"/>
              <a:gd name="T17" fmla="*/ 2147483647 h 481"/>
              <a:gd name="T18" fmla="*/ 2147483647 w 344"/>
              <a:gd name="T19" fmla="*/ 2147483647 h 481"/>
              <a:gd name="T20" fmla="*/ 2147483647 w 344"/>
              <a:gd name="T21" fmla="*/ 2147483647 h 481"/>
              <a:gd name="T22" fmla="*/ 2147483647 w 344"/>
              <a:gd name="T23" fmla="*/ 2147483647 h 481"/>
              <a:gd name="T24" fmla="*/ 2147483647 w 344"/>
              <a:gd name="T25" fmla="*/ 2147483647 h 481"/>
              <a:gd name="T26" fmla="*/ 2147483647 w 344"/>
              <a:gd name="T27" fmla="*/ 2147483647 h 481"/>
              <a:gd name="T28" fmla="*/ 2147483647 w 344"/>
              <a:gd name="T29" fmla="*/ 2147483647 h 481"/>
              <a:gd name="T30" fmla="*/ 2147483647 w 344"/>
              <a:gd name="T31" fmla="*/ 2147483647 h 481"/>
              <a:gd name="T32" fmla="*/ 2147483647 w 344"/>
              <a:gd name="T33" fmla="*/ 2147483647 h 481"/>
              <a:gd name="T34" fmla="*/ 2147483647 w 344"/>
              <a:gd name="T35" fmla="*/ 2147483647 h 481"/>
              <a:gd name="T36" fmla="*/ 2147483647 w 344"/>
              <a:gd name="T37" fmla="*/ 2147483647 h 481"/>
              <a:gd name="T38" fmla="*/ 2147483647 w 344"/>
              <a:gd name="T39" fmla="*/ 2147483647 h 481"/>
              <a:gd name="T40" fmla="*/ 2147483647 w 344"/>
              <a:gd name="T41" fmla="*/ 2147483647 h 481"/>
              <a:gd name="T42" fmla="*/ 2147483647 w 344"/>
              <a:gd name="T43" fmla="*/ 2147483647 h 481"/>
              <a:gd name="T44" fmla="*/ 2147483647 w 344"/>
              <a:gd name="T45" fmla="*/ 2147483647 h 481"/>
              <a:gd name="T46" fmla="*/ 2147483647 w 344"/>
              <a:gd name="T47" fmla="*/ 2147483647 h 481"/>
              <a:gd name="T48" fmla="*/ 2147483647 w 344"/>
              <a:gd name="T49" fmla="*/ 2147483647 h 481"/>
              <a:gd name="T50" fmla="*/ 2147483647 w 344"/>
              <a:gd name="T51" fmla="*/ 2147483647 h 481"/>
              <a:gd name="T52" fmla="*/ 2147483647 w 344"/>
              <a:gd name="T53" fmla="*/ 2147483647 h 481"/>
              <a:gd name="T54" fmla="*/ 2147483647 w 344"/>
              <a:gd name="T55" fmla="*/ 2147483647 h 481"/>
              <a:gd name="T56" fmla="*/ 2147483647 w 344"/>
              <a:gd name="T57" fmla="*/ 2147483647 h 481"/>
              <a:gd name="T58" fmla="*/ 2147483647 w 344"/>
              <a:gd name="T59" fmla="*/ 2147483647 h 481"/>
              <a:gd name="T60" fmla="*/ 2147483647 w 344"/>
              <a:gd name="T61" fmla="*/ 2147483647 h 481"/>
              <a:gd name="T62" fmla="*/ 2147483647 w 344"/>
              <a:gd name="T63" fmla="*/ 2147483647 h 481"/>
              <a:gd name="T64" fmla="*/ 2147483647 w 344"/>
              <a:gd name="T65" fmla="*/ 2147483647 h 481"/>
              <a:gd name="T66" fmla="*/ 2147483647 w 344"/>
              <a:gd name="T67" fmla="*/ 2147483647 h 481"/>
              <a:gd name="T68" fmla="*/ 2147483647 w 344"/>
              <a:gd name="T69" fmla="*/ 2147483647 h 481"/>
              <a:gd name="T70" fmla="*/ 2147483647 w 344"/>
              <a:gd name="T71" fmla="*/ 2147483647 h 481"/>
              <a:gd name="T72" fmla="*/ 2147483647 w 344"/>
              <a:gd name="T73" fmla="*/ 2147483647 h 481"/>
              <a:gd name="T74" fmla="*/ 2147483647 w 344"/>
              <a:gd name="T75" fmla="*/ 2147483647 h 481"/>
              <a:gd name="T76" fmla="*/ 2147483647 w 344"/>
              <a:gd name="T77" fmla="*/ 2147483647 h 481"/>
              <a:gd name="T78" fmla="*/ 2147483647 w 344"/>
              <a:gd name="T79" fmla="*/ 2147483647 h 481"/>
              <a:gd name="T80" fmla="*/ 2147483647 w 344"/>
              <a:gd name="T81" fmla="*/ 2147483647 h 481"/>
              <a:gd name="T82" fmla="*/ 2147483647 w 344"/>
              <a:gd name="T83" fmla="*/ 2147483647 h 481"/>
              <a:gd name="T84" fmla="*/ 2147483647 w 344"/>
              <a:gd name="T85" fmla="*/ 2147483647 h 481"/>
              <a:gd name="T86" fmla="*/ 2147483647 w 344"/>
              <a:gd name="T87" fmla="*/ 2147483647 h 481"/>
              <a:gd name="T88" fmla="*/ 2147483647 w 344"/>
              <a:gd name="T89" fmla="*/ 2147483647 h 481"/>
              <a:gd name="T90" fmla="*/ 2147483647 w 344"/>
              <a:gd name="T91" fmla="*/ 2147483647 h 481"/>
              <a:gd name="T92" fmla="*/ 2147483647 w 344"/>
              <a:gd name="T93" fmla="*/ 2147483647 h 481"/>
              <a:gd name="T94" fmla="*/ 2147483647 w 344"/>
              <a:gd name="T95" fmla="*/ 2147483647 h 481"/>
              <a:gd name="T96" fmla="*/ 2147483647 w 344"/>
              <a:gd name="T97" fmla="*/ 2147483647 h 481"/>
              <a:gd name="T98" fmla="*/ 2147483647 w 344"/>
              <a:gd name="T99" fmla="*/ 2147483647 h 481"/>
              <a:gd name="T100" fmla="*/ 2147483647 w 344"/>
              <a:gd name="T101" fmla="*/ 2147483647 h 481"/>
              <a:gd name="T102" fmla="*/ 2147483647 w 344"/>
              <a:gd name="T103" fmla="*/ 2147483647 h 481"/>
              <a:gd name="T104" fmla="*/ 2147483647 w 344"/>
              <a:gd name="T105" fmla="*/ 2147483647 h 481"/>
              <a:gd name="T106" fmla="*/ 2147483647 w 344"/>
              <a:gd name="T107" fmla="*/ 2147483647 h 481"/>
              <a:gd name="T108" fmla="*/ 2147483647 w 344"/>
              <a:gd name="T109" fmla="*/ 2147483647 h 481"/>
              <a:gd name="T110" fmla="*/ 2147483647 w 344"/>
              <a:gd name="T111" fmla="*/ 2147483647 h 481"/>
              <a:gd name="T112" fmla="*/ 2147483647 w 344"/>
              <a:gd name="T113" fmla="*/ 2147483647 h 481"/>
              <a:gd name="T114" fmla="*/ 2147483647 w 344"/>
              <a:gd name="T115" fmla="*/ 2147483647 h 481"/>
              <a:gd name="T116" fmla="*/ 2147483647 w 344"/>
              <a:gd name="T117" fmla="*/ 2147483647 h 481"/>
              <a:gd name="T118" fmla="*/ 2147483647 w 344"/>
              <a:gd name="T119" fmla="*/ 2147483647 h 481"/>
              <a:gd name="T120" fmla="*/ 2147483647 w 344"/>
              <a:gd name="T121" fmla="*/ 2147483647 h 481"/>
              <a:gd name="T122" fmla="*/ 2147483647 w 344"/>
              <a:gd name="T123" fmla="*/ 2147483647 h 48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44"/>
              <a:gd name="T187" fmla="*/ 0 h 481"/>
              <a:gd name="T188" fmla="*/ 344 w 344"/>
              <a:gd name="T189" fmla="*/ 481 h 481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44" h="481">
                <a:moveTo>
                  <a:pt x="56" y="481"/>
                </a:moveTo>
                <a:lnTo>
                  <a:pt x="46" y="466"/>
                </a:lnTo>
                <a:lnTo>
                  <a:pt x="39" y="454"/>
                </a:lnTo>
                <a:lnTo>
                  <a:pt x="33" y="441"/>
                </a:lnTo>
                <a:lnTo>
                  <a:pt x="25" y="421"/>
                </a:lnTo>
                <a:lnTo>
                  <a:pt x="18" y="416"/>
                </a:lnTo>
                <a:lnTo>
                  <a:pt x="15" y="411"/>
                </a:lnTo>
                <a:lnTo>
                  <a:pt x="9" y="406"/>
                </a:lnTo>
                <a:lnTo>
                  <a:pt x="7" y="401"/>
                </a:lnTo>
                <a:lnTo>
                  <a:pt x="4" y="395"/>
                </a:lnTo>
                <a:lnTo>
                  <a:pt x="2" y="390"/>
                </a:lnTo>
                <a:lnTo>
                  <a:pt x="0" y="385"/>
                </a:lnTo>
                <a:lnTo>
                  <a:pt x="0" y="380"/>
                </a:lnTo>
                <a:lnTo>
                  <a:pt x="0" y="368"/>
                </a:lnTo>
                <a:lnTo>
                  <a:pt x="4" y="358"/>
                </a:lnTo>
                <a:lnTo>
                  <a:pt x="9" y="346"/>
                </a:lnTo>
                <a:lnTo>
                  <a:pt x="16" y="336"/>
                </a:lnTo>
                <a:lnTo>
                  <a:pt x="24" y="325"/>
                </a:lnTo>
                <a:lnTo>
                  <a:pt x="34" y="315"/>
                </a:lnTo>
                <a:lnTo>
                  <a:pt x="44" y="306"/>
                </a:lnTo>
                <a:lnTo>
                  <a:pt x="55" y="298"/>
                </a:lnTo>
                <a:lnTo>
                  <a:pt x="67" y="291"/>
                </a:lnTo>
                <a:lnTo>
                  <a:pt x="78" y="285"/>
                </a:lnTo>
                <a:lnTo>
                  <a:pt x="90" y="280"/>
                </a:lnTo>
                <a:lnTo>
                  <a:pt x="102" y="277"/>
                </a:lnTo>
                <a:lnTo>
                  <a:pt x="108" y="265"/>
                </a:lnTo>
                <a:lnTo>
                  <a:pt x="117" y="254"/>
                </a:lnTo>
                <a:lnTo>
                  <a:pt x="133" y="252"/>
                </a:lnTo>
                <a:lnTo>
                  <a:pt x="150" y="251"/>
                </a:lnTo>
                <a:lnTo>
                  <a:pt x="167" y="250"/>
                </a:lnTo>
                <a:lnTo>
                  <a:pt x="185" y="250"/>
                </a:lnTo>
                <a:lnTo>
                  <a:pt x="185" y="224"/>
                </a:lnTo>
                <a:lnTo>
                  <a:pt x="185" y="203"/>
                </a:lnTo>
                <a:lnTo>
                  <a:pt x="182" y="177"/>
                </a:lnTo>
                <a:lnTo>
                  <a:pt x="177" y="137"/>
                </a:lnTo>
                <a:lnTo>
                  <a:pt x="169" y="142"/>
                </a:lnTo>
                <a:lnTo>
                  <a:pt x="162" y="147"/>
                </a:lnTo>
                <a:lnTo>
                  <a:pt x="154" y="151"/>
                </a:lnTo>
                <a:lnTo>
                  <a:pt x="147" y="153"/>
                </a:lnTo>
                <a:lnTo>
                  <a:pt x="141" y="155"/>
                </a:lnTo>
                <a:lnTo>
                  <a:pt x="133" y="156"/>
                </a:lnTo>
                <a:lnTo>
                  <a:pt x="128" y="156"/>
                </a:lnTo>
                <a:lnTo>
                  <a:pt x="121" y="155"/>
                </a:lnTo>
                <a:lnTo>
                  <a:pt x="115" y="153"/>
                </a:lnTo>
                <a:lnTo>
                  <a:pt x="110" y="151"/>
                </a:lnTo>
                <a:lnTo>
                  <a:pt x="104" y="147"/>
                </a:lnTo>
                <a:lnTo>
                  <a:pt x="99" y="144"/>
                </a:lnTo>
                <a:lnTo>
                  <a:pt x="89" y="135"/>
                </a:lnTo>
                <a:lnTo>
                  <a:pt x="81" y="124"/>
                </a:lnTo>
                <a:lnTo>
                  <a:pt x="73" y="111"/>
                </a:lnTo>
                <a:lnTo>
                  <a:pt x="67" y="96"/>
                </a:lnTo>
                <a:lnTo>
                  <a:pt x="61" y="82"/>
                </a:lnTo>
                <a:lnTo>
                  <a:pt x="56" y="65"/>
                </a:lnTo>
                <a:lnTo>
                  <a:pt x="52" y="49"/>
                </a:lnTo>
                <a:lnTo>
                  <a:pt x="50" y="34"/>
                </a:lnTo>
                <a:lnTo>
                  <a:pt x="48" y="18"/>
                </a:lnTo>
                <a:lnTo>
                  <a:pt x="48" y="4"/>
                </a:lnTo>
                <a:lnTo>
                  <a:pt x="58" y="1"/>
                </a:lnTo>
                <a:lnTo>
                  <a:pt x="67" y="0"/>
                </a:lnTo>
                <a:lnTo>
                  <a:pt x="74" y="1"/>
                </a:lnTo>
                <a:lnTo>
                  <a:pt x="81" y="3"/>
                </a:lnTo>
                <a:lnTo>
                  <a:pt x="86" y="6"/>
                </a:lnTo>
                <a:lnTo>
                  <a:pt x="91" y="10"/>
                </a:lnTo>
                <a:lnTo>
                  <a:pt x="95" y="16"/>
                </a:lnTo>
                <a:lnTo>
                  <a:pt x="99" y="22"/>
                </a:lnTo>
                <a:lnTo>
                  <a:pt x="107" y="35"/>
                </a:lnTo>
                <a:lnTo>
                  <a:pt x="115" y="49"/>
                </a:lnTo>
                <a:lnTo>
                  <a:pt x="119" y="57"/>
                </a:lnTo>
                <a:lnTo>
                  <a:pt x="124" y="64"/>
                </a:lnTo>
                <a:lnTo>
                  <a:pt x="130" y="70"/>
                </a:lnTo>
                <a:lnTo>
                  <a:pt x="137" y="77"/>
                </a:lnTo>
                <a:lnTo>
                  <a:pt x="155" y="75"/>
                </a:lnTo>
                <a:lnTo>
                  <a:pt x="175" y="74"/>
                </a:lnTo>
                <a:lnTo>
                  <a:pt x="195" y="73"/>
                </a:lnTo>
                <a:lnTo>
                  <a:pt x="215" y="73"/>
                </a:lnTo>
                <a:lnTo>
                  <a:pt x="229" y="79"/>
                </a:lnTo>
                <a:lnTo>
                  <a:pt x="244" y="88"/>
                </a:lnTo>
                <a:lnTo>
                  <a:pt x="258" y="99"/>
                </a:lnTo>
                <a:lnTo>
                  <a:pt x="271" y="112"/>
                </a:lnTo>
                <a:lnTo>
                  <a:pt x="284" y="126"/>
                </a:lnTo>
                <a:lnTo>
                  <a:pt x="296" y="142"/>
                </a:lnTo>
                <a:lnTo>
                  <a:pt x="307" y="157"/>
                </a:lnTo>
                <a:lnTo>
                  <a:pt x="316" y="176"/>
                </a:lnTo>
                <a:lnTo>
                  <a:pt x="326" y="193"/>
                </a:lnTo>
                <a:lnTo>
                  <a:pt x="333" y="211"/>
                </a:lnTo>
                <a:lnTo>
                  <a:pt x="339" y="230"/>
                </a:lnTo>
                <a:lnTo>
                  <a:pt x="342" y="248"/>
                </a:lnTo>
                <a:lnTo>
                  <a:pt x="344" y="267"/>
                </a:lnTo>
                <a:lnTo>
                  <a:pt x="344" y="285"/>
                </a:lnTo>
                <a:lnTo>
                  <a:pt x="341" y="302"/>
                </a:lnTo>
                <a:lnTo>
                  <a:pt x="336" y="317"/>
                </a:lnTo>
                <a:lnTo>
                  <a:pt x="324" y="336"/>
                </a:lnTo>
                <a:lnTo>
                  <a:pt x="303" y="366"/>
                </a:lnTo>
                <a:lnTo>
                  <a:pt x="290" y="380"/>
                </a:lnTo>
                <a:lnTo>
                  <a:pt x="277" y="392"/>
                </a:lnTo>
                <a:lnTo>
                  <a:pt x="271" y="395"/>
                </a:lnTo>
                <a:lnTo>
                  <a:pt x="264" y="398"/>
                </a:lnTo>
                <a:lnTo>
                  <a:pt x="258" y="399"/>
                </a:lnTo>
                <a:lnTo>
                  <a:pt x="251" y="398"/>
                </a:lnTo>
                <a:lnTo>
                  <a:pt x="249" y="380"/>
                </a:lnTo>
                <a:lnTo>
                  <a:pt x="246" y="360"/>
                </a:lnTo>
                <a:lnTo>
                  <a:pt x="244" y="342"/>
                </a:lnTo>
                <a:lnTo>
                  <a:pt x="241" y="323"/>
                </a:lnTo>
                <a:lnTo>
                  <a:pt x="233" y="329"/>
                </a:lnTo>
                <a:lnTo>
                  <a:pt x="228" y="334"/>
                </a:lnTo>
                <a:lnTo>
                  <a:pt x="223" y="340"/>
                </a:lnTo>
                <a:lnTo>
                  <a:pt x="219" y="346"/>
                </a:lnTo>
                <a:lnTo>
                  <a:pt x="214" y="358"/>
                </a:lnTo>
                <a:lnTo>
                  <a:pt x="208" y="371"/>
                </a:lnTo>
                <a:lnTo>
                  <a:pt x="205" y="382"/>
                </a:lnTo>
                <a:lnTo>
                  <a:pt x="201" y="394"/>
                </a:lnTo>
                <a:lnTo>
                  <a:pt x="194" y="406"/>
                </a:lnTo>
                <a:lnTo>
                  <a:pt x="185" y="418"/>
                </a:lnTo>
                <a:lnTo>
                  <a:pt x="171" y="420"/>
                </a:lnTo>
                <a:lnTo>
                  <a:pt x="155" y="423"/>
                </a:lnTo>
                <a:lnTo>
                  <a:pt x="141" y="425"/>
                </a:lnTo>
                <a:lnTo>
                  <a:pt x="126" y="429"/>
                </a:lnTo>
                <a:lnTo>
                  <a:pt x="120" y="441"/>
                </a:lnTo>
                <a:lnTo>
                  <a:pt x="113" y="451"/>
                </a:lnTo>
                <a:lnTo>
                  <a:pt x="107" y="459"/>
                </a:lnTo>
                <a:lnTo>
                  <a:pt x="99" y="466"/>
                </a:lnTo>
                <a:lnTo>
                  <a:pt x="91" y="471"/>
                </a:lnTo>
                <a:lnTo>
                  <a:pt x="81" y="475"/>
                </a:lnTo>
                <a:lnTo>
                  <a:pt x="69" y="479"/>
                </a:lnTo>
                <a:lnTo>
                  <a:pt x="56" y="481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63" name="Freeform 28"/>
          <p:cNvSpPr>
            <a:spLocks/>
          </p:cNvSpPr>
          <p:nvPr/>
        </p:nvSpPr>
        <p:spPr bwMode="auto">
          <a:xfrm>
            <a:off x="944563" y="3375025"/>
            <a:ext cx="395287" cy="454025"/>
          </a:xfrm>
          <a:custGeom>
            <a:avLst/>
            <a:gdLst>
              <a:gd name="T0" fmla="*/ 2147483647 w 995"/>
              <a:gd name="T1" fmla="*/ 2147483647 h 1141"/>
              <a:gd name="T2" fmla="*/ 2147483647 w 995"/>
              <a:gd name="T3" fmla="*/ 2147483647 h 1141"/>
              <a:gd name="T4" fmla="*/ 2147483647 w 995"/>
              <a:gd name="T5" fmla="*/ 2147483647 h 1141"/>
              <a:gd name="T6" fmla="*/ 2147483647 w 995"/>
              <a:gd name="T7" fmla="*/ 2147483647 h 1141"/>
              <a:gd name="T8" fmla="*/ 2147483647 w 995"/>
              <a:gd name="T9" fmla="*/ 2147483647 h 1141"/>
              <a:gd name="T10" fmla="*/ 2147483647 w 995"/>
              <a:gd name="T11" fmla="*/ 2147483647 h 1141"/>
              <a:gd name="T12" fmla="*/ 2147483647 w 995"/>
              <a:gd name="T13" fmla="*/ 2147483647 h 1141"/>
              <a:gd name="T14" fmla="*/ 2147483647 w 995"/>
              <a:gd name="T15" fmla="*/ 2147483647 h 1141"/>
              <a:gd name="T16" fmla="*/ 2147483647 w 995"/>
              <a:gd name="T17" fmla="*/ 2147483647 h 1141"/>
              <a:gd name="T18" fmla="*/ 2147483647 w 995"/>
              <a:gd name="T19" fmla="*/ 2147483647 h 1141"/>
              <a:gd name="T20" fmla="*/ 2147483647 w 995"/>
              <a:gd name="T21" fmla="*/ 2147483647 h 1141"/>
              <a:gd name="T22" fmla="*/ 2147483647 w 995"/>
              <a:gd name="T23" fmla="*/ 2147483647 h 1141"/>
              <a:gd name="T24" fmla="*/ 2147483647 w 995"/>
              <a:gd name="T25" fmla="*/ 2147483647 h 1141"/>
              <a:gd name="T26" fmla="*/ 2147483647 w 995"/>
              <a:gd name="T27" fmla="*/ 2147483647 h 1141"/>
              <a:gd name="T28" fmla="*/ 2147483647 w 995"/>
              <a:gd name="T29" fmla="*/ 2147483647 h 1141"/>
              <a:gd name="T30" fmla="*/ 2147483647 w 995"/>
              <a:gd name="T31" fmla="*/ 2147483647 h 1141"/>
              <a:gd name="T32" fmla="*/ 2147483647 w 995"/>
              <a:gd name="T33" fmla="*/ 2147483647 h 1141"/>
              <a:gd name="T34" fmla="*/ 0 w 995"/>
              <a:gd name="T35" fmla="*/ 2147483647 h 1141"/>
              <a:gd name="T36" fmla="*/ 2147483647 w 995"/>
              <a:gd name="T37" fmla="*/ 2147483647 h 1141"/>
              <a:gd name="T38" fmla="*/ 2147483647 w 995"/>
              <a:gd name="T39" fmla="*/ 2147483647 h 1141"/>
              <a:gd name="T40" fmla="*/ 2147483647 w 995"/>
              <a:gd name="T41" fmla="*/ 2147483647 h 1141"/>
              <a:gd name="T42" fmla="*/ 2147483647 w 995"/>
              <a:gd name="T43" fmla="*/ 2147483647 h 1141"/>
              <a:gd name="T44" fmla="*/ 2147483647 w 995"/>
              <a:gd name="T45" fmla="*/ 2147483647 h 1141"/>
              <a:gd name="T46" fmla="*/ 2147483647 w 995"/>
              <a:gd name="T47" fmla="*/ 2147483647 h 1141"/>
              <a:gd name="T48" fmla="*/ 2147483647 w 995"/>
              <a:gd name="T49" fmla="*/ 2147483647 h 1141"/>
              <a:gd name="T50" fmla="*/ 2147483647 w 995"/>
              <a:gd name="T51" fmla="*/ 2147483647 h 1141"/>
              <a:gd name="T52" fmla="*/ 2147483647 w 995"/>
              <a:gd name="T53" fmla="*/ 2147483647 h 1141"/>
              <a:gd name="T54" fmla="*/ 2147483647 w 995"/>
              <a:gd name="T55" fmla="*/ 2147483647 h 1141"/>
              <a:gd name="T56" fmla="*/ 2147483647 w 995"/>
              <a:gd name="T57" fmla="*/ 2147483647 h 1141"/>
              <a:gd name="T58" fmla="*/ 2147483647 w 995"/>
              <a:gd name="T59" fmla="*/ 2147483647 h 1141"/>
              <a:gd name="T60" fmla="*/ 2147483647 w 995"/>
              <a:gd name="T61" fmla="*/ 2147483647 h 1141"/>
              <a:gd name="T62" fmla="*/ 2147483647 w 995"/>
              <a:gd name="T63" fmla="*/ 2147483647 h 1141"/>
              <a:gd name="T64" fmla="*/ 2147483647 w 995"/>
              <a:gd name="T65" fmla="*/ 2147483647 h 1141"/>
              <a:gd name="T66" fmla="*/ 2147483647 w 995"/>
              <a:gd name="T67" fmla="*/ 2147483647 h 1141"/>
              <a:gd name="T68" fmla="*/ 2147483647 w 995"/>
              <a:gd name="T69" fmla="*/ 2147483647 h 1141"/>
              <a:gd name="T70" fmla="*/ 2147483647 w 995"/>
              <a:gd name="T71" fmla="*/ 2147483647 h 1141"/>
              <a:gd name="T72" fmla="*/ 2147483647 w 995"/>
              <a:gd name="T73" fmla="*/ 2147483647 h 1141"/>
              <a:gd name="T74" fmla="*/ 2147483647 w 995"/>
              <a:gd name="T75" fmla="*/ 2147483647 h 1141"/>
              <a:gd name="T76" fmla="*/ 2147483647 w 995"/>
              <a:gd name="T77" fmla="*/ 2147483647 h 1141"/>
              <a:gd name="T78" fmla="*/ 2147483647 w 995"/>
              <a:gd name="T79" fmla="*/ 2147483647 h 1141"/>
              <a:gd name="T80" fmla="*/ 2147483647 w 995"/>
              <a:gd name="T81" fmla="*/ 2147483647 h 1141"/>
              <a:gd name="T82" fmla="*/ 2147483647 w 995"/>
              <a:gd name="T83" fmla="*/ 2147483647 h 1141"/>
              <a:gd name="T84" fmla="*/ 2147483647 w 995"/>
              <a:gd name="T85" fmla="*/ 2147483647 h 1141"/>
              <a:gd name="T86" fmla="*/ 2147483647 w 995"/>
              <a:gd name="T87" fmla="*/ 2147483647 h 1141"/>
              <a:gd name="T88" fmla="*/ 2147483647 w 995"/>
              <a:gd name="T89" fmla="*/ 2147483647 h 1141"/>
              <a:gd name="T90" fmla="*/ 2147483647 w 995"/>
              <a:gd name="T91" fmla="*/ 2147483647 h 1141"/>
              <a:gd name="T92" fmla="*/ 2147483647 w 995"/>
              <a:gd name="T93" fmla="*/ 2147483647 h 1141"/>
              <a:gd name="T94" fmla="*/ 2147483647 w 995"/>
              <a:gd name="T95" fmla="*/ 2147483647 h 1141"/>
              <a:gd name="T96" fmla="*/ 2147483647 w 995"/>
              <a:gd name="T97" fmla="*/ 2147483647 h 1141"/>
              <a:gd name="T98" fmla="*/ 2147483647 w 995"/>
              <a:gd name="T99" fmla="*/ 2147483647 h 1141"/>
              <a:gd name="T100" fmla="*/ 2147483647 w 995"/>
              <a:gd name="T101" fmla="*/ 2147483647 h 1141"/>
              <a:gd name="T102" fmla="*/ 2147483647 w 995"/>
              <a:gd name="T103" fmla="*/ 2147483647 h 1141"/>
              <a:gd name="T104" fmla="*/ 2147483647 w 995"/>
              <a:gd name="T105" fmla="*/ 2147483647 h 1141"/>
              <a:gd name="T106" fmla="*/ 2147483647 w 995"/>
              <a:gd name="T107" fmla="*/ 2147483647 h 1141"/>
              <a:gd name="T108" fmla="*/ 2147483647 w 995"/>
              <a:gd name="T109" fmla="*/ 2147483647 h 1141"/>
              <a:gd name="T110" fmla="*/ 2147483647 w 995"/>
              <a:gd name="T111" fmla="*/ 2147483647 h 1141"/>
              <a:gd name="T112" fmla="*/ 2147483647 w 995"/>
              <a:gd name="T113" fmla="*/ 2147483647 h 1141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995"/>
              <a:gd name="T172" fmla="*/ 0 h 1141"/>
              <a:gd name="T173" fmla="*/ 995 w 995"/>
              <a:gd name="T174" fmla="*/ 1141 h 1141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995" h="1141">
                <a:moveTo>
                  <a:pt x="618" y="1141"/>
                </a:moveTo>
                <a:lnTo>
                  <a:pt x="596" y="1135"/>
                </a:lnTo>
                <a:lnTo>
                  <a:pt x="575" y="1128"/>
                </a:lnTo>
                <a:lnTo>
                  <a:pt x="555" y="1122"/>
                </a:lnTo>
                <a:lnTo>
                  <a:pt x="534" y="1117"/>
                </a:lnTo>
                <a:lnTo>
                  <a:pt x="528" y="1098"/>
                </a:lnTo>
                <a:lnTo>
                  <a:pt x="523" y="1079"/>
                </a:lnTo>
                <a:lnTo>
                  <a:pt x="520" y="1062"/>
                </a:lnTo>
                <a:lnTo>
                  <a:pt x="516" y="1044"/>
                </a:lnTo>
                <a:lnTo>
                  <a:pt x="512" y="1027"/>
                </a:lnTo>
                <a:lnTo>
                  <a:pt x="506" y="1011"/>
                </a:lnTo>
                <a:lnTo>
                  <a:pt x="501" y="1003"/>
                </a:lnTo>
                <a:lnTo>
                  <a:pt x="495" y="996"/>
                </a:lnTo>
                <a:lnTo>
                  <a:pt x="489" y="989"/>
                </a:lnTo>
                <a:lnTo>
                  <a:pt x="481" y="981"/>
                </a:lnTo>
                <a:lnTo>
                  <a:pt x="477" y="964"/>
                </a:lnTo>
                <a:lnTo>
                  <a:pt x="471" y="946"/>
                </a:lnTo>
                <a:lnTo>
                  <a:pt x="463" y="928"/>
                </a:lnTo>
                <a:lnTo>
                  <a:pt x="454" y="912"/>
                </a:lnTo>
                <a:lnTo>
                  <a:pt x="449" y="904"/>
                </a:lnTo>
                <a:lnTo>
                  <a:pt x="442" y="898"/>
                </a:lnTo>
                <a:lnTo>
                  <a:pt x="435" y="893"/>
                </a:lnTo>
                <a:lnTo>
                  <a:pt x="428" y="889"/>
                </a:lnTo>
                <a:lnTo>
                  <a:pt x="420" y="886"/>
                </a:lnTo>
                <a:lnTo>
                  <a:pt x="412" y="884"/>
                </a:lnTo>
                <a:lnTo>
                  <a:pt x="403" y="884"/>
                </a:lnTo>
                <a:lnTo>
                  <a:pt x="393" y="885"/>
                </a:lnTo>
                <a:lnTo>
                  <a:pt x="390" y="901"/>
                </a:lnTo>
                <a:lnTo>
                  <a:pt x="386" y="919"/>
                </a:lnTo>
                <a:lnTo>
                  <a:pt x="363" y="916"/>
                </a:lnTo>
                <a:lnTo>
                  <a:pt x="338" y="912"/>
                </a:lnTo>
                <a:lnTo>
                  <a:pt x="326" y="911"/>
                </a:lnTo>
                <a:lnTo>
                  <a:pt x="315" y="910"/>
                </a:lnTo>
                <a:lnTo>
                  <a:pt x="303" y="910"/>
                </a:lnTo>
                <a:lnTo>
                  <a:pt x="292" y="911"/>
                </a:lnTo>
                <a:lnTo>
                  <a:pt x="282" y="920"/>
                </a:lnTo>
                <a:lnTo>
                  <a:pt x="272" y="925"/>
                </a:lnTo>
                <a:lnTo>
                  <a:pt x="262" y="929"/>
                </a:lnTo>
                <a:lnTo>
                  <a:pt x="253" y="929"/>
                </a:lnTo>
                <a:lnTo>
                  <a:pt x="243" y="928"/>
                </a:lnTo>
                <a:lnTo>
                  <a:pt x="233" y="927"/>
                </a:lnTo>
                <a:lnTo>
                  <a:pt x="221" y="923"/>
                </a:lnTo>
                <a:lnTo>
                  <a:pt x="208" y="919"/>
                </a:lnTo>
                <a:lnTo>
                  <a:pt x="208" y="890"/>
                </a:lnTo>
                <a:lnTo>
                  <a:pt x="208" y="863"/>
                </a:lnTo>
                <a:lnTo>
                  <a:pt x="209" y="850"/>
                </a:lnTo>
                <a:lnTo>
                  <a:pt x="212" y="837"/>
                </a:lnTo>
                <a:lnTo>
                  <a:pt x="214" y="824"/>
                </a:lnTo>
                <a:lnTo>
                  <a:pt x="220" y="808"/>
                </a:lnTo>
                <a:lnTo>
                  <a:pt x="207" y="808"/>
                </a:lnTo>
                <a:lnTo>
                  <a:pt x="195" y="808"/>
                </a:lnTo>
                <a:lnTo>
                  <a:pt x="191" y="789"/>
                </a:lnTo>
                <a:lnTo>
                  <a:pt x="188" y="770"/>
                </a:lnTo>
                <a:lnTo>
                  <a:pt x="177" y="763"/>
                </a:lnTo>
                <a:lnTo>
                  <a:pt x="167" y="755"/>
                </a:lnTo>
                <a:lnTo>
                  <a:pt x="160" y="747"/>
                </a:lnTo>
                <a:lnTo>
                  <a:pt x="154" y="739"/>
                </a:lnTo>
                <a:lnTo>
                  <a:pt x="151" y="733"/>
                </a:lnTo>
                <a:lnTo>
                  <a:pt x="148" y="725"/>
                </a:lnTo>
                <a:lnTo>
                  <a:pt x="147" y="717"/>
                </a:lnTo>
                <a:lnTo>
                  <a:pt x="147" y="709"/>
                </a:lnTo>
                <a:lnTo>
                  <a:pt x="147" y="694"/>
                </a:lnTo>
                <a:lnTo>
                  <a:pt x="149" y="677"/>
                </a:lnTo>
                <a:lnTo>
                  <a:pt x="149" y="668"/>
                </a:lnTo>
                <a:lnTo>
                  <a:pt x="149" y="659"/>
                </a:lnTo>
                <a:lnTo>
                  <a:pt x="148" y="648"/>
                </a:lnTo>
                <a:lnTo>
                  <a:pt x="147" y="638"/>
                </a:lnTo>
                <a:lnTo>
                  <a:pt x="160" y="626"/>
                </a:lnTo>
                <a:lnTo>
                  <a:pt x="167" y="621"/>
                </a:lnTo>
                <a:lnTo>
                  <a:pt x="174" y="618"/>
                </a:lnTo>
                <a:lnTo>
                  <a:pt x="181" y="616"/>
                </a:lnTo>
                <a:lnTo>
                  <a:pt x="178" y="605"/>
                </a:lnTo>
                <a:lnTo>
                  <a:pt x="175" y="595"/>
                </a:lnTo>
                <a:lnTo>
                  <a:pt x="170" y="586"/>
                </a:lnTo>
                <a:lnTo>
                  <a:pt x="166" y="577"/>
                </a:lnTo>
                <a:lnTo>
                  <a:pt x="153" y="561"/>
                </a:lnTo>
                <a:lnTo>
                  <a:pt x="139" y="545"/>
                </a:lnTo>
                <a:lnTo>
                  <a:pt x="123" y="531"/>
                </a:lnTo>
                <a:lnTo>
                  <a:pt x="108" y="517"/>
                </a:lnTo>
                <a:lnTo>
                  <a:pt x="93" y="502"/>
                </a:lnTo>
                <a:lnTo>
                  <a:pt x="79" y="486"/>
                </a:lnTo>
                <a:lnTo>
                  <a:pt x="67" y="484"/>
                </a:lnTo>
                <a:lnTo>
                  <a:pt x="57" y="486"/>
                </a:lnTo>
                <a:lnTo>
                  <a:pt x="44" y="491"/>
                </a:lnTo>
                <a:lnTo>
                  <a:pt x="22" y="501"/>
                </a:lnTo>
                <a:lnTo>
                  <a:pt x="18" y="488"/>
                </a:lnTo>
                <a:lnTo>
                  <a:pt x="15" y="476"/>
                </a:lnTo>
                <a:lnTo>
                  <a:pt x="7" y="473"/>
                </a:lnTo>
                <a:lnTo>
                  <a:pt x="0" y="470"/>
                </a:lnTo>
                <a:lnTo>
                  <a:pt x="0" y="462"/>
                </a:lnTo>
                <a:lnTo>
                  <a:pt x="0" y="454"/>
                </a:lnTo>
                <a:lnTo>
                  <a:pt x="10" y="449"/>
                </a:lnTo>
                <a:lnTo>
                  <a:pt x="22" y="443"/>
                </a:lnTo>
                <a:lnTo>
                  <a:pt x="24" y="430"/>
                </a:lnTo>
                <a:lnTo>
                  <a:pt x="27" y="418"/>
                </a:lnTo>
                <a:lnTo>
                  <a:pt x="52" y="419"/>
                </a:lnTo>
                <a:lnTo>
                  <a:pt x="76" y="421"/>
                </a:lnTo>
                <a:lnTo>
                  <a:pt x="100" y="423"/>
                </a:lnTo>
                <a:lnTo>
                  <a:pt x="125" y="424"/>
                </a:lnTo>
                <a:lnTo>
                  <a:pt x="139" y="402"/>
                </a:lnTo>
                <a:lnTo>
                  <a:pt x="147" y="388"/>
                </a:lnTo>
                <a:lnTo>
                  <a:pt x="151" y="376"/>
                </a:lnTo>
                <a:lnTo>
                  <a:pt x="156" y="361"/>
                </a:lnTo>
                <a:lnTo>
                  <a:pt x="130" y="345"/>
                </a:lnTo>
                <a:lnTo>
                  <a:pt x="104" y="328"/>
                </a:lnTo>
                <a:lnTo>
                  <a:pt x="78" y="313"/>
                </a:lnTo>
                <a:lnTo>
                  <a:pt x="52" y="297"/>
                </a:lnTo>
                <a:lnTo>
                  <a:pt x="52" y="284"/>
                </a:lnTo>
                <a:lnTo>
                  <a:pt x="52" y="271"/>
                </a:lnTo>
                <a:lnTo>
                  <a:pt x="52" y="259"/>
                </a:lnTo>
                <a:lnTo>
                  <a:pt x="52" y="248"/>
                </a:lnTo>
                <a:lnTo>
                  <a:pt x="66" y="238"/>
                </a:lnTo>
                <a:lnTo>
                  <a:pt x="79" y="231"/>
                </a:lnTo>
                <a:lnTo>
                  <a:pt x="92" y="225"/>
                </a:lnTo>
                <a:lnTo>
                  <a:pt x="102" y="222"/>
                </a:lnTo>
                <a:lnTo>
                  <a:pt x="112" y="219"/>
                </a:lnTo>
                <a:lnTo>
                  <a:pt x="121" y="216"/>
                </a:lnTo>
                <a:lnTo>
                  <a:pt x="130" y="216"/>
                </a:lnTo>
                <a:lnTo>
                  <a:pt x="139" y="216"/>
                </a:lnTo>
                <a:lnTo>
                  <a:pt x="178" y="224"/>
                </a:lnTo>
                <a:lnTo>
                  <a:pt x="235" y="237"/>
                </a:lnTo>
                <a:lnTo>
                  <a:pt x="252" y="249"/>
                </a:lnTo>
                <a:lnTo>
                  <a:pt x="268" y="259"/>
                </a:lnTo>
                <a:lnTo>
                  <a:pt x="282" y="270"/>
                </a:lnTo>
                <a:lnTo>
                  <a:pt x="296" y="281"/>
                </a:lnTo>
                <a:lnTo>
                  <a:pt x="309" y="293"/>
                </a:lnTo>
                <a:lnTo>
                  <a:pt x="322" y="306"/>
                </a:lnTo>
                <a:lnTo>
                  <a:pt x="335" y="319"/>
                </a:lnTo>
                <a:lnTo>
                  <a:pt x="348" y="333"/>
                </a:lnTo>
                <a:lnTo>
                  <a:pt x="378" y="320"/>
                </a:lnTo>
                <a:lnTo>
                  <a:pt x="406" y="305"/>
                </a:lnTo>
                <a:lnTo>
                  <a:pt x="433" y="288"/>
                </a:lnTo>
                <a:lnTo>
                  <a:pt x="460" y="268"/>
                </a:lnTo>
                <a:lnTo>
                  <a:pt x="463" y="245"/>
                </a:lnTo>
                <a:lnTo>
                  <a:pt x="467" y="222"/>
                </a:lnTo>
                <a:lnTo>
                  <a:pt x="471" y="199"/>
                </a:lnTo>
                <a:lnTo>
                  <a:pt x="475" y="176"/>
                </a:lnTo>
                <a:lnTo>
                  <a:pt x="489" y="169"/>
                </a:lnTo>
                <a:lnTo>
                  <a:pt x="504" y="164"/>
                </a:lnTo>
                <a:lnTo>
                  <a:pt x="519" y="162"/>
                </a:lnTo>
                <a:lnTo>
                  <a:pt x="533" y="158"/>
                </a:lnTo>
                <a:lnTo>
                  <a:pt x="547" y="154"/>
                </a:lnTo>
                <a:lnTo>
                  <a:pt x="559" y="147"/>
                </a:lnTo>
                <a:lnTo>
                  <a:pt x="564" y="143"/>
                </a:lnTo>
                <a:lnTo>
                  <a:pt x="570" y="140"/>
                </a:lnTo>
                <a:lnTo>
                  <a:pt x="573" y="134"/>
                </a:lnTo>
                <a:lnTo>
                  <a:pt x="577" y="128"/>
                </a:lnTo>
                <a:lnTo>
                  <a:pt x="598" y="119"/>
                </a:lnTo>
                <a:lnTo>
                  <a:pt x="614" y="114"/>
                </a:lnTo>
                <a:lnTo>
                  <a:pt x="633" y="110"/>
                </a:lnTo>
                <a:lnTo>
                  <a:pt x="663" y="104"/>
                </a:lnTo>
                <a:lnTo>
                  <a:pt x="666" y="93"/>
                </a:lnTo>
                <a:lnTo>
                  <a:pt x="670" y="80"/>
                </a:lnTo>
                <a:lnTo>
                  <a:pt x="674" y="65"/>
                </a:lnTo>
                <a:lnTo>
                  <a:pt x="679" y="51"/>
                </a:lnTo>
                <a:lnTo>
                  <a:pt x="684" y="37"/>
                </a:lnTo>
                <a:lnTo>
                  <a:pt x="688" y="22"/>
                </a:lnTo>
                <a:lnTo>
                  <a:pt x="689" y="11"/>
                </a:lnTo>
                <a:lnTo>
                  <a:pt x="689" y="0"/>
                </a:lnTo>
                <a:lnTo>
                  <a:pt x="701" y="7"/>
                </a:lnTo>
                <a:lnTo>
                  <a:pt x="714" y="12"/>
                </a:lnTo>
                <a:lnTo>
                  <a:pt x="724" y="28"/>
                </a:lnTo>
                <a:lnTo>
                  <a:pt x="736" y="42"/>
                </a:lnTo>
                <a:lnTo>
                  <a:pt x="749" y="54"/>
                </a:lnTo>
                <a:lnTo>
                  <a:pt x="763" y="65"/>
                </a:lnTo>
                <a:lnTo>
                  <a:pt x="778" y="76"/>
                </a:lnTo>
                <a:lnTo>
                  <a:pt x="792" y="84"/>
                </a:lnTo>
                <a:lnTo>
                  <a:pt x="808" y="90"/>
                </a:lnTo>
                <a:lnTo>
                  <a:pt x="823" y="95"/>
                </a:lnTo>
                <a:lnTo>
                  <a:pt x="840" y="98"/>
                </a:lnTo>
                <a:lnTo>
                  <a:pt x="856" y="99"/>
                </a:lnTo>
                <a:lnTo>
                  <a:pt x="873" y="99"/>
                </a:lnTo>
                <a:lnTo>
                  <a:pt x="890" y="97"/>
                </a:lnTo>
                <a:lnTo>
                  <a:pt x="908" y="93"/>
                </a:lnTo>
                <a:lnTo>
                  <a:pt x="925" y="86"/>
                </a:lnTo>
                <a:lnTo>
                  <a:pt x="942" y="77"/>
                </a:lnTo>
                <a:lnTo>
                  <a:pt x="957" y="67"/>
                </a:lnTo>
                <a:lnTo>
                  <a:pt x="959" y="78"/>
                </a:lnTo>
                <a:lnTo>
                  <a:pt x="960" y="89"/>
                </a:lnTo>
                <a:lnTo>
                  <a:pt x="962" y="101"/>
                </a:lnTo>
                <a:lnTo>
                  <a:pt x="966" y="112"/>
                </a:lnTo>
                <a:lnTo>
                  <a:pt x="974" y="134"/>
                </a:lnTo>
                <a:lnTo>
                  <a:pt x="982" y="158"/>
                </a:lnTo>
                <a:lnTo>
                  <a:pt x="986" y="169"/>
                </a:lnTo>
                <a:lnTo>
                  <a:pt x="988" y="181"/>
                </a:lnTo>
                <a:lnTo>
                  <a:pt x="992" y="193"/>
                </a:lnTo>
                <a:lnTo>
                  <a:pt x="994" y="206"/>
                </a:lnTo>
                <a:lnTo>
                  <a:pt x="995" y="218"/>
                </a:lnTo>
                <a:lnTo>
                  <a:pt x="994" y="231"/>
                </a:lnTo>
                <a:lnTo>
                  <a:pt x="992" y="244"/>
                </a:lnTo>
                <a:lnTo>
                  <a:pt x="988" y="257"/>
                </a:lnTo>
                <a:lnTo>
                  <a:pt x="979" y="261"/>
                </a:lnTo>
                <a:lnTo>
                  <a:pt x="972" y="264"/>
                </a:lnTo>
                <a:lnTo>
                  <a:pt x="964" y="268"/>
                </a:lnTo>
                <a:lnTo>
                  <a:pt x="956" y="274"/>
                </a:lnTo>
                <a:lnTo>
                  <a:pt x="944" y="284"/>
                </a:lnTo>
                <a:lnTo>
                  <a:pt x="932" y="294"/>
                </a:lnTo>
                <a:lnTo>
                  <a:pt x="922" y="306"/>
                </a:lnTo>
                <a:lnTo>
                  <a:pt x="912" y="318"/>
                </a:lnTo>
                <a:lnTo>
                  <a:pt x="899" y="328"/>
                </a:lnTo>
                <a:lnTo>
                  <a:pt x="884" y="340"/>
                </a:lnTo>
                <a:lnTo>
                  <a:pt x="891" y="366"/>
                </a:lnTo>
                <a:lnTo>
                  <a:pt x="903" y="400"/>
                </a:lnTo>
                <a:lnTo>
                  <a:pt x="908" y="417"/>
                </a:lnTo>
                <a:lnTo>
                  <a:pt x="913" y="434"/>
                </a:lnTo>
                <a:lnTo>
                  <a:pt x="916" y="448"/>
                </a:lnTo>
                <a:lnTo>
                  <a:pt x="917" y="458"/>
                </a:lnTo>
                <a:lnTo>
                  <a:pt x="908" y="474"/>
                </a:lnTo>
                <a:lnTo>
                  <a:pt x="899" y="488"/>
                </a:lnTo>
                <a:lnTo>
                  <a:pt x="890" y="504"/>
                </a:lnTo>
                <a:lnTo>
                  <a:pt x="880" y="521"/>
                </a:lnTo>
                <a:lnTo>
                  <a:pt x="866" y="519"/>
                </a:lnTo>
                <a:lnTo>
                  <a:pt x="852" y="517"/>
                </a:lnTo>
                <a:lnTo>
                  <a:pt x="839" y="514"/>
                </a:lnTo>
                <a:lnTo>
                  <a:pt x="827" y="510"/>
                </a:lnTo>
                <a:lnTo>
                  <a:pt x="804" y="502"/>
                </a:lnTo>
                <a:lnTo>
                  <a:pt x="782" y="497"/>
                </a:lnTo>
                <a:lnTo>
                  <a:pt x="771" y="496"/>
                </a:lnTo>
                <a:lnTo>
                  <a:pt x="761" y="497"/>
                </a:lnTo>
                <a:lnTo>
                  <a:pt x="750" y="500"/>
                </a:lnTo>
                <a:lnTo>
                  <a:pt x="740" y="504"/>
                </a:lnTo>
                <a:lnTo>
                  <a:pt x="730" y="512"/>
                </a:lnTo>
                <a:lnTo>
                  <a:pt x="719" y="522"/>
                </a:lnTo>
                <a:lnTo>
                  <a:pt x="707" y="535"/>
                </a:lnTo>
                <a:lnTo>
                  <a:pt x="696" y="553"/>
                </a:lnTo>
                <a:lnTo>
                  <a:pt x="694" y="569"/>
                </a:lnTo>
                <a:lnTo>
                  <a:pt x="693" y="582"/>
                </a:lnTo>
                <a:lnTo>
                  <a:pt x="693" y="594"/>
                </a:lnTo>
                <a:lnTo>
                  <a:pt x="696" y="604"/>
                </a:lnTo>
                <a:lnTo>
                  <a:pt x="698" y="609"/>
                </a:lnTo>
                <a:lnTo>
                  <a:pt x="701" y="613"/>
                </a:lnTo>
                <a:lnTo>
                  <a:pt x="704" y="617"/>
                </a:lnTo>
                <a:lnTo>
                  <a:pt x="707" y="622"/>
                </a:lnTo>
                <a:lnTo>
                  <a:pt x="718" y="630"/>
                </a:lnTo>
                <a:lnTo>
                  <a:pt x="733" y="639"/>
                </a:lnTo>
                <a:lnTo>
                  <a:pt x="733" y="672"/>
                </a:lnTo>
                <a:lnTo>
                  <a:pt x="733" y="704"/>
                </a:lnTo>
                <a:lnTo>
                  <a:pt x="733" y="737"/>
                </a:lnTo>
                <a:lnTo>
                  <a:pt x="733" y="770"/>
                </a:lnTo>
                <a:lnTo>
                  <a:pt x="726" y="770"/>
                </a:lnTo>
                <a:lnTo>
                  <a:pt x="719" y="770"/>
                </a:lnTo>
                <a:lnTo>
                  <a:pt x="719" y="786"/>
                </a:lnTo>
                <a:lnTo>
                  <a:pt x="719" y="803"/>
                </a:lnTo>
                <a:lnTo>
                  <a:pt x="732" y="806"/>
                </a:lnTo>
                <a:lnTo>
                  <a:pt x="746" y="808"/>
                </a:lnTo>
                <a:lnTo>
                  <a:pt x="748" y="819"/>
                </a:lnTo>
                <a:lnTo>
                  <a:pt x="749" y="830"/>
                </a:lnTo>
                <a:lnTo>
                  <a:pt x="750" y="841"/>
                </a:lnTo>
                <a:lnTo>
                  <a:pt x="752" y="852"/>
                </a:lnTo>
                <a:lnTo>
                  <a:pt x="770" y="856"/>
                </a:lnTo>
                <a:lnTo>
                  <a:pt x="787" y="859"/>
                </a:lnTo>
                <a:lnTo>
                  <a:pt x="776" y="886"/>
                </a:lnTo>
                <a:lnTo>
                  <a:pt x="771" y="907"/>
                </a:lnTo>
                <a:lnTo>
                  <a:pt x="771" y="917"/>
                </a:lnTo>
                <a:lnTo>
                  <a:pt x="774" y="928"/>
                </a:lnTo>
                <a:lnTo>
                  <a:pt x="778" y="941"/>
                </a:lnTo>
                <a:lnTo>
                  <a:pt x="784" y="957"/>
                </a:lnTo>
                <a:lnTo>
                  <a:pt x="800" y="957"/>
                </a:lnTo>
                <a:lnTo>
                  <a:pt x="813" y="955"/>
                </a:lnTo>
                <a:lnTo>
                  <a:pt x="824" y="953"/>
                </a:lnTo>
                <a:lnTo>
                  <a:pt x="835" y="949"/>
                </a:lnTo>
                <a:lnTo>
                  <a:pt x="856" y="938"/>
                </a:lnTo>
                <a:lnTo>
                  <a:pt x="880" y="924"/>
                </a:lnTo>
                <a:lnTo>
                  <a:pt x="880" y="934"/>
                </a:lnTo>
                <a:lnTo>
                  <a:pt x="879" y="946"/>
                </a:lnTo>
                <a:lnTo>
                  <a:pt x="877" y="955"/>
                </a:lnTo>
                <a:lnTo>
                  <a:pt x="874" y="966"/>
                </a:lnTo>
                <a:lnTo>
                  <a:pt x="865" y="984"/>
                </a:lnTo>
                <a:lnTo>
                  <a:pt x="856" y="1002"/>
                </a:lnTo>
                <a:lnTo>
                  <a:pt x="832" y="1038"/>
                </a:lnTo>
                <a:lnTo>
                  <a:pt x="810" y="1077"/>
                </a:lnTo>
                <a:lnTo>
                  <a:pt x="776" y="1076"/>
                </a:lnTo>
                <a:lnTo>
                  <a:pt x="745" y="1075"/>
                </a:lnTo>
                <a:lnTo>
                  <a:pt x="713" y="1075"/>
                </a:lnTo>
                <a:lnTo>
                  <a:pt x="681" y="1074"/>
                </a:lnTo>
                <a:lnTo>
                  <a:pt x="676" y="1077"/>
                </a:lnTo>
                <a:lnTo>
                  <a:pt x="671" y="1080"/>
                </a:lnTo>
                <a:lnTo>
                  <a:pt x="667" y="1084"/>
                </a:lnTo>
                <a:lnTo>
                  <a:pt x="663" y="1089"/>
                </a:lnTo>
                <a:lnTo>
                  <a:pt x="655" y="1100"/>
                </a:lnTo>
                <a:lnTo>
                  <a:pt x="649" y="1110"/>
                </a:lnTo>
                <a:lnTo>
                  <a:pt x="641" y="1120"/>
                </a:lnTo>
                <a:lnTo>
                  <a:pt x="635" y="1130"/>
                </a:lnTo>
                <a:lnTo>
                  <a:pt x="631" y="1133"/>
                </a:lnTo>
                <a:lnTo>
                  <a:pt x="627" y="1137"/>
                </a:lnTo>
                <a:lnTo>
                  <a:pt x="623" y="1140"/>
                </a:lnTo>
                <a:lnTo>
                  <a:pt x="618" y="1141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64" name="Freeform 29"/>
          <p:cNvSpPr>
            <a:spLocks/>
          </p:cNvSpPr>
          <p:nvPr/>
        </p:nvSpPr>
        <p:spPr bwMode="auto">
          <a:xfrm>
            <a:off x="1054100" y="3733800"/>
            <a:ext cx="92075" cy="77788"/>
          </a:xfrm>
          <a:custGeom>
            <a:avLst/>
            <a:gdLst>
              <a:gd name="T0" fmla="*/ 2147483647 w 231"/>
              <a:gd name="T1" fmla="*/ 2147483647 h 194"/>
              <a:gd name="T2" fmla="*/ 2147483647 w 231"/>
              <a:gd name="T3" fmla="*/ 2147483647 h 194"/>
              <a:gd name="T4" fmla="*/ 2147483647 w 231"/>
              <a:gd name="T5" fmla="*/ 2147483647 h 194"/>
              <a:gd name="T6" fmla="*/ 2147483647 w 231"/>
              <a:gd name="T7" fmla="*/ 2147483647 h 194"/>
              <a:gd name="T8" fmla="*/ 2147483647 w 231"/>
              <a:gd name="T9" fmla="*/ 2147483647 h 194"/>
              <a:gd name="T10" fmla="*/ 2147483647 w 231"/>
              <a:gd name="T11" fmla="*/ 2147483647 h 194"/>
              <a:gd name="T12" fmla="*/ 2147483647 w 231"/>
              <a:gd name="T13" fmla="*/ 2147483647 h 194"/>
              <a:gd name="T14" fmla="*/ 2147483647 w 231"/>
              <a:gd name="T15" fmla="*/ 2147483647 h 194"/>
              <a:gd name="T16" fmla="*/ 2147483647 w 231"/>
              <a:gd name="T17" fmla="*/ 2147483647 h 194"/>
              <a:gd name="T18" fmla="*/ 2147483647 w 231"/>
              <a:gd name="T19" fmla="*/ 2147483647 h 194"/>
              <a:gd name="T20" fmla="*/ 2147483647 w 231"/>
              <a:gd name="T21" fmla="*/ 2147483647 h 194"/>
              <a:gd name="T22" fmla="*/ 2147483647 w 231"/>
              <a:gd name="T23" fmla="*/ 2147483647 h 194"/>
              <a:gd name="T24" fmla="*/ 2147483647 w 231"/>
              <a:gd name="T25" fmla="*/ 2147483647 h 194"/>
              <a:gd name="T26" fmla="*/ 2147483647 w 231"/>
              <a:gd name="T27" fmla="*/ 2147483647 h 194"/>
              <a:gd name="T28" fmla="*/ 2147483647 w 231"/>
              <a:gd name="T29" fmla="*/ 2147483647 h 194"/>
              <a:gd name="T30" fmla="*/ 2147483647 w 231"/>
              <a:gd name="T31" fmla="*/ 2147483647 h 194"/>
              <a:gd name="T32" fmla="*/ 2147483647 w 231"/>
              <a:gd name="T33" fmla="*/ 2147483647 h 194"/>
              <a:gd name="T34" fmla="*/ 2147483647 w 231"/>
              <a:gd name="T35" fmla="*/ 2147483647 h 194"/>
              <a:gd name="T36" fmla="*/ 2147483647 w 231"/>
              <a:gd name="T37" fmla="*/ 2147483647 h 194"/>
              <a:gd name="T38" fmla="*/ 2147483647 w 231"/>
              <a:gd name="T39" fmla="*/ 2147483647 h 194"/>
              <a:gd name="T40" fmla="*/ 2147483647 w 231"/>
              <a:gd name="T41" fmla="*/ 2147483647 h 194"/>
              <a:gd name="T42" fmla="*/ 2147483647 w 231"/>
              <a:gd name="T43" fmla="*/ 2147483647 h 194"/>
              <a:gd name="T44" fmla="*/ 0 w 231"/>
              <a:gd name="T45" fmla="*/ 2147483647 h 194"/>
              <a:gd name="T46" fmla="*/ 2147483647 w 231"/>
              <a:gd name="T47" fmla="*/ 2147483647 h 194"/>
              <a:gd name="T48" fmla="*/ 2147483647 w 231"/>
              <a:gd name="T49" fmla="*/ 2147483647 h 194"/>
              <a:gd name="T50" fmla="*/ 2147483647 w 231"/>
              <a:gd name="T51" fmla="*/ 2147483647 h 194"/>
              <a:gd name="T52" fmla="*/ 2147483647 w 231"/>
              <a:gd name="T53" fmla="*/ 2147483647 h 194"/>
              <a:gd name="T54" fmla="*/ 2147483647 w 231"/>
              <a:gd name="T55" fmla="*/ 2147483647 h 194"/>
              <a:gd name="T56" fmla="*/ 2147483647 w 231"/>
              <a:gd name="T57" fmla="*/ 2147483647 h 194"/>
              <a:gd name="T58" fmla="*/ 2147483647 w 231"/>
              <a:gd name="T59" fmla="*/ 2147483647 h 194"/>
              <a:gd name="T60" fmla="*/ 2147483647 w 231"/>
              <a:gd name="T61" fmla="*/ 2147483647 h 194"/>
              <a:gd name="T62" fmla="*/ 2147483647 w 231"/>
              <a:gd name="T63" fmla="*/ 2147483647 h 194"/>
              <a:gd name="T64" fmla="*/ 2147483647 w 231"/>
              <a:gd name="T65" fmla="*/ 2147483647 h 194"/>
              <a:gd name="T66" fmla="*/ 2147483647 w 231"/>
              <a:gd name="T67" fmla="*/ 2147483647 h 194"/>
              <a:gd name="T68" fmla="*/ 2147483647 w 231"/>
              <a:gd name="T69" fmla="*/ 0 h 194"/>
              <a:gd name="T70" fmla="*/ 2147483647 w 231"/>
              <a:gd name="T71" fmla="*/ 0 h 194"/>
              <a:gd name="T72" fmla="*/ 2147483647 w 231"/>
              <a:gd name="T73" fmla="*/ 0 h 194"/>
              <a:gd name="T74" fmla="*/ 2147483647 w 231"/>
              <a:gd name="T75" fmla="*/ 2147483647 h 194"/>
              <a:gd name="T76" fmla="*/ 2147483647 w 231"/>
              <a:gd name="T77" fmla="*/ 2147483647 h 194"/>
              <a:gd name="T78" fmla="*/ 2147483647 w 231"/>
              <a:gd name="T79" fmla="*/ 2147483647 h 194"/>
              <a:gd name="T80" fmla="*/ 2147483647 w 231"/>
              <a:gd name="T81" fmla="*/ 2147483647 h 194"/>
              <a:gd name="T82" fmla="*/ 2147483647 w 231"/>
              <a:gd name="T83" fmla="*/ 2147483647 h 194"/>
              <a:gd name="T84" fmla="*/ 2147483647 w 231"/>
              <a:gd name="T85" fmla="*/ 2147483647 h 194"/>
              <a:gd name="T86" fmla="*/ 2147483647 w 231"/>
              <a:gd name="T87" fmla="*/ 2147483647 h 194"/>
              <a:gd name="T88" fmla="*/ 2147483647 w 231"/>
              <a:gd name="T89" fmla="*/ 2147483647 h 194"/>
              <a:gd name="T90" fmla="*/ 2147483647 w 231"/>
              <a:gd name="T91" fmla="*/ 2147483647 h 194"/>
              <a:gd name="T92" fmla="*/ 2147483647 w 231"/>
              <a:gd name="T93" fmla="*/ 2147483647 h 194"/>
              <a:gd name="T94" fmla="*/ 2147483647 w 231"/>
              <a:gd name="T95" fmla="*/ 2147483647 h 194"/>
              <a:gd name="T96" fmla="*/ 2147483647 w 231"/>
              <a:gd name="T97" fmla="*/ 2147483647 h 194"/>
              <a:gd name="T98" fmla="*/ 2147483647 w 231"/>
              <a:gd name="T99" fmla="*/ 2147483647 h 194"/>
              <a:gd name="T100" fmla="*/ 2147483647 w 231"/>
              <a:gd name="T101" fmla="*/ 2147483647 h 1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31"/>
              <a:gd name="T154" fmla="*/ 0 h 194"/>
              <a:gd name="T155" fmla="*/ 231 w 231"/>
              <a:gd name="T156" fmla="*/ 194 h 19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31" h="194">
                <a:moveTo>
                  <a:pt x="231" y="194"/>
                </a:moveTo>
                <a:lnTo>
                  <a:pt x="224" y="185"/>
                </a:lnTo>
                <a:lnTo>
                  <a:pt x="216" y="176"/>
                </a:lnTo>
                <a:lnTo>
                  <a:pt x="209" y="169"/>
                </a:lnTo>
                <a:lnTo>
                  <a:pt x="201" y="163"/>
                </a:lnTo>
                <a:lnTo>
                  <a:pt x="195" y="156"/>
                </a:lnTo>
                <a:lnTo>
                  <a:pt x="187" y="151"/>
                </a:lnTo>
                <a:lnTo>
                  <a:pt x="179" y="147"/>
                </a:lnTo>
                <a:lnTo>
                  <a:pt x="170" y="143"/>
                </a:lnTo>
                <a:lnTo>
                  <a:pt x="153" y="138"/>
                </a:lnTo>
                <a:lnTo>
                  <a:pt x="135" y="133"/>
                </a:lnTo>
                <a:lnTo>
                  <a:pt x="113" y="129"/>
                </a:lnTo>
                <a:lnTo>
                  <a:pt x="91" y="125"/>
                </a:lnTo>
                <a:lnTo>
                  <a:pt x="87" y="108"/>
                </a:lnTo>
                <a:lnTo>
                  <a:pt x="84" y="90"/>
                </a:lnTo>
                <a:lnTo>
                  <a:pt x="71" y="91"/>
                </a:lnTo>
                <a:lnTo>
                  <a:pt x="60" y="95"/>
                </a:lnTo>
                <a:lnTo>
                  <a:pt x="45" y="98"/>
                </a:lnTo>
                <a:lnTo>
                  <a:pt x="31" y="98"/>
                </a:lnTo>
                <a:lnTo>
                  <a:pt x="21" y="82"/>
                </a:lnTo>
                <a:lnTo>
                  <a:pt x="14" y="74"/>
                </a:lnTo>
                <a:lnTo>
                  <a:pt x="8" y="69"/>
                </a:lnTo>
                <a:lnTo>
                  <a:pt x="0" y="65"/>
                </a:lnTo>
                <a:lnTo>
                  <a:pt x="6" y="44"/>
                </a:lnTo>
                <a:lnTo>
                  <a:pt x="11" y="33"/>
                </a:lnTo>
                <a:lnTo>
                  <a:pt x="17" y="25"/>
                </a:lnTo>
                <a:lnTo>
                  <a:pt x="24" y="17"/>
                </a:lnTo>
                <a:lnTo>
                  <a:pt x="35" y="22"/>
                </a:lnTo>
                <a:lnTo>
                  <a:pt x="47" y="25"/>
                </a:lnTo>
                <a:lnTo>
                  <a:pt x="58" y="27"/>
                </a:lnTo>
                <a:lnTo>
                  <a:pt x="71" y="29"/>
                </a:lnTo>
                <a:lnTo>
                  <a:pt x="99" y="29"/>
                </a:lnTo>
                <a:lnTo>
                  <a:pt x="123" y="26"/>
                </a:lnTo>
                <a:lnTo>
                  <a:pt x="125" y="13"/>
                </a:lnTo>
                <a:lnTo>
                  <a:pt x="127" y="0"/>
                </a:lnTo>
                <a:lnTo>
                  <a:pt x="142" y="0"/>
                </a:lnTo>
                <a:lnTo>
                  <a:pt x="157" y="0"/>
                </a:lnTo>
                <a:lnTo>
                  <a:pt x="166" y="14"/>
                </a:lnTo>
                <a:lnTo>
                  <a:pt x="174" y="30"/>
                </a:lnTo>
                <a:lnTo>
                  <a:pt x="181" y="55"/>
                </a:lnTo>
                <a:lnTo>
                  <a:pt x="192" y="98"/>
                </a:lnTo>
                <a:lnTo>
                  <a:pt x="200" y="102"/>
                </a:lnTo>
                <a:lnTo>
                  <a:pt x="207" y="106"/>
                </a:lnTo>
                <a:lnTo>
                  <a:pt x="213" y="109"/>
                </a:lnTo>
                <a:lnTo>
                  <a:pt x="217" y="115"/>
                </a:lnTo>
                <a:lnTo>
                  <a:pt x="221" y="120"/>
                </a:lnTo>
                <a:lnTo>
                  <a:pt x="225" y="125"/>
                </a:lnTo>
                <a:lnTo>
                  <a:pt x="226" y="130"/>
                </a:lnTo>
                <a:lnTo>
                  <a:pt x="229" y="135"/>
                </a:lnTo>
                <a:lnTo>
                  <a:pt x="230" y="163"/>
                </a:lnTo>
                <a:lnTo>
                  <a:pt x="231" y="194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65" name="Freeform 30"/>
          <p:cNvSpPr>
            <a:spLocks/>
          </p:cNvSpPr>
          <p:nvPr/>
        </p:nvSpPr>
        <p:spPr bwMode="auto">
          <a:xfrm>
            <a:off x="1660525" y="3632200"/>
            <a:ext cx="76200" cy="115888"/>
          </a:xfrm>
          <a:custGeom>
            <a:avLst/>
            <a:gdLst>
              <a:gd name="T0" fmla="*/ 2147483647 w 194"/>
              <a:gd name="T1" fmla="*/ 2147483647 h 291"/>
              <a:gd name="T2" fmla="*/ 2147483647 w 194"/>
              <a:gd name="T3" fmla="*/ 2147483647 h 291"/>
              <a:gd name="T4" fmla="*/ 2147483647 w 194"/>
              <a:gd name="T5" fmla="*/ 2147483647 h 291"/>
              <a:gd name="T6" fmla="*/ 2147483647 w 194"/>
              <a:gd name="T7" fmla="*/ 2147483647 h 291"/>
              <a:gd name="T8" fmla="*/ 2147483647 w 194"/>
              <a:gd name="T9" fmla="*/ 2147483647 h 291"/>
              <a:gd name="T10" fmla="*/ 2147483647 w 194"/>
              <a:gd name="T11" fmla="*/ 2147483647 h 291"/>
              <a:gd name="T12" fmla="*/ 2147483647 w 194"/>
              <a:gd name="T13" fmla="*/ 2147483647 h 291"/>
              <a:gd name="T14" fmla="*/ 2147483647 w 194"/>
              <a:gd name="T15" fmla="*/ 2147483647 h 291"/>
              <a:gd name="T16" fmla="*/ 2147483647 w 194"/>
              <a:gd name="T17" fmla="*/ 2147483647 h 291"/>
              <a:gd name="T18" fmla="*/ 2147483647 w 194"/>
              <a:gd name="T19" fmla="*/ 2147483647 h 291"/>
              <a:gd name="T20" fmla="*/ 2147483647 w 194"/>
              <a:gd name="T21" fmla="*/ 2147483647 h 291"/>
              <a:gd name="T22" fmla="*/ 2147483647 w 194"/>
              <a:gd name="T23" fmla="*/ 2147483647 h 291"/>
              <a:gd name="T24" fmla="*/ 2147483647 w 194"/>
              <a:gd name="T25" fmla="*/ 2147483647 h 291"/>
              <a:gd name="T26" fmla="*/ 2147483647 w 194"/>
              <a:gd name="T27" fmla="*/ 2147483647 h 291"/>
              <a:gd name="T28" fmla="*/ 2147483647 w 194"/>
              <a:gd name="T29" fmla="*/ 2147483647 h 291"/>
              <a:gd name="T30" fmla="*/ 2147483647 w 194"/>
              <a:gd name="T31" fmla="*/ 2147483647 h 291"/>
              <a:gd name="T32" fmla="*/ 2147483647 w 194"/>
              <a:gd name="T33" fmla="*/ 2147483647 h 291"/>
              <a:gd name="T34" fmla="*/ 2147483647 w 194"/>
              <a:gd name="T35" fmla="*/ 2147483647 h 291"/>
              <a:gd name="T36" fmla="*/ 0 w 194"/>
              <a:gd name="T37" fmla="*/ 2147483647 h 291"/>
              <a:gd name="T38" fmla="*/ 0 w 194"/>
              <a:gd name="T39" fmla="*/ 2147483647 h 291"/>
              <a:gd name="T40" fmla="*/ 0 w 194"/>
              <a:gd name="T41" fmla="*/ 0 h 291"/>
              <a:gd name="T42" fmla="*/ 2147483647 w 194"/>
              <a:gd name="T43" fmla="*/ 2147483647 h 291"/>
              <a:gd name="T44" fmla="*/ 2147483647 w 194"/>
              <a:gd name="T45" fmla="*/ 2147483647 h 291"/>
              <a:gd name="T46" fmla="*/ 2147483647 w 194"/>
              <a:gd name="T47" fmla="*/ 2147483647 h 291"/>
              <a:gd name="T48" fmla="*/ 2147483647 w 194"/>
              <a:gd name="T49" fmla="*/ 2147483647 h 291"/>
              <a:gd name="T50" fmla="*/ 2147483647 w 194"/>
              <a:gd name="T51" fmla="*/ 2147483647 h 291"/>
              <a:gd name="T52" fmla="*/ 2147483647 w 194"/>
              <a:gd name="T53" fmla="*/ 2147483647 h 291"/>
              <a:gd name="T54" fmla="*/ 2147483647 w 194"/>
              <a:gd name="T55" fmla="*/ 2147483647 h 291"/>
              <a:gd name="T56" fmla="*/ 2147483647 w 194"/>
              <a:gd name="T57" fmla="*/ 2147483647 h 291"/>
              <a:gd name="T58" fmla="*/ 2147483647 w 194"/>
              <a:gd name="T59" fmla="*/ 2147483647 h 291"/>
              <a:gd name="T60" fmla="*/ 2147483647 w 194"/>
              <a:gd name="T61" fmla="*/ 2147483647 h 291"/>
              <a:gd name="T62" fmla="*/ 2147483647 w 194"/>
              <a:gd name="T63" fmla="*/ 2147483647 h 291"/>
              <a:gd name="T64" fmla="*/ 2147483647 w 194"/>
              <a:gd name="T65" fmla="*/ 2147483647 h 29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94"/>
              <a:gd name="T100" fmla="*/ 0 h 291"/>
              <a:gd name="T101" fmla="*/ 194 w 194"/>
              <a:gd name="T102" fmla="*/ 291 h 29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94" h="291">
                <a:moveTo>
                  <a:pt x="135" y="291"/>
                </a:moveTo>
                <a:lnTo>
                  <a:pt x="122" y="283"/>
                </a:lnTo>
                <a:lnTo>
                  <a:pt x="108" y="274"/>
                </a:lnTo>
                <a:lnTo>
                  <a:pt x="95" y="266"/>
                </a:lnTo>
                <a:lnTo>
                  <a:pt x="82" y="258"/>
                </a:lnTo>
                <a:lnTo>
                  <a:pt x="82" y="225"/>
                </a:lnTo>
                <a:lnTo>
                  <a:pt x="82" y="190"/>
                </a:lnTo>
                <a:lnTo>
                  <a:pt x="81" y="173"/>
                </a:lnTo>
                <a:lnTo>
                  <a:pt x="79" y="156"/>
                </a:lnTo>
                <a:lnTo>
                  <a:pt x="77" y="140"/>
                </a:lnTo>
                <a:lnTo>
                  <a:pt x="74" y="124"/>
                </a:lnTo>
                <a:lnTo>
                  <a:pt x="70" y="109"/>
                </a:lnTo>
                <a:lnTo>
                  <a:pt x="64" y="93"/>
                </a:lnTo>
                <a:lnTo>
                  <a:pt x="57" y="79"/>
                </a:lnTo>
                <a:lnTo>
                  <a:pt x="49" y="65"/>
                </a:lnTo>
                <a:lnTo>
                  <a:pt x="40" y="52"/>
                </a:lnTo>
                <a:lnTo>
                  <a:pt x="28" y="39"/>
                </a:lnTo>
                <a:lnTo>
                  <a:pt x="14" y="27"/>
                </a:lnTo>
                <a:lnTo>
                  <a:pt x="0" y="17"/>
                </a:lnTo>
                <a:lnTo>
                  <a:pt x="0" y="7"/>
                </a:lnTo>
                <a:lnTo>
                  <a:pt x="0" y="0"/>
                </a:lnTo>
                <a:lnTo>
                  <a:pt x="47" y="46"/>
                </a:lnTo>
                <a:lnTo>
                  <a:pt x="95" y="95"/>
                </a:lnTo>
                <a:lnTo>
                  <a:pt x="143" y="143"/>
                </a:lnTo>
                <a:lnTo>
                  <a:pt x="191" y="192"/>
                </a:lnTo>
                <a:lnTo>
                  <a:pt x="194" y="201"/>
                </a:lnTo>
                <a:lnTo>
                  <a:pt x="194" y="212"/>
                </a:lnTo>
                <a:lnTo>
                  <a:pt x="191" y="229"/>
                </a:lnTo>
                <a:lnTo>
                  <a:pt x="186" y="258"/>
                </a:lnTo>
                <a:lnTo>
                  <a:pt x="173" y="266"/>
                </a:lnTo>
                <a:lnTo>
                  <a:pt x="160" y="274"/>
                </a:lnTo>
                <a:lnTo>
                  <a:pt x="148" y="283"/>
                </a:lnTo>
                <a:lnTo>
                  <a:pt x="135" y="291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66" name="Freeform 31"/>
          <p:cNvSpPr>
            <a:spLocks/>
          </p:cNvSpPr>
          <p:nvPr/>
        </p:nvSpPr>
        <p:spPr bwMode="auto">
          <a:xfrm>
            <a:off x="2586038" y="2995613"/>
            <a:ext cx="558800" cy="679450"/>
          </a:xfrm>
          <a:custGeom>
            <a:avLst/>
            <a:gdLst>
              <a:gd name="T0" fmla="*/ 2147483647 w 1409"/>
              <a:gd name="T1" fmla="*/ 2147483647 h 1713"/>
              <a:gd name="T2" fmla="*/ 2147483647 w 1409"/>
              <a:gd name="T3" fmla="*/ 2147483647 h 1713"/>
              <a:gd name="T4" fmla="*/ 2147483647 w 1409"/>
              <a:gd name="T5" fmla="*/ 2147483647 h 1713"/>
              <a:gd name="T6" fmla="*/ 2147483647 w 1409"/>
              <a:gd name="T7" fmla="*/ 2147483647 h 1713"/>
              <a:gd name="T8" fmla="*/ 2147483647 w 1409"/>
              <a:gd name="T9" fmla="*/ 2147483647 h 1713"/>
              <a:gd name="T10" fmla="*/ 2147483647 w 1409"/>
              <a:gd name="T11" fmla="*/ 2147483647 h 1713"/>
              <a:gd name="T12" fmla="*/ 2147483647 w 1409"/>
              <a:gd name="T13" fmla="*/ 2147483647 h 1713"/>
              <a:gd name="T14" fmla="*/ 2147483647 w 1409"/>
              <a:gd name="T15" fmla="*/ 2147483647 h 1713"/>
              <a:gd name="T16" fmla="*/ 2147483647 w 1409"/>
              <a:gd name="T17" fmla="*/ 2147483647 h 1713"/>
              <a:gd name="T18" fmla="*/ 2147483647 w 1409"/>
              <a:gd name="T19" fmla="*/ 2147483647 h 1713"/>
              <a:gd name="T20" fmla="*/ 2147483647 w 1409"/>
              <a:gd name="T21" fmla="*/ 2147483647 h 1713"/>
              <a:gd name="T22" fmla="*/ 2147483647 w 1409"/>
              <a:gd name="T23" fmla="*/ 2147483647 h 1713"/>
              <a:gd name="T24" fmla="*/ 2147483647 w 1409"/>
              <a:gd name="T25" fmla="*/ 2147483647 h 1713"/>
              <a:gd name="T26" fmla="*/ 2147483647 w 1409"/>
              <a:gd name="T27" fmla="*/ 2147483647 h 1713"/>
              <a:gd name="T28" fmla="*/ 2147483647 w 1409"/>
              <a:gd name="T29" fmla="*/ 2147483647 h 1713"/>
              <a:gd name="T30" fmla="*/ 2147483647 w 1409"/>
              <a:gd name="T31" fmla="*/ 2147483647 h 1713"/>
              <a:gd name="T32" fmla="*/ 0 w 1409"/>
              <a:gd name="T33" fmla="*/ 2147483647 h 1713"/>
              <a:gd name="T34" fmla="*/ 2147483647 w 1409"/>
              <a:gd name="T35" fmla="*/ 2147483647 h 1713"/>
              <a:gd name="T36" fmla="*/ 2147483647 w 1409"/>
              <a:gd name="T37" fmla="*/ 2147483647 h 1713"/>
              <a:gd name="T38" fmla="*/ 2147483647 w 1409"/>
              <a:gd name="T39" fmla="*/ 2147483647 h 1713"/>
              <a:gd name="T40" fmla="*/ 2147483647 w 1409"/>
              <a:gd name="T41" fmla="*/ 2147483647 h 1713"/>
              <a:gd name="T42" fmla="*/ 2147483647 w 1409"/>
              <a:gd name="T43" fmla="*/ 2147483647 h 1713"/>
              <a:gd name="T44" fmla="*/ 2147483647 w 1409"/>
              <a:gd name="T45" fmla="*/ 2147483647 h 1713"/>
              <a:gd name="T46" fmla="*/ 2147483647 w 1409"/>
              <a:gd name="T47" fmla="*/ 2147483647 h 1713"/>
              <a:gd name="T48" fmla="*/ 2147483647 w 1409"/>
              <a:gd name="T49" fmla="*/ 2147483647 h 1713"/>
              <a:gd name="T50" fmla="*/ 2147483647 w 1409"/>
              <a:gd name="T51" fmla="*/ 2147483647 h 1713"/>
              <a:gd name="T52" fmla="*/ 2147483647 w 1409"/>
              <a:gd name="T53" fmla="*/ 2147483647 h 1713"/>
              <a:gd name="T54" fmla="*/ 2147483647 w 1409"/>
              <a:gd name="T55" fmla="*/ 2147483647 h 1713"/>
              <a:gd name="T56" fmla="*/ 2147483647 w 1409"/>
              <a:gd name="T57" fmla="*/ 2147483647 h 1713"/>
              <a:gd name="T58" fmla="*/ 2147483647 w 1409"/>
              <a:gd name="T59" fmla="*/ 2147483647 h 1713"/>
              <a:gd name="T60" fmla="*/ 2147483647 w 1409"/>
              <a:gd name="T61" fmla="*/ 2147483647 h 1713"/>
              <a:gd name="T62" fmla="*/ 2147483647 w 1409"/>
              <a:gd name="T63" fmla="*/ 2147483647 h 1713"/>
              <a:gd name="T64" fmla="*/ 2147483647 w 1409"/>
              <a:gd name="T65" fmla="*/ 2147483647 h 1713"/>
              <a:gd name="T66" fmla="*/ 2147483647 w 1409"/>
              <a:gd name="T67" fmla="*/ 2147483647 h 1713"/>
              <a:gd name="T68" fmla="*/ 2147483647 w 1409"/>
              <a:gd name="T69" fmla="*/ 2147483647 h 1713"/>
              <a:gd name="T70" fmla="*/ 2147483647 w 1409"/>
              <a:gd name="T71" fmla="*/ 2147483647 h 1713"/>
              <a:gd name="T72" fmla="*/ 2147483647 w 1409"/>
              <a:gd name="T73" fmla="*/ 2147483647 h 1713"/>
              <a:gd name="T74" fmla="*/ 2147483647 w 1409"/>
              <a:gd name="T75" fmla="*/ 2147483647 h 1713"/>
              <a:gd name="T76" fmla="*/ 2147483647 w 1409"/>
              <a:gd name="T77" fmla="*/ 2147483647 h 1713"/>
              <a:gd name="T78" fmla="*/ 2147483647 w 1409"/>
              <a:gd name="T79" fmla="*/ 2147483647 h 1713"/>
              <a:gd name="T80" fmla="*/ 2147483647 w 1409"/>
              <a:gd name="T81" fmla="*/ 2147483647 h 1713"/>
              <a:gd name="T82" fmla="*/ 2147483647 w 1409"/>
              <a:gd name="T83" fmla="*/ 2147483647 h 1713"/>
              <a:gd name="T84" fmla="*/ 2147483647 w 1409"/>
              <a:gd name="T85" fmla="*/ 2147483647 h 1713"/>
              <a:gd name="T86" fmla="*/ 2147483647 w 1409"/>
              <a:gd name="T87" fmla="*/ 2147483647 h 1713"/>
              <a:gd name="T88" fmla="*/ 2147483647 w 1409"/>
              <a:gd name="T89" fmla="*/ 2147483647 h 1713"/>
              <a:gd name="T90" fmla="*/ 2147483647 w 1409"/>
              <a:gd name="T91" fmla="*/ 2147483647 h 1713"/>
              <a:gd name="T92" fmla="*/ 2147483647 w 1409"/>
              <a:gd name="T93" fmla="*/ 2147483647 h 1713"/>
              <a:gd name="T94" fmla="*/ 2147483647 w 1409"/>
              <a:gd name="T95" fmla="*/ 2147483647 h 1713"/>
              <a:gd name="T96" fmla="*/ 2147483647 w 1409"/>
              <a:gd name="T97" fmla="*/ 2147483647 h 1713"/>
              <a:gd name="T98" fmla="*/ 2147483647 w 1409"/>
              <a:gd name="T99" fmla="*/ 2147483647 h 1713"/>
              <a:gd name="T100" fmla="*/ 2147483647 w 1409"/>
              <a:gd name="T101" fmla="*/ 2147483647 h 1713"/>
              <a:gd name="T102" fmla="*/ 2147483647 w 1409"/>
              <a:gd name="T103" fmla="*/ 2147483647 h 1713"/>
              <a:gd name="T104" fmla="*/ 2147483647 w 1409"/>
              <a:gd name="T105" fmla="*/ 2147483647 h 1713"/>
              <a:gd name="T106" fmla="*/ 2147483647 w 1409"/>
              <a:gd name="T107" fmla="*/ 2147483647 h 1713"/>
              <a:gd name="T108" fmla="*/ 2147483647 w 1409"/>
              <a:gd name="T109" fmla="*/ 2147483647 h 1713"/>
              <a:gd name="T110" fmla="*/ 2147483647 w 1409"/>
              <a:gd name="T111" fmla="*/ 2147483647 h 1713"/>
              <a:gd name="T112" fmla="*/ 2147483647 w 1409"/>
              <a:gd name="T113" fmla="*/ 2147483647 h 1713"/>
              <a:gd name="T114" fmla="*/ 2147483647 w 1409"/>
              <a:gd name="T115" fmla="*/ 2147483647 h 171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409"/>
              <a:gd name="T175" fmla="*/ 0 h 1713"/>
              <a:gd name="T176" fmla="*/ 1409 w 1409"/>
              <a:gd name="T177" fmla="*/ 1713 h 1713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409" h="1713">
                <a:moveTo>
                  <a:pt x="1058" y="1713"/>
                </a:moveTo>
                <a:lnTo>
                  <a:pt x="1061" y="1696"/>
                </a:lnTo>
                <a:lnTo>
                  <a:pt x="1065" y="1679"/>
                </a:lnTo>
                <a:lnTo>
                  <a:pt x="1069" y="1661"/>
                </a:lnTo>
                <a:lnTo>
                  <a:pt x="1073" y="1644"/>
                </a:lnTo>
                <a:lnTo>
                  <a:pt x="1061" y="1634"/>
                </a:lnTo>
                <a:lnTo>
                  <a:pt x="1050" y="1627"/>
                </a:lnTo>
                <a:lnTo>
                  <a:pt x="1038" y="1622"/>
                </a:lnTo>
                <a:lnTo>
                  <a:pt x="1028" y="1620"/>
                </a:lnTo>
                <a:lnTo>
                  <a:pt x="1016" y="1620"/>
                </a:lnTo>
                <a:lnTo>
                  <a:pt x="1004" y="1622"/>
                </a:lnTo>
                <a:lnTo>
                  <a:pt x="994" y="1625"/>
                </a:lnTo>
                <a:lnTo>
                  <a:pt x="983" y="1629"/>
                </a:lnTo>
                <a:lnTo>
                  <a:pt x="961" y="1640"/>
                </a:lnTo>
                <a:lnTo>
                  <a:pt x="939" y="1652"/>
                </a:lnTo>
                <a:lnTo>
                  <a:pt x="929" y="1659"/>
                </a:lnTo>
                <a:lnTo>
                  <a:pt x="918" y="1664"/>
                </a:lnTo>
                <a:lnTo>
                  <a:pt x="908" y="1668"/>
                </a:lnTo>
                <a:lnTo>
                  <a:pt x="896" y="1672"/>
                </a:lnTo>
                <a:lnTo>
                  <a:pt x="890" y="1665"/>
                </a:lnTo>
                <a:lnTo>
                  <a:pt x="883" y="1659"/>
                </a:lnTo>
                <a:lnTo>
                  <a:pt x="878" y="1652"/>
                </a:lnTo>
                <a:lnTo>
                  <a:pt x="874" y="1646"/>
                </a:lnTo>
                <a:lnTo>
                  <a:pt x="865" y="1630"/>
                </a:lnTo>
                <a:lnTo>
                  <a:pt x="859" y="1614"/>
                </a:lnTo>
                <a:lnTo>
                  <a:pt x="832" y="1601"/>
                </a:lnTo>
                <a:lnTo>
                  <a:pt x="801" y="1590"/>
                </a:lnTo>
                <a:lnTo>
                  <a:pt x="771" y="1579"/>
                </a:lnTo>
                <a:lnTo>
                  <a:pt x="743" y="1573"/>
                </a:lnTo>
                <a:lnTo>
                  <a:pt x="740" y="1565"/>
                </a:lnTo>
                <a:lnTo>
                  <a:pt x="738" y="1558"/>
                </a:lnTo>
                <a:lnTo>
                  <a:pt x="709" y="1558"/>
                </a:lnTo>
                <a:lnTo>
                  <a:pt x="687" y="1561"/>
                </a:lnTo>
                <a:lnTo>
                  <a:pt x="678" y="1564"/>
                </a:lnTo>
                <a:lnTo>
                  <a:pt x="666" y="1567"/>
                </a:lnTo>
                <a:lnTo>
                  <a:pt x="654" y="1573"/>
                </a:lnTo>
                <a:lnTo>
                  <a:pt x="641" y="1579"/>
                </a:lnTo>
                <a:lnTo>
                  <a:pt x="641" y="1586"/>
                </a:lnTo>
                <a:lnTo>
                  <a:pt x="641" y="1592"/>
                </a:lnTo>
                <a:lnTo>
                  <a:pt x="632" y="1595"/>
                </a:lnTo>
                <a:lnTo>
                  <a:pt x="627" y="1599"/>
                </a:lnTo>
                <a:lnTo>
                  <a:pt x="619" y="1607"/>
                </a:lnTo>
                <a:lnTo>
                  <a:pt x="607" y="1621"/>
                </a:lnTo>
                <a:lnTo>
                  <a:pt x="597" y="1613"/>
                </a:lnTo>
                <a:lnTo>
                  <a:pt x="588" y="1604"/>
                </a:lnTo>
                <a:lnTo>
                  <a:pt x="580" y="1593"/>
                </a:lnTo>
                <a:lnTo>
                  <a:pt x="574" y="1583"/>
                </a:lnTo>
                <a:lnTo>
                  <a:pt x="561" y="1560"/>
                </a:lnTo>
                <a:lnTo>
                  <a:pt x="548" y="1539"/>
                </a:lnTo>
                <a:lnTo>
                  <a:pt x="541" y="1530"/>
                </a:lnTo>
                <a:lnTo>
                  <a:pt x="533" y="1522"/>
                </a:lnTo>
                <a:lnTo>
                  <a:pt x="524" y="1515"/>
                </a:lnTo>
                <a:lnTo>
                  <a:pt x="515" y="1512"/>
                </a:lnTo>
                <a:lnTo>
                  <a:pt x="509" y="1509"/>
                </a:lnTo>
                <a:lnTo>
                  <a:pt x="503" y="1509"/>
                </a:lnTo>
                <a:lnTo>
                  <a:pt x="497" y="1509"/>
                </a:lnTo>
                <a:lnTo>
                  <a:pt x="489" y="1509"/>
                </a:lnTo>
                <a:lnTo>
                  <a:pt x="473" y="1512"/>
                </a:lnTo>
                <a:lnTo>
                  <a:pt x="456" y="1518"/>
                </a:lnTo>
                <a:lnTo>
                  <a:pt x="442" y="1513"/>
                </a:lnTo>
                <a:lnTo>
                  <a:pt x="427" y="1510"/>
                </a:lnTo>
                <a:lnTo>
                  <a:pt x="425" y="1505"/>
                </a:lnTo>
                <a:lnTo>
                  <a:pt x="421" y="1500"/>
                </a:lnTo>
                <a:lnTo>
                  <a:pt x="416" y="1493"/>
                </a:lnTo>
                <a:lnTo>
                  <a:pt x="407" y="1487"/>
                </a:lnTo>
                <a:lnTo>
                  <a:pt x="388" y="1473"/>
                </a:lnTo>
                <a:lnTo>
                  <a:pt x="363" y="1456"/>
                </a:lnTo>
                <a:lnTo>
                  <a:pt x="338" y="1439"/>
                </a:lnTo>
                <a:lnTo>
                  <a:pt x="316" y="1422"/>
                </a:lnTo>
                <a:lnTo>
                  <a:pt x="307" y="1413"/>
                </a:lnTo>
                <a:lnTo>
                  <a:pt x="299" y="1404"/>
                </a:lnTo>
                <a:lnTo>
                  <a:pt x="293" y="1396"/>
                </a:lnTo>
                <a:lnTo>
                  <a:pt x="289" y="1387"/>
                </a:lnTo>
                <a:lnTo>
                  <a:pt x="263" y="1372"/>
                </a:lnTo>
                <a:lnTo>
                  <a:pt x="243" y="1359"/>
                </a:lnTo>
                <a:lnTo>
                  <a:pt x="238" y="1358"/>
                </a:lnTo>
                <a:lnTo>
                  <a:pt x="233" y="1355"/>
                </a:lnTo>
                <a:lnTo>
                  <a:pt x="226" y="1354"/>
                </a:lnTo>
                <a:lnTo>
                  <a:pt x="220" y="1354"/>
                </a:lnTo>
                <a:lnTo>
                  <a:pt x="213" y="1354"/>
                </a:lnTo>
                <a:lnTo>
                  <a:pt x="205" y="1355"/>
                </a:lnTo>
                <a:lnTo>
                  <a:pt x="196" y="1358"/>
                </a:lnTo>
                <a:lnTo>
                  <a:pt x="187" y="1362"/>
                </a:lnTo>
                <a:lnTo>
                  <a:pt x="187" y="1367"/>
                </a:lnTo>
                <a:lnTo>
                  <a:pt x="187" y="1375"/>
                </a:lnTo>
                <a:lnTo>
                  <a:pt x="175" y="1372"/>
                </a:lnTo>
                <a:lnTo>
                  <a:pt x="165" y="1368"/>
                </a:lnTo>
                <a:lnTo>
                  <a:pt x="157" y="1365"/>
                </a:lnTo>
                <a:lnTo>
                  <a:pt x="149" y="1358"/>
                </a:lnTo>
                <a:lnTo>
                  <a:pt x="138" y="1345"/>
                </a:lnTo>
                <a:lnTo>
                  <a:pt x="123" y="1327"/>
                </a:lnTo>
                <a:lnTo>
                  <a:pt x="103" y="1322"/>
                </a:lnTo>
                <a:lnTo>
                  <a:pt x="84" y="1315"/>
                </a:lnTo>
                <a:lnTo>
                  <a:pt x="67" y="1309"/>
                </a:lnTo>
                <a:lnTo>
                  <a:pt x="52" y="1299"/>
                </a:lnTo>
                <a:lnTo>
                  <a:pt x="39" y="1292"/>
                </a:lnTo>
                <a:lnTo>
                  <a:pt x="27" y="1281"/>
                </a:lnTo>
                <a:lnTo>
                  <a:pt x="18" y="1271"/>
                </a:lnTo>
                <a:lnTo>
                  <a:pt x="10" y="1259"/>
                </a:lnTo>
                <a:lnTo>
                  <a:pt x="4" y="1247"/>
                </a:lnTo>
                <a:lnTo>
                  <a:pt x="1" y="1234"/>
                </a:lnTo>
                <a:lnTo>
                  <a:pt x="0" y="1220"/>
                </a:lnTo>
                <a:lnTo>
                  <a:pt x="1" y="1205"/>
                </a:lnTo>
                <a:lnTo>
                  <a:pt x="4" y="1189"/>
                </a:lnTo>
                <a:lnTo>
                  <a:pt x="10" y="1172"/>
                </a:lnTo>
                <a:lnTo>
                  <a:pt x="18" y="1155"/>
                </a:lnTo>
                <a:lnTo>
                  <a:pt x="28" y="1137"/>
                </a:lnTo>
                <a:lnTo>
                  <a:pt x="32" y="1111"/>
                </a:lnTo>
                <a:lnTo>
                  <a:pt x="35" y="1097"/>
                </a:lnTo>
                <a:lnTo>
                  <a:pt x="38" y="1086"/>
                </a:lnTo>
                <a:lnTo>
                  <a:pt x="43" y="1077"/>
                </a:lnTo>
                <a:lnTo>
                  <a:pt x="49" y="1077"/>
                </a:lnTo>
                <a:lnTo>
                  <a:pt x="54" y="1077"/>
                </a:lnTo>
                <a:lnTo>
                  <a:pt x="60" y="1078"/>
                </a:lnTo>
                <a:lnTo>
                  <a:pt x="64" y="1081"/>
                </a:lnTo>
                <a:lnTo>
                  <a:pt x="69" y="1084"/>
                </a:lnTo>
                <a:lnTo>
                  <a:pt x="71" y="1087"/>
                </a:lnTo>
                <a:lnTo>
                  <a:pt x="75" y="1093"/>
                </a:lnTo>
                <a:lnTo>
                  <a:pt x="77" y="1098"/>
                </a:lnTo>
                <a:lnTo>
                  <a:pt x="94" y="1098"/>
                </a:lnTo>
                <a:lnTo>
                  <a:pt x="109" y="1095"/>
                </a:lnTo>
                <a:lnTo>
                  <a:pt x="122" y="1091"/>
                </a:lnTo>
                <a:lnTo>
                  <a:pt x="134" y="1086"/>
                </a:lnTo>
                <a:lnTo>
                  <a:pt x="146" y="1081"/>
                </a:lnTo>
                <a:lnTo>
                  <a:pt x="155" y="1073"/>
                </a:lnTo>
                <a:lnTo>
                  <a:pt x="164" y="1065"/>
                </a:lnTo>
                <a:lnTo>
                  <a:pt x="173" y="1058"/>
                </a:lnTo>
                <a:lnTo>
                  <a:pt x="188" y="1038"/>
                </a:lnTo>
                <a:lnTo>
                  <a:pt x="205" y="1017"/>
                </a:lnTo>
                <a:lnTo>
                  <a:pt x="222" y="996"/>
                </a:lnTo>
                <a:lnTo>
                  <a:pt x="243" y="976"/>
                </a:lnTo>
                <a:lnTo>
                  <a:pt x="255" y="972"/>
                </a:lnTo>
                <a:lnTo>
                  <a:pt x="269" y="969"/>
                </a:lnTo>
                <a:lnTo>
                  <a:pt x="276" y="981"/>
                </a:lnTo>
                <a:lnTo>
                  <a:pt x="281" y="992"/>
                </a:lnTo>
                <a:lnTo>
                  <a:pt x="287" y="1004"/>
                </a:lnTo>
                <a:lnTo>
                  <a:pt x="294" y="1016"/>
                </a:lnTo>
                <a:lnTo>
                  <a:pt x="311" y="1015"/>
                </a:lnTo>
                <a:lnTo>
                  <a:pt x="326" y="1013"/>
                </a:lnTo>
                <a:lnTo>
                  <a:pt x="339" y="1011"/>
                </a:lnTo>
                <a:lnTo>
                  <a:pt x="350" y="1007"/>
                </a:lnTo>
                <a:lnTo>
                  <a:pt x="360" y="1002"/>
                </a:lnTo>
                <a:lnTo>
                  <a:pt x="369" y="996"/>
                </a:lnTo>
                <a:lnTo>
                  <a:pt x="376" y="990"/>
                </a:lnTo>
                <a:lnTo>
                  <a:pt x="382" y="982"/>
                </a:lnTo>
                <a:lnTo>
                  <a:pt x="388" y="973"/>
                </a:lnTo>
                <a:lnTo>
                  <a:pt x="393" y="963"/>
                </a:lnTo>
                <a:lnTo>
                  <a:pt x="397" y="952"/>
                </a:lnTo>
                <a:lnTo>
                  <a:pt x="399" y="940"/>
                </a:lnTo>
                <a:lnTo>
                  <a:pt x="404" y="916"/>
                </a:lnTo>
                <a:lnTo>
                  <a:pt x="410" y="887"/>
                </a:lnTo>
                <a:lnTo>
                  <a:pt x="425" y="884"/>
                </a:lnTo>
                <a:lnTo>
                  <a:pt x="442" y="883"/>
                </a:lnTo>
                <a:lnTo>
                  <a:pt x="454" y="886"/>
                </a:lnTo>
                <a:lnTo>
                  <a:pt x="466" y="888"/>
                </a:lnTo>
                <a:lnTo>
                  <a:pt x="476" y="890"/>
                </a:lnTo>
                <a:lnTo>
                  <a:pt x="486" y="891"/>
                </a:lnTo>
                <a:lnTo>
                  <a:pt x="496" y="890"/>
                </a:lnTo>
                <a:lnTo>
                  <a:pt x="505" y="888"/>
                </a:lnTo>
                <a:lnTo>
                  <a:pt x="514" y="886"/>
                </a:lnTo>
                <a:lnTo>
                  <a:pt x="522" y="883"/>
                </a:lnTo>
                <a:lnTo>
                  <a:pt x="529" y="878"/>
                </a:lnTo>
                <a:lnTo>
                  <a:pt x="537" y="874"/>
                </a:lnTo>
                <a:lnTo>
                  <a:pt x="545" y="868"/>
                </a:lnTo>
                <a:lnTo>
                  <a:pt x="553" y="861"/>
                </a:lnTo>
                <a:lnTo>
                  <a:pt x="566" y="847"/>
                </a:lnTo>
                <a:lnTo>
                  <a:pt x="579" y="829"/>
                </a:lnTo>
                <a:lnTo>
                  <a:pt x="579" y="797"/>
                </a:lnTo>
                <a:lnTo>
                  <a:pt x="581" y="769"/>
                </a:lnTo>
                <a:lnTo>
                  <a:pt x="584" y="756"/>
                </a:lnTo>
                <a:lnTo>
                  <a:pt x="587" y="743"/>
                </a:lnTo>
                <a:lnTo>
                  <a:pt x="590" y="728"/>
                </a:lnTo>
                <a:lnTo>
                  <a:pt x="597" y="714"/>
                </a:lnTo>
                <a:lnTo>
                  <a:pt x="607" y="708"/>
                </a:lnTo>
                <a:lnTo>
                  <a:pt x="617" y="700"/>
                </a:lnTo>
                <a:lnTo>
                  <a:pt x="623" y="692"/>
                </a:lnTo>
                <a:lnTo>
                  <a:pt x="627" y="682"/>
                </a:lnTo>
                <a:lnTo>
                  <a:pt x="630" y="672"/>
                </a:lnTo>
                <a:lnTo>
                  <a:pt x="630" y="661"/>
                </a:lnTo>
                <a:lnTo>
                  <a:pt x="630" y="650"/>
                </a:lnTo>
                <a:lnTo>
                  <a:pt x="627" y="639"/>
                </a:lnTo>
                <a:lnTo>
                  <a:pt x="620" y="615"/>
                </a:lnTo>
                <a:lnTo>
                  <a:pt x="611" y="592"/>
                </a:lnTo>
                <a:lnTo>
                  <a:pt x="601" y="571"/>
                </a:lnTo>
                <a:lnTo>
                  <a:pt x="593" y="554"/>
                </a:lnTo>
                <a:lnTo>
                  <a:pt x="596" y="538"/>
                </a:lnTo>
                <a:lnTo>
                  <a:pt x="600" y="524"/>
                </a:lnTo>
                <a:lnTo>
                  <a:pt x="605" y="512"/>
                </a:lnTo>
                <a:lnTo>
                  <a:pt x="611" y="502"/>
                </a:lnTo>
                <a:lnTo>
                  <a:pt x="618" y="494"/>
                </a:lnTo>
                <a:lnTo>
                  <a:pt x="626" y="486"/>
                </a:lnTo>
                <a:lnTo>
                  <a:pt x="633" y="479"/>
                </a:lnTo>
                <a:lnTo>
                  <a:pt x="643" y="472"/>
                </a:lnTo>
                <a:lnTo>
                  <a:pt x="659" y="460"/>
                </a:lnTo>
                <a:lnTo>
                  <a:pt x="678" y="447"/>
                </a:lnTo>
                <a:lnTo>
                  <a:pt x="685" y="440"/>
                </a:lnTo>
                <a:lnTo>
                  <a:pt x="695" y="430"/>
                </a:lnTo>
                <a:lnTo>
                  <a:pt x="702" y="421"/>
                </a:lnTo>
                <a:lnTo>
                  <a:pt x="710" y="410"/>
                </a:lnTo>
                <a:lnTo>
                  <a:pt x="725" y="402"/>
                </a:lnTo>
                <a:lnTo>
                  <a:pt x="740" y="394"/>
                </a:lnTo>
                <a:lnTo>
                  <a:pt x="753" y="385"/>
                </a:lnTo>
                <a:lnTo>
                  <a:pt x="767" y="376"/>
                </a:lnTo>
                <a:lnTo>
                  <a:pt x="795" y="356"/>
                </a:lnTo>
                <a:lnTo>
                  <a:pt x="821" y="334"/>
                </a:lnTo>
                <a:lnTo>
                  <a:pt x="847" y="312"/>
                </a:lnTo>
                <a:lnTo>
                  <a:pt x="873" y="290"/>
                </a:lnTo>
                <a:lnTo>
                  <a:pt x="899" y="269"/>
                </a:lnTo>
                <a:lnTo>
                  <a:pt x="925" y="250"/>
                </a:lnTo>
                <a:lnTo>
                  <a:pt x="927" y="225"/>
                </a:lnTo>
                <a:lnTo>
                  <a:pt x="930" y="202"/>
                </a:lnTo>
                <a:lnTo>
                  <a:pt x="933" y="191"/>
                </a:lnTo>
                <a:lnTo>
                  <a:pt x="935" y="181"/>
                </a:lnTo>
                <a:lnTo>
                  <a:pt x="939" y="170"/>
                </a:lnTo>
                <a:lnTo>
                  <a:pt x="943" y="160"/>
                </a:lnTo>
                <a:lnTo>
                  <a:pt x="948" y="151"/>
                </a:lnTo>
                <a:lnTo>
                  <a:pt x="955" y="143"/>
                </a:lnTo>
                <a:lnTo>
                  <a:pt x="961" y="135"/>
                </a:lnTo>
                <a:lnTo>
                  <a:pt x="969" y="127"/>
                </a:lnTo>
                <a:lnTo>
                  <a:pt x="978" y="121"/>
                </a:lnTo>
                <a:lnTo>
                  <a:pt x="987" y="114"/>
                </a:lnTo>
                <a:lnTo>
                  <a:pt x="999" y="109"/>
                </a:lnTo>
                <a:lnTo>
                  <a:pt x="1012" y="104"/>
                </a:lnTo>
                <a:lnTo>
                  <a:pt x="1013" y="90"/>
                </a:lnTo>
                <a:lnTo>
                  <a:pt x="1015" y="73"/>
                </a:lnTo>
                <a:lnTo>
                  <a:pt x="1017" y="55"/>
                </a:lnTo>
                <a:lnTo>
                  <a:pt x="1021" y="39"/>
                </a:lnTo>
                <a:lnTo>
                  <a:pt x="1024" y="31"/>
                </a:lnTo>
                <a:lnTo>
                  <a:pt x="1026" y="23"/>
                </a:lnTo>
                <a:lnTo>
                  <a:pt x="1032" y="17"/>
                </a:lnTo>
                <a:lnTo>
                  <a:pt x="1035" y="12"/>
                </a:lnTo>
                <a:lnTo>
                  <a:pt x="1042" y="6"/>
                </a:lnTo>
                <a:lnTo>
                  <a:pt x="1048" y="2"/>
                </a:lnTo>
                <a:lnTo>
                  <a:pt x="1056" y="1"/>
                </a:lnTo>
                <a:lnTo>
                  <a:pt x="1065" y="0"/>
                </a:lnTo>
                <a:lnTo>
                  <a:pt x="1080" y="10"/>
                </a:lnTo>
                <a:lnTo>
                  <a:pt x="1089" y="17"/>
                </a:lnTo>
                <a:lnTo>
                  <a:pt x="1100" y="21"/>
                </a:lnTo>
                <a:lnTo>
                  <a:pt x="1116" y="25"/>
                </a:lnTo>
                <a:lnTo>
                  <a:pt x="1117" y="40"/>
                </a:lnTo>
                <a:lnTo>
                  <a:pt x="1120" y="53"/>
                </a:lnTo>
                <a:lnTo>
                  <a:pt x="1123" y="65"/>
                </a:lnTo>
                <a:lnTo>
                  <a:pt x="1127" y="77"/>
                </a:lnTo>
                <a:lnTo>
                  <a:pt x="1130" y="86"/>
                </a:lnTo>
                <a:lnTo>
                  <a:pt x="1136" y="95"/>
                </a:lnTo>
                <a:lnTo>
                  <a:pt x="1142" y="103"/>
                </a:lnTo>
                <a:lnTo>
                  <a:pt x="1149" y="109"/>
                </a:lnTo>
                <a:lnTo>
                  <a:pt x="1155" y="116"/>
                </a:lnTo>
                <a:lnTo>
                  <a:pt x="1164" y="121"/>
                </a:lnTo>
                <a:lnTo>
                  <a:pt x="1173" y="127"/>
                </a:lnTo>
                <a:lnTo>
                  <a:pt x="1182" y="131"/>
                </a:lnTo>
                <a:lnTo>
                  <a:pt x="1205" y="140"/>
                </a:lnTo>
                <a:lnTo>
                  <a:pt x="1231" y="149"/>
                </a:lnTo>
                <a:lnTo>
                  <a:pt x="1245" y="189"/>
                </a:lnTo>
                <a:lnTo>
                  <a:pt x="1257" y="221"/>
                </a:lnTo>
                <a:lnTo>
                  <a:pt x="1277" y="265"/>
                </a:lnTo>
                <a:lnTo>
                  <a:pt x="1313" y="338"/>
                </a:lnTo>
                <a:lnTo>
                  <a:pt x="1319" y="346"/>
                </a:lnTo>
                <a:lnTo>
                  <a:pt x="1326" y="352"/>
                </a:lnTo>
                <a:lnTo>
                  <a:pt x="1331" y="360"/>
                </a:lnTo>
                <a:lnTo>
                  <a:pt x="1335" y="368"/>
                </a:lnTo>
                <a:lnTo>
                  <a:pt x="1339" y="376"/>
                </a:lnTo>
                <a:lnTo>
                  <a:pt x="1342" y="384"/>
                </a:lnTo>
                <a:lnTo>
                  <a:pt x="1345" y="391"/>
                </a:lnTo>
                <a:lnTo>
                  <a:pt x="1346" y="401"/>
                </a:lnTo>
                <a:lnTo>
                  <a:pt x="1348" y="416"/>
                </a:lnTo>
                <a:lnTo>
                  <a:pt x="1348" y="434"/>
                </a:lnTo>
                <a:lnTo>
                  <a:pt x="1345" y="451"/>
                </a:lnTo>
                <a:lnTo>
                  <a:pt x="1340" y="468"/>
                </a:lnTo>
                <a:lnTo>
                  <a:pt x="1335" y="486"/>
                </a:lnTo>
                <a:lnTo>
                  <a:pt x="1328" y="503"/>
                </a:lnTo>
                <a:lnTo>
                  <a:pt x="1322" y="522"/>
                </a:lnTo>
                <a:lnTo>
                  <a:pt x="1314" y="538"/>
                </a:lnTo>
                <a:lnTo>
                  <a:pt x="1298" y="574"/>
                </a:lnTo>
                <a:lnTo>
                  <a:pt x="1285" y="606"/>
                </a:lnTo>
                <a:lnTo>
                  <a:pt x="1289" y="635"/>
                </a:lnTo>
                <a:lnTo>
                  <a:pt x="1294" y="665"/>
                </a:lnTo>
                <a:lnTo>
                  <a:pt x="1298" y="695"/>
                </a:lnTo>
                <a:lnTo>
                  <a:pt x="1302" y="724"/>
                </a:lnTo>
                <a:lnTo>
                  <a:pt x="1305" y="754"/>
                </a:lnTo>
                <a:lnTo>
                  <a:pt x="1307" y="784"/>
                </a:lnTo>
                <a:lnTo>
                  <a:pt x="1310" y="813"/>
                </a:lnTo>
                <a:lnTo>
                  <a:pt x="1310" y="843"/>
                </a:lnTo>
                <a:lnTo>
                  <a:pt x="1302" y="855"/>
                </a:lnTo>
                <a:lnTo>
                  <a:pt x="1294" y="866"/>
                </a:lnTo>
                <a:lnTo>
                  <a:pt x="1290" y="875"/>
                </a:lnTo>
                <a:lnTo>
                  <a:pt x="1287" y="884"/>
                </a:lnTo>
                <a:lnTo>
                  <a:pt x="1284" y="895"/>
                </a:lnTo>
                <a:lnTo>
                  <a:pt x="1283" y="907"/>
                </a:lnTo>
                <a:lnTo>
                  <a:pt x="1281" y="920"/>
                </a:lnTo>
                <a:lnTo>
                  <a:pt x="1281" y="935"/>
                </a:lnTo>
                <a:lnTo>
                  <a:pt x="1311" y="961"/>
                </a:lnTo>
                <a:lnTo>
                  <a:pt x="1342" y="987"/>
                </a:lnTo>
                <a:lnTo>
                  <a:pt x="1372" y="1013"/>
                </a:lnTo>
                <a:lnTo>
                  <a:pt x="1405" y="1039"/>
                </a:lnTo>
                <a:lnTo>
                  <a:pt x="1404" y="1072"/>
                </a:lnTo>
                <a:lnTo>
                  <a:pt x="1400" y="1112"/>
                </a:lnTo>
                <a:lnTo>
                  <a:pt x="1397" y="1136"/>
                </a:lnTo>
                <a:lnTo>
                  <a:pt x="1395" y="1163"/>
                </a:lnTo>
                <a:lnTo>
                  <a:pt x="1393" y="1193"/>
                </a:lnTo>
                <a:lnTo>
                  <a:pt x="1393" y="1227"/>
                </a:lnTo>
                <a:lnTo>
                  <a:pt x="1398" y="1241"/>
                </a:lnTo>
                <a:lnTo>
                  <a:pt x="1402" y="1253"/>
                </a:lnTo>
                <a:lnTo>
                  <a:pt x="1405" y="1264"/>
                </a:lnTo>
                <a:lnTo>
                  <a:pt x="1408" y="1276"/>
                </a:lnTo>
                <a:lnTo>
                  <a:pt x="1409" y="1288"/>
                </a:lnTo>
                <a:lnTo>
                  <a:pt x="1409" y="1298"/>
                </a:lnTo>
                <a:lnTo>
                  <a:pt x="1409" y="1309"/>
                </a:lnTo>
                <a:lnTo>
                  <a:pt x="1408" y="1320"/>
                </a:lnTo>
                <a:lnTo>
                  <a:pt x="1400" y="1365"/>
                </a:lnTo>
                <a:lnTo>
                  <a:pt x="1391" y="1419"/>
                </a:lnTo>
                <a:lnTo>
                  <a:pt x="1357" y="1431"/>
                </a:lnTo>
                <a:lnTo>
                  <a:pt x="1328" y="1440"/>
                </a:lnTo>
                <a:lnTo>
                  <a:pt x="1322" y="1441"/>
                </a:lnTo>
                <a:lnTo>
                  <a:pt x="1315" y="1443"/>
                </a:lnTo>
                <a:lnTo>
                  <a:pt x="1309" y="1443"/>
                </a:lnTo>
                <a:lnTo>
                  <a:pt x="1302" y="1443"/>
                </a:lnTo>
                <a:lnTo>
                  <a:pt x="1294" y="1441"/>
                </a:lnTo>
                <a:lnTo>
                  <a:pt x="1288" y="1439"/>
                </a:lnTo>
                <a:lnTo>
                  <a:pt x="1280" y="1436"/>
                </a:lnTo>
                <a:lnTo>
                  <a:pt x="1271" y="1431"/>
                </a:lnTo>
                <a:lnTo>
                  <a:pt x="1257" y="1431"/>
                </a:lnTo>
                <a:lnTo>
                  <a:pt x="1244" y="1432"/>
                </a:lnTo>
                <a:lnTo>
                  <a:pt x="1231" y="1433"/>
                </a:lnTo>
                <a:lnTo>
                  <a:pt x="1219" y="1436"/>
                </a:lnTo>
                <a:lnTo>
                  <a:pt x="1207" y="1439"/>
                </a:lnTo>
                <a:lnTo>
                  <a:pt x="1198" y="1443"/>
                </a:lnTo>
                <a:lnTo>
                  <a:pt x="1188" y="1446"/>
                </a:lnTo>
                <a:lnTo>
                  <a:pt x="1180" y="1450"/>
                </a:lnTo>
                <a:lnTo>
                  <a:pt x="1171" y="1456"/>
                </a:lnTo>
                <a:lnTo>
                  <a:pt x="1164" y="1461"/>
                </a:lnTo>
                <a:lnTo>
                  <a:pt x="1156" y="1467"/>
                </a:lnTo>
                <a:lnTo>
                  <a:pt x="1151" y="1474"/>
                </a:lnTo>
                <a:lnTo>
                  <a:pt x="1145" y="1480"/>
                </a:lnTo>
                <a:lnTo>
                  <a:pt x="1141" y="1488"/>
                </a:lnTo>
                <a:lnTo>
                  <a:pt x="1136" y="1496"/>
                </a:lnTo>
                <a:lnTo>
                  <a:pt x="1132" y="1504"/>
                </a:lnTo>
                <a:lnTo>
                  <a:pt x="1125" y="1522"/>
                </a:lnTo>
                <a:lnTo>
                  <a:pt x="1120" y="1540"/>
                </a:lnTo>
                <a:lnTo>
                  <a:pt x="1117" y="1561"/>
                </a:lnTo>
                <a:lnTo>
                  <a:pt x="1115" y="1583"/>
                </a:lnTo>
                <a:lnTo>
                  <a:pt x="1112" y="1631"/>
                </a:lnTo>
                <a:lnTo>
                  <a:pt x="1112" y="1683"/>
                </a:lnTo>
                <a:lnTo>
                  <a:pt x="1107" y="1690"/>
                </a:lnTo>
                <a:lnTo>
                  <a:pt x="1100" y="1695"/>
                </a:lnTo>
                <a:lnTo>
                  <a:pt x="1094" y="1700"/>
                </a:lnTo>
                <a:lnTo>
                  <a:pt x="1087" y="1703"/>
                </a:lnTo>
                <a:lnTo>
                  <a:pt x="1073" y="1709"/>
                </a:lnTo>
                <a:lnTo>
                  <a:pt x="1058" y="1713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67" name="Freeform 32"/>
          <p:cNvSpPr>
            <a:spLocks/>
          </p:cNvSpPr>
          <p:nvPr/>
        </p:nvSpPr>
        <p:spPr bwMode="auto">
          <a:xfrm>
            <a:off x="1884363" y="3405188"/>
            <a:ext cx="322262" cy="252412"/>
          </a:xfrm>
          <a:custGeom>
            <a:avLst/>
            <a:gdLst>
              <a:gd name="T0" fmla="*/ 2147483647 w 815"/>
              <a:gd name="T1" fmla="*/ 2147483647 h 637"/>
              <a:gd name="T2" fmla="*/ 2147483647 w 815"/>
              <a:gd name="T3" fmla="*/ 2147483647 h 637"/>
              <a:gd name="T4" fmla="*/ 2147483647 w 815"/>
              <a:gd name="T5" fmla="*/ 2147483647 h 637"/>
              <a:gd name="T6" fmla="*/ 2147483647 w 815"/>
              <a:gd name="T7" fmla="*/ 2147483647 h 637"/>
              <a:gd name="T8" fmla="*/ 2147483647 w 815"/>
              <a:gd name="T9" fmla="*/ 2147483647 h 637"/>
              <a:gd name="T10" fmla="*/ 2147483647 w 815"/>
              <a:gd name="T11" fmla="*/ 2147483647 h 637"/>
              <a:gd name="T12" fmla="*/ 2147483647 w 815"/>
              <a:gd name="T13" fmla="*/ 2147483647 h 637"/>
              <a:gd name="T14" fmla="*/ 2147483647 w 815"/>
              <a:gd name="T15" fmla="*/ 2147483647 h 637"/>
              <a:gd name="T16" fmla="*/ 2147483647 w 815"/>
              <a:gd name="T17" fmla="*/ 2147483647 h 637"/>
              <a:gd name="T18" fmla="*/ 2147483647 w 815"/>
              <a:gd name="T19" fmla="*/ 2147483647 h 637"/>
              <a:gd name="T20" fmla="*/ 2147483647 w 815"/>
              <a:gd name="T21" fmla="*/ 2147483647 h 637"/>
              <a:gd name="T22" fmla="*/ 2147483647 w 815"/>
              <a:gd name="T23" fmla="*/ 2147483647 h 637"/>
              <a:gd name="T24" fmla="*/ 2147483647 w 815"/>
              <a:gd name="T25" fmla="*/ 2147483647 h 637"/>
              <a:gd name="T26" fmla="*/ 2147483647 w 815"/>
              <a:gd name="T27" fmla="*/ 2147483647 h 637"/>
              <a:gd name="T28" fmla="*/ 2147483647 w 815"/>
              <a:gd name="T29" fmla="*/ 2147483647 h 637"/>
              <a:gd name="T30" fmla="*/ 2147483647 w 815"/>
              <a:gd name="T31" fmla="*/ 2147483647 h 637"/>
              <a:gd name="T32" fmla="*/ 2147483647 w 815"/>
              <a:gd name="T33" fmla="*/ 2147483647 h 637"/>
              <a:gd name="T34" fmla="*/ 2147483647 w 815"/>
              <a:gd name="T35" fmla="*/ 2147483647 h 637"/>
              <a:gd name="T36" fmla="*/ 2147483647 w 815"/>
              <a:gd name="T37" fmla="*/ 2147483647 h 637"/>
              <a:gd name="T38" fmla="*/ 2147483647 w 815"/>
              <a:gd name="T39" fmla="*/ 2147483647 h 637"/>
              <a:gd name="T40" fmla="*/ 2147483647 w 815"/>
              <a:gd name="T41" fmla="*/ 2147483647 h 637"/>
              <a:gd name="T42" fmla="*/ 2147483647 w 815"/>
              <a:gd name="T43" fmla="*/ 2147483647 h 637"/>
              <a:gd name="T44" fmla="*/ 2147483647 w 815"/>
              <a:gd name="T45" fmla="*/ 2147483647 h 637"/>
              <a:gd name="T46" fmla="*/ 2147483647 w 815"/>
              <a:gd name="T47" fmla="*/ 2147483647 h 637"/>
              <a:gd name="T48" fmla="*/ 2147483647 w 815"/>
              <a:gd name="T49" fmla="*/ 2147483647 h 637"/>
              <a:gd name="T50" fmla="*/ 2147483647 w 815"/>
              <a:gd name="T51" fmla="*/ 2147483647 h 637"/>
              <a:gd name="T52" fmla="*/ 2147483647 w 815"/>
              <a:gd name="T53" fmla="*/ 2147483647 h 637"/>
              <a:gd name="T54" fmla="*/ 2147483647 w 815"/>
              <a:gd name="T55" fmla="*/ 2147483647 h 637"/>
              <a:gd name="T56" fmla="*/ 2147483647 w 815"/>
              <a:gd name="T57" fmla="*/ 2147483647 h 637"/>
              <a:gd name="T58" fmla="*/ 2147483647 w 815"/>
              <a:gd name="T59" fmla="*/ 2147483647 h 637"/>
              <a:gd name="T60" fmla="*/ 2147483647 w 815"/>
              <a:gd name="T61" fmla="*/ 2147483647 h 637"/>
              <a:gd name="T62" fmla="*/ 2147483647 w 815"/>
              <a:gd name="T63" fmla="*/ 2147483647 h 637"/>
              <a:gd name="T64" fmla="*/ 2147483647 w 815"/>
              <a:gd name="T65" fmla="*/ 2147483647 h 637"/>
              <a:gd name="T66" fmla="*/ 2147483647 w 815"/>
              <a:gd name="T67" fmla="*/ 2147483647 h 637"/>
              <a:gd name="T68" fmla="*/ 2147483647 w 815"/>
              <a:gd name="T69" fmla="*/ 2147483647 h 637"/>
              <a:gd name="T70" fmla="*/ 2147483647 w 815"/>
              <a:gd name="T71" fmla="*/ 2147483647 h 637"/>
              <a:gd name="T72" fmla="*/ 2147483647 w 815"/>
              <a:gd name="T73" fmla="*/ 2147483647 h 637"/>
              <a:gd name="T74" fmla="*/ 2147483647 w 815"/>
              <a:gd name="T75" fmla="*/ 2147483647 h 637"/>
              <a:gd name="T76" fmla="*/ 2147483647 w 815"/>
              <a:gd name="T77" fmla="*/ 2147483647 h 637"/>
              <a:gd name="T78" fmla="*/ 2147483647 w 815"/>
              <a:gd name="T79" fmla="*/ 2147483647 h 637"/>
              <a:gd name="T80" fmla="*/ 2147483647 w 815"/>
              <a:gd name="T81" fmla="*/ 2147483647 h 637"/>
              <a:gd name="T82" fmla="*/ 2147483647 w 815"/>
              <a:gd name="T83" fmla="*/ 2147483647 h 637"/>
              <a:gd name="T84" fmla="*/ 2147483647 w 815"/>
              <a:gd name="T85" fmla="*/ 2147483647 h 637"/>
              <a:gd name="T86" fmla="*/ 2147483647 w 815"/>
              <a:gd name="T87" fmla="*/ 2147483647 h 637"/>
              <a:gd name="T88" fmla="*/ 2147483647 w 815"/>
              <a:gd name="T89" fmla="*/ 2147483647 h 637"/>
              <a:gd name="T90" fmla="*/ 2147483647 w 815"/>
              <a:gd name="T91" fmla="*/ 2147483647 h 637"/>
              <a:gd name="T92" fmla="*/ 2147483647 w 815"/>
              <a:gd name="T93" fmla="*/ 2147483647 h 637"/>
              <a:gd name="T94" fmla="*/ 2147483647 w 815"/>
              <a:gd name="T95" fmla="*/ 2147483647 h 637"/>
              <a:gd name="T96" fmla="*/ 2147483647 w 815"/>
              <a:gd name="T97" fmla="*/ 2147483647 h 637"/>
              <a:gd name="T98" fmla="*/ 2147483647 w 815"/>
              <a:gd name="T99" fmla="*/ 2147483647 h 637"/>
              <a:gd name="T100" fmla="*/ 2147483647 w 815"/>
              <a:gd name="T101" fmla="*/ 2147483647 h 637"/>
              <a:gd name="T102" fmla="*/ 2147483647 w 815"/>
              <a:gd name="T103" fmla="*/ 2147483647 h 637"/>
              <a:gd name="T104" fmla="*/ 2147483647 w 815"/>
              <a:gd name="T105" fmla="*/ 2147483647 h 637"/>
              <a:gd name="T106" fmla="*/ 2147483647 w 815"/>
              <a:gd name="T107" fmla="*/ 2147483647 h 637"/>
              <a:gd name="T108" fmla="*/ 2147483647 w 815"/>
              <a:gd name="T109" fmla="*/ 2147483647 h 63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15"/>
              <a:gd name="T166" fmla="*/ 0 h 637"/>
              <a:gd name="T167" fmla="*/ 815 w 815"/>
              <a:gd name="T168" fmla="*/ 637 h 637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15" h="637">
                <a:moveTo>
                  <a:pt x="250" y="637"/>
                </a:moveTo>
                <a:lnTo>
                  <a:pt x="232" y="636"/>
                </a:lnTo>
                <a:lnTo>
                  <a:pt x="214" y="634"/>
                </a:lnTo>
                <a:lnTo>
                  <a:pt x="197" y="633"/>
                </a:lnTo>
                <a:lnTo>
                  <a:pt x="180" y="632"/>
                </a:lnTo>
                <a:lnTo>
                  <a:pt x="168" y="594"/>
                </a:lnTo>
                <a:lnTo>
                  <a:pt x="155" y="558"/>
                </a:lnTo>
                <a:lnTo>
                  <a:pt x="142" y="520"/>
                </a:lnTo>
                <a:lnTo>
                  <a:pt x="128" y="483"/>
                </a:lnTo>
                <a:lnTo>
                  <a:pt x="115" y="447"/>
                </a:lnTo>
                <a:lnTo>
                  <a:pt x="102" y="409"/>
                </a:lnTo>
                <a:lnTo>
                  <a:pt x="89" y="372"/>
                </a:lnTo>
                <a:lnTo>
                  <a:pt x="77" y="334"/>
                </a:lnTo>
                <a:lnTo>
                  <a:pt x="68" y="327"/>
                </a:lnTo>
                <a:lnTo>
                  <a:pt x="59" y="321"/>
                </a:lnTo>
                <a:lnTo>
                  <a:pt x="51" y="314"/>
                </a:lnTo>
                <a:lnTo>
                  <a:pt x="43" y="307"/>
                </a:lnTo>
                <a:lnTo>
                  <a:pt x="37" y="299"/>
                </a:lnTo>
                <a:lnTo>
                  <a:pt x="30" y="291"/>
                </a:lnTo>
                <a:lnTo>
                  <a:pt x="25" y="283"/>
                </a:lnTo>
                <a:lnTo>
                  <a:pt x="20" y="274"/>
                </a:lnTo>
                <a:lnTo>
                  <a:pt x="12" y="254"/>
                </a:lnTo>
                <a:lnTo>
                  <a:pt x="7" y="235"/>
                </a:lnTo>
                <a:lnTo>
                  <a:pt x="3" y="213"/>
                </a:lnTo>
                <a:lnTo>
                  <a:pt x="0" y="189"/>
                </a:lnTo>
                <a:lnTo>
                  <a:pt x="10" y="184"/>
                </a:lnTo>
                <a:lnTo>
                  <a:pt x="17" y="179"/>
                </a:lnTo>
                <a:lnTo>
                  <a:pt x="24" y="174"/>
                </a:lnTo>
                <a:lnTo>
                  <a:pt x="29" y="167"/>
                </a:lnTo>
                <a:lnTo>
                  <a:pt x="33" y="161"/>
                </a:lnTo>
                <a:lnTo>
                  <a:pt x="34" y="154"/>
                </a:lnTo>
                <a:lnTo>
                  <a:pt x="37" y="148"/>
                </a:lnTo>
                <a:lnTo>
                  <a:pt x="37" y="141"/>
                </a:lnTo>
                <a:lnTo>
                  <a:pt x="34" y="111"/>
                </a:lnTo>
                <a:lnTo>
                  <a:pt x="32" y="78"/>
                </a:lnTo>
                <a:lnTo>
                  <a:pt x="37" y="75"/>
                </a:lnTo>
                <a:lnTo>
                  <a:pt x="45" y="74"/>
                </a:lnTo>
                <a:lnTo>
                  <a:pt x="46" y="57"/>
                </a:lnTo>
                <a:lnTo>
                  <a:pt x="49" y="41"/>
                </a:lnTo>
                <a:lnTo>
                  <a:pt x="50" y="24"/>
                </a:lnTo>
                <a:lnTo>
                  <a:pt x="53" y="9"/>
                </a:lnTo>
                <a:lnTo>
                  <a:pt x="59" y="6"/>
                </a:lnTo>
                <a:lnTo>
                  <a:pt x="68" y="5"/>
                </a:lnTo>
                <a:lnTo>
                  <a:pt x="81" y="10"/>
                </a:lnTo>
                <a:lnTo>
                  <a:pt x="93" y="13"/>
                </a:lnTo>
                <a:lnTo>
                  <a:pt x="105" y="14"/>
                </a:lnTo>
                <a:lnTo>
                  <a:pt x="116" y="15"/>
                </a:lnTo>
                <a:lnTo>
                  <a:pt x="137" y="14"/>
                </a:lnTo>
                <a:lnTo>
                  <a:pt x="157" y="10"/>
                </a:lnTo>
                <a:lnTo>
                  <a:pt x="167" y="9"/>
                </a:lnTo>
                <a:lnTo>
                  <a:pt x="176" y="7"/>
                </a:lnTo>
                <a:lnTo>
                  <a:pt x="185" y="7"/>
                </a:lnTo>
                <a:lnTo>
                  <a:pt x="194" y="7"/>
                </a:lnTo>
                <a:lnTo>
                  <a:pt x="203" y="9"/>
                </a:lnTo>
                <a:lnTo>
                  <a:pt x="213" y="13"/>
                </a:lnTo>
                <a:lnTo>
                  <a:pt x="222" y="18"/>
                </a:lnTo>
                <a:lnTo>
                  <a:pt x="232" y="24"/>
                </a:lnTo>
                <a:lnTo>
                  <a:pt x="249" y="24"/>
                </a:lnTo>
                <a:lnTo>
                  <a:pt x="266" y="26"/>
                </a:lnTo>
                <a:lnTo>
                  <a:pt x="284" y="27"/>
                </a:lnTo>
                <a:lnTo>
                  <a:pt x="302" y="28"/>
                </a:lnTo>
                <a:lnTo>
                  <a:pt x="306" y="36"/>
                </a:lnTo>
                <a:lnTo>
                  <a:pt x="311" y="45"/>
                </a:lnTo>
                <a:lnTo>
                  <a:pt x="317" y="54"/>
                </a:lnTo>
                <a:lnTo>
                  <a:pt x="323" y="63"/>
                </a:lnTo>
                <a:lnTo>
                  <a:pt x="330" y="72"/>
                </a:lnTo>
                <a:lnTo>
                  <a:pt x="337" y="80"/>
                </a:lnTo>
                <a:lnTo>
                  <a:pt x="345" y="87"/>
                </a:lnTo>
                <a:lnTo>
                  <a:pt x="353" y="93"/>
                </a:lnTo>
                <a:lnTo>
                  <a:pt x="362" y="98"/>
                </a:lnTo>
                <a:lnTo>
                  <a:pt x="370" y="102"/>
                </a:lnTo>
                <a:lnTo>
                  <a:pt x="379" y="104"/>
                </a:lnTo>
                <a:lnTo>
                  <a:pt x="387" y="104"/>
                </a:lnTo>
                <a:lnTo>
                  <a:pt x="395" y="101"/>
                </a:lnTo>
                <a:lnTo>
                  <a:pt x="404" y="97"/>
                </a:lnTo>
                <a:lnTo>
                  <a:pt x="410" y="89"/>
                </a:lnTo>
                <a:lnTo>
                  <a:pt x="418" y="80"/>
                </a:lnTo>
                <a:lnTo>
                  <a:pt x="434" y="76"/>
                </a:lnTo>
                <a:lnTo>
                  <a:pt x="449" y="74"/>
                </a:lnTo>
                <a:lnTo>
                  <a:pt x="466" y="71"/>
                </a:lnTo>
                <a:lnTo>
                  <a:pt x="482" y="68"/>
                </a:lnTo>
                <a:lnTo>
                  <a:pt x="483" y="57"/>
                </a:lnTo>
                <a:lnTo>
                  <a:pt x="484" y="45"/>
                </a:lnTo>
                <a:lnTo>
                  <a:pt x="486" y="33"/>
                </a:lnTo>
                <a:lnTo>
                  <a:pt x="487" y="22"/>
                </a:lnTo>
                <a:lnTo>
                  <a:pt x="507" y="15"/>
                </a:lnTo>
                <a:lnTo>
                  <a:pt x="517" y="10"/>
                </a:lnTo>
                <a:lnTo>
                  <a:pt x="525" y="6"/>
                </a:lnTo>
                <a:lnTo>
                  <a:pt x="531" y="0"/>
                </a:lnTo>
                <a:lnTo>
                  <a:pt x="550" y="18"/>
                </a:lnTo>
                <a:lnTo>
                  <a:pt x="565" y="36"/>
                </a:lnTo>
                <a:lnTo>
                  <a:pt x="572" y="46"/>
                </a:lnTo>
                <a:lnTo>
                  <a:pt x="579" y="57"/>
                </a:lnTo>
                <a:lnTo>
                  <a:pt x="585" y="68"/>
                </a:lnTo>
                <a:lnTo>
                  <a:pt x="591" y="80"/>
                </a:lnTo>
                <a:lnTo>
                  <a:pt x="608" y="78"/>
                </a:lnTo>
                <a:lnTo>
                  <a:pt x="626" y="78"/>
                </a:lnTo>
                <a:lnTo>
                  <a:pt x="633" y="66"/>
                </a:lnTo>
                <a:lnTo>
                  <a:pt x="641" y="54"/>
                </a:lnTo>
                <a:lnTo>
                  <a:pt x="659" y="55"/>
                </a:lnTo>
                <a:lnTo>
                  <a:pt x="673" y="55"/>
                </a:lnTo>
                <a:lnTo>
                  <a:pt x="684" y="57"/>
                </a:lnTo>
                <a:lnTo>
                  <a:pt x="693" y="59"/>
                </a:lnTo>
                <a:lnTo>
                  <a:pt x="699" y="62"/>
                </a:lnTo>
                <a:lnTo>
                  <a:pt x="704" y="66"/>
                </a:lnTo>
                <a:lnTo>
                  <a:pt x="707" y="70"/>
                </a:lnTo>
                <a:lnTo>
                  <a:pt x="710" y="74"/>
                </a:lnTo>
                <a:lnTo>
                  <a:pt x="715" y="85"/>
                </a:lnTo>
                <a:lnTo>
                  <a:pt x="720" y="100"/>
                </a:lnTo>
                <a:lnTo>
                  <a:pt x="725" y="109"/>
                </a:lnTo>
                <a:lnTo>
                  <a:pt x="730" y="118"/>
                </a:lnTo>
                <a:lnTo>
                  <a:pt x="738" y="128"/>
                </a:lnTo>
                <a:lnTo>
                  <a:pt x="749" y="140"/>
                </a:lnTo>
                <a:lnTo>
                  <a:pt x="749" y="150"/>
                </a:lnTo>
                <a:lnTo>
                  <a:pt x="749" y="162"/>
                </a:lnTo>
                <a:lnTo>
                  <a:pt x="749" y="174"/>
                </a:lnTo>
                <a:lnTo>
                  <a:pt x="749" y="186"/>
                </a:lnTo>
                <a:lnTo>
                  <a:pt x="772" y="191"/>
                </a:lnTo>
                <a:lnTo>
                  <a:pt x="791" y="196"/>
                </a:lnTo>
                <a:lnTo>
                  <a:pt x="799" y="201"/>
                </a:lnTo>
                <a:lnTo>
                  <a:pt x="806" y="208"/>
                </a:lnTo>
                <a:lnTo>
                  <a:pt x="811" y="217"/>
                </a:lnTo>
                <a:lnTo>
                  <a:pt x="815" y="228"/>
                </a:lnTo>
                <a:lnTo>
                  <a:pt x="803" y="231"/>
                </a:lnTo>
                <a:lnTo>
                  <a:pt x="793" y="234"/>
                </a:lnTo>
                <a:lnTo>
                  <a:pt x="782" y="236"/>
                </a:lnTo>
                <a:lnTo>
                  <a:pt x="772" y="239"/>
                </a:lnTo>
                <a:lnTo>
                  <a:pt x="765" y="256"/>
                </a:lnTo>
                <a:lnTo>
                  <a:pt x="759" y="269"/>
                </a:lnTo>
                <a:lnTo>
                  <a:pt x="752" y="282"/>
                </a:lnTo>
                <a:lnTo>
                  <a:pt x="746" y="294"/>
                </a:lnTo>
                <a:lnTo>
                  <a:pt x="739" y="304"/>
                </a:lnTo>
                <a:lnTo>
                  <a:pt x="732" y="313"/>
                </a:lnTo>
                <a:lnTo>
                  <a:pt x="723" y="321"/>
                </a:lnTo>
                <a:lnTo>
                  <a:pt x="715" y="329"/>
                </a:lnTo>
                <a:lnTo>
                  <a:pt x="706" y="335"/>
                </a:lnTo>
                <a:lnTo>
                  <a:pt x="695" y="342"/>
                </a:lnTo>
                <a:lnTo>
                  <a:pt x="685" y="347"/>
                </a:lnTo>
                <a:lnTo>
                  <a:pt x="673" y="352"/>
                </a:lnTo>
                <a:lnTo>
                  <a:pt x="647" y="362"/>
                </a:lnTo>
                <a:lnTo>
                  <a:pt x="618" y="374"/>
                </a:lnTo>
                <a:lnTo>
                  <a:pt x="611" y="388"/>
                </a:lnTo>
                <a:lnTo>
                  <a:pt x="602" y="401"/>
                </a:lnTo>
                <a:lnTo>
                  <a:pt x="594" y="414"/>
                </a:lnTo>
                <a:lnTo>
                  <a:pt x="583" y="427"/>
                </a:lnTo>
                <a:lnTo>
                  <a:pt x="565" y="452"/>
                </a:lnTo>
                <a:lnTo>
                  <a:pt x="547" y="478"/>
                </a:lnTo>
                <a:lnTo>
                  <a:pt x="526" y="485"/>
                </a:lnTo>
                <a:lnTo>
                  <a:pt x="505" y="494"/>
                </a:lnTo>
                <a:lnTo>
                  <a:pt x="486" y="502"/>
                </a:lnTo>
                <a:lnTo>
                  <a:pt x="468" y="512"/>
                </a:lnTo>
                <a:lnTo>
                  <a:pt x="448" y="521"/>
                </a:lnTo>
                <a:lnTo>
                  <a:pt x="430" y="530"/>
                </a:lnTo>
                <a:lnTo>
                  <a:pt x="409" y="538"/>
                </a:lnTo>
                <a:lnTo>
                  <a:pt x="389" y="545"/>
                </a:lnTo>
                <a:lnTo>
                  <a:pt x="384" y="563"/>
                </a:lnTo>
                <a:lnTo>
                  <a:pt x="379" y="580"/>
                </a:lnTo>
                <a:lnTo>
                  <a:pt x="365" y="582"/>
                </a:lnTo>
                <a:lnTo>
                  <a:pt x="353" y="586"/>
                </a:lnTo>
                <a:lnTo>
                  <a:pt x="344" y="590"/>
                </a:lnTo>
                <a:lnTo>
                  <a:pt x="335" y="595"/>
                </a:lnTo>
                <a:lnTo>
                  <a:pt x="318" y="610"/>
                </a:lnTo>
                <a:lnTo>
                  <a:pt x="298" y="629"/>
                </a:lnTo>
                <a:lnTo>
                  <a:pt x="287" y="632"/>
                </a:lnTo>
                <a:lnTo>
                  <a:pt x="274" y="633"/>
                </a:lnTo>
                <a:lnTo>
                  <a:pt x="262" y="634"/>
                </a:lnTo>
                <a:lnTo>
                  <a:pt x="250" y="637"/>
                </a:lnTo>
                <a:close/>
              </a:path>
            </a:pathLst>
          </a:custGeom>
          <a:solidFill>
            <a:srgbClr val="00FF00"/>
          </a:solidFill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68" name="Freeform 33"/>
          <p:cNvSpPr>
            <a:spLocks/>
          </p:cNvSpPr>
          <p:nvPr/>
        </p:nvSpPr>
        <p:spPr bwMode="auto">
          <a:xfrm>
            <a:off x="1625600" y="3587750"/>
            <a:ext cx="15875" cy="17463"/>
          </a:xfrm>
          <a:custGeom>
            <a:avLst/>
            <a:gdLst>
              <a:gd name="T0" fmla="*/ 2147483647 w 41"/>
              <a:gd name="T1" fmla="*/ 2147483647 h 42"/>
              <a:gd name="T2" fmla="*/ 2147483647 w 41"/>
              <a:gd name="T3" fmla="*/ 2147483647 h 42"/>
              <a:gd name="T4" fmla="*/ 0 w 41"/>
              <a:gd name="T5" fmla="*/ 2147483647 h 42"/>
              <a:gd name="T6" fmla="*/ 2147483647 w 41"/>
              <a:gd name="T7" fmla="*/ 2147483647 h 42"/>
              <a:gd name="T8" fmla="*/ 2147483647 w 41"/>
              <a:gd name="T9" fmla="*/ 0 h 42"/>
              <a:gd name="T10" fmla="*/ 2147483647 w 41"/>
              <a:gd name="T11" fmla="*/ 2147483647 h 42"/>
              <a:gd name="T12" fmla="*/ 2147483647 w 41"/>
              <a:gd name="T13" fmla="*/ 2147483647 h 42"/>
              <a:gd name="T14" fmla="*/ 2147483647 w 41"/>
              <a:gd name="T15" fmla="*/ 2147483647 h 42"/>
              <a:gd name="T16" fmla="*/ 2147483647 w 41"/>
              <a:gd name="T17" fmla="*/ 2147483647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1"/>
              <a:gd name="T28" fmla="*/ 0 h 42"/>
              <a:gd name="T29" fmla="*/ 41 w 41"/>
              <a:gd name="T30" fmla="*/ 42 h 4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1" h="42">
                <a:moveTo>
                  <a:pt x="31" y="42"/>
                </a:moveTo>
                <a:lnTo>
                  <a:pt x="14" y="22"/>
                </a:lnTo>
                <a:lnTo>
                  <a:pt x="0" y="6"/>
                </a:lnTo>
                <a:lnTo>
                  <a:pt x="13" y="2"/>
                </a:lnTo>
                <a:lnTo>
                  <a:pt x="22" y="0"/>
                </a:lnTo>
                <a:lnTo>
                  <a:pt x="31" y="2"/>
                </a:lnTo>
                <a:lnTo>
                  <a:pt x="41" y="3"/>
                </a:lnTo>
                <a:lnTo>
                  <a:pt x="36" y="22"/>
                </a:lnTo>
                <a:lnTo>
                  <a:pt x="31" y="42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69" name="Freeform 34"/>
          <p:cNvSpPr>
            <a:spLocks/>
          </p:cNvSpPr>
          <p:nvPr/>
        </p:nvSpPr>
        <p:spPr bwMode="auto">
          <a:xfrm>
            <a:off x="8096250" y="2144713"/>
            <a:ext cx="657225" cy="1258887"/>
          </a:xfrm>
          <a:custGeom>
            <a:avLst/>
            <a:gdLst>
              <a:gd name="T0" fmla="*/ 2147483647 w 1656"/>
              <a:gd name="T1" fmla="*/ 2147483647 h 3173"/>
              <a:gd name="T2" fmla="*/ 2147483647 w 1656"/>
              <a:gd name="T3" fmla="*/ 2147483647 h 3173"/>
              <a:gd name="T4" fmla="*/ 2147483647 w 1656"/>
              <a:gd name="T5" fmla="*/ 2147483647 h 3173"/>
              <a:gd name="T6" fmla="*/ 2147483647 w 1656"/>
              <a:gd name="T7" fmla="*/ 2147483647 h 3173"/>
              <a:gd name="T8" fmla="*/ 2147483647 w 1656"/>
              <a:gd name="T9" fmla="*/ 2147483647 h 3173"/>
              <a:gd name="T10" fmla="*/ 2147483647 w 1656"/>
              <a:gd name="T11" fmla="*/ 2147483647 h 3173"/>
              <a:gd name="T12" fmla="*/ 2147483647 w 1656"/>
              <a:gd name="T13" fmla="*/ 2147483647 h 3173"/>
              <a:gd name="T14" fmla="*/ 2147483647 w 1656"/>
              <a:gd name="T15" fmla="*/ 2147483647 h 3173"/>
              <a:gd name="T16" fmla="*/ 2147483647 w 1656"/>
              <a:gd name="T17" fmla="*/ 2147483647 h 3173"/>
              <a:gd name="T18" fmla="*/ 2147483647 w 1656"/>
              <a:gd name="T19" fmla="*/ 2147483647 h 3173"/>
              <a:gd name="T20" fmla="*/ 2147483647 w 1656"/>
              <a:gd name="T21" fmla="*/ 2147483647 h 3173"/>
              <a:gd name="T22" fmla="*/ 2147483647 w 1656"/>
              <a:gd name="T23" fmla="*/ 2147483647 h 3173"/>
              <a:gd name="T24" fmla="*/ 2147483647 w 1656"/>
              <a:gd name="T25" fmla="*/ 2147483647 h 3173"/>
              <a:gd name="T26" fmla="*/ 2147483647 w 1656"/>
              <a:gd name="T27" fmla="*/ 2147483647 h 3173"/>
              <a:gd name="T28" fmla="*/ 2147483647 w 1656"/>
              <a:gd name="T29" fmla="*/ 2147483647 h 3173"/>
              <a:gd name="T30" fmla="*/ 2147483647 w 1656"/>
              <a:gd name="T31" fmla="*/ 2147483647 h 3173"/>
              <a:gd name="T32" fmla="*/ 2147483647 w 1656"/>
              <a:gd name="T33" fmla="*/ 2147483647 h 3173"/>
              <a:gd name="T34" fmla="*/ 2147483647 w 1656"/>
              <a:gd name="T35" fmla="*/ 2147483647 h 3173"/>
              <a:gd name="T36" fmla="*/ 2147483647 w 1656"/>
              <a:gd name="T37" fmla="*/ 2147483647 h 3173"/>
              <a:gd name="T38" fmla="*/ 2147483647 w 1656"/>
              <a:gd name="T39" fmla="*/ 2147483647 h 3173"/>
              <a:gd name="T40" fmla="*/ 2147483647 w 1656"/>
              <a:gd name="T41" fmla="*/ 2147483647 h 3173"/>
              <a:gd name="T42" fmla="*/ 2147483647 w 1656"/>
              <a:gd name="T43" fmla="*/ 2147483647 h 3173"/>
              <a:gd name="T44" fmla="*/ 0 w 1656"/>
              <a:gd name="T45" fmla="*/ 2147483647 h 3173"/>
              <a:gd name="T46" fmla="*/ 2147483647 w 1656"/>
              <a:gd name="T47" fmla="*/ 2147483647 h 3173"/>
              <a:gd name="T48" fmla="*/ 2147483647 w 1656"/>
              <a:gd name="T49" fmla="*/ 2147483647 h 3173"/>
              <a:gd name="T50" fmla="*/ 2147483647 w 1656"/>
              <a:gd name="T51" fmla="*/ 2147483647 h 3173"/>
              <a:gd name="T52" fmla="*/ 2147483647 w 1656"/>
              <a:gd name="T53" fmla="*/ 2147483647 h 3173"/>
              <a:gd name="T54" fmla="*/ 2147483647 w 1656"/>
              <a:gd name="T55" fmla="*/ 2147483647 h 3173"/>
              <a:gd name="T56" fmla="*/ 2147483647 w 1656"/>
              <a:gd name="T57" fmla="*/ 2147483647 h 3173"/>
              <a:gd name="T58" fmla="*/ 2147483647 w 1656"/>
              <a:gd name="T59" fmla="*/ 2147483647 h 3173"/>
              <a:gd name="T60" fmla="*/ 2147483647 w 1656"/>
              <a:gd name="T61" fmla="*/ 2147483647 h 3173"/>
              <a:gd name="T62" fmla="*/ 2147483647 w 1656"/>
              <a:gd name="T63" fmla="*/ 2147483647 h 3173"/>
              <a:gd name="T64" fmla="*/ 2147483647 w 1656"/>
              <a:gd name="T65" fmla="*/ 2147483647 h 3173"/>
              <a:gd name="T66" fmla="*/ 2147483647 w 1656"/>
              <a:gd name="T67" fmla="*/ 2147483647 h 3173"/>
              <a:gd name="T68" fmla="*/ 2147483647 w 1656"/>
              <a:gd name="T69" fmla="*/ 2147483647 h 3173"/>
              <a:gd name="T70" fmla="*/ 2147483647 w 1656"/>
              <a:gd name="T71" fmla="*/ 2147483647 h 3173"/>
              <a:gd name="T72" fmla="*/ 2147483647 w 1656"/>
              <a:gd name="T73" fmla="*/ 2147483647 h 3173"/>
              <a:gd name="T74" fmla="*/ 2147483647 w 1656"/>
              <a:gd name="T75" fmla="*/ 2147483647 h 3173"/>
              <a:gd name="T76" fmla="*/ 2147483647 w 1656"/>
              <a:gd name="T77" fmla="*/ 2147483647 h 3173"/>
              <a:gd name="T78" fmla="*/ 2147483647 w 1656"/>
              <a:gd name="T79" fmla="*/ 2147483647 h 3173"/>
              <a:gd name="T80" fmla="*/ 2147483647 w 1656"/>
              <a:gd name="T81" fmla="*/ 2147483647 h 3173"/>
              <a:gd name="T82" fmla="*/ 2147483647 w 1656"/>
              <a:gd name="T83" fmla="*/ 2147483647 h 3173"/>
              <a:gd name="T84" fmla="*/ 2147483647 w 1656"/>
              <a:gd name="T85" fmla="*/ 2147483647 h 3173"/>
              <a:gd name="T86" fmla="*/ 2147483647 w 1656"/>
              <a:gd name="T87" fmla="*/ 2147483647 h 3173"/>
              <a:gd name="T88" fmla="*/ 2147483647 w 1656"/>
              <a:gd name="T89" fmla="*/ 2147483647 h 3173"/>
              <a:gd name="T90" fmla="*/ 2147483647 w 1656"/>
              <a:gd name="T91" fmla="*/ 2147483647 h 3173"/>
              <a:gd name="T92" fmla="*/ 2147483647 w 1656"/>
              <a:gd name="T93" fmla="*/ 2147483647 h 3173"/>
              <a:gd name="T94" fmla="*/ 2147483647 w 1656"/>
              <a:gd name="T95" fmla="*/ 2147483647 h 3173"/>
              <a:gd name="T96" fmla="*/ 2147483647 w 1656"/>
              <a:gd name="T97" fmla="*/ 2147483647 h 3173"/>
              <a:gd name="T98" fmla="*/ 2147483647 w 1656"/>
              <a:gd name="T99" fmla="*/ 2147483647 h 3173"/>
              <a:gd name="T100" fmla="*/ 2147483647 w 1656"/>
              <a:gd name="T101" fmla="*/ 2147483647 h 3173"/>
              <a:gd name="T102" fmla="*/ 2147483647 w 1656"/>
              <a:gd name="T103" fmla="*/ 2147483647 h 3173"/>
              <a:gd name="T104" fmla="*/ 2147483647 w 1656"/>
              <a:gd name="T105" fmla="*/ 2147483647 h 3173"/>
              <a:gd name="T106" fmla="*/ 2147483647 w 1656"/>
              <a:gd name="T107" fmla="*/ 2147483647 h 3173"/>
              <a:gd name="T108" fmla="*/ 2147483647 w 1656"/>
              <a:gd name="T109" fmla="*/ 2147483647 h 3173"/>
              <a:gd name="T110" fmla="*/ 2147483647 w 1656"/>
              <a:gd name="T111" fmla="*/ 2147483647 h 3173"/>
              <a:gd name="T112" fmla="*/ 2147483647 w 1656"/>
              <a:gd name="T113" fmla="*/ 2147483647 h 3173"/>
              <a:gd name="T114" fmla="*/ 2147483647 w 1656"/>
              <a:gd name="T115" fmla="*/ 2147483647 h 317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656"/>
              <a:gd name="T175" fmla="*/ 0 h 3173"/>
              <a:gd name="T176" fmla="*/ 1656 w 1656"/>
              <a:gd name="T177" fmla="*/ 3173 h 3173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656" h="3173">
                <a:moveTo>
                  <a:pt x="623" y="3173"/>
                </a:moveTo>
                <a:lnTo>
                  <a:pt x="607" y="3143"/>
                </a:lnTo>
                <a:lnTo>
                  <a:pt x="589" y="3109"/>
                </a:lnTo>
                <a:lnTo>
                  <a:pt x="570" y="3074"/>
                </a:lnTo>
                <a:lnTo>
                  <a:pt x="553" y="3038"/>
                </a:lnTo>
                <a:lnTo>
                  <a:pt x="545" y="3018"/>
                </a:lnTo>
                <a:lnTo>
                  <a:pt x="537" y="3000"/>
                </a:lnTo>
                <a:lnTo>
                  <a:pt x="532" y="2980"/>
                </a:lnTo>
                <a:lnTo>
                  <a:pt x="527" y="2962"/>
                </a:lnTo>
                <a:lnTo>
                  <a:pt x="522" y="2944"/>
                </a:lnTo>
                <a:lnTo>
                  <a:pt x="520" y="2926"/>
                </a:lnTo>
                <a:lnTo>
                  <a:pt x="519" y="2909"/>
                </a:lnTo>
                <a:lnTo>
                  <a:pt x="520" y="2892"/>
                </a:lnTo>
                <a:lnTo>
                  <a:pt x="528" y="2878"/>
                </a:lnTo>
                <a:lnTo>
                  <a:pt x="535" y="2862"/>
                </a:lnTo>
                <a:lnTo>
                  <a:pt x="540" y="2845"/>
                </a:lnTo>
                <a:lnTo>
                  <a:pt x="545" y="2827"/>
                </a:lnTo>
                <a:lnTo>
                  <a:pt x="548" y="2809"/>
                </a:lnTo>
                <a:lnTo>
                  <a:pt x="549" y="2789"/>
                </a:lnTo>
                <a:lnTo>
                  <a:pt x="550" y="2770"/>
                </a:lnTo>
                <a:lnTo>
                  <a:pt x="549" y="2751"/>
                </a:lnTo>
                <a:lnTo>
                  <a:pt x="546" y="2732"/>
                </a:lnTo>
                <a:lnTo>
                  <a:pt x="541" y="2714"/>
                </a:lnTo>
                <a:lnTo>
                  <a:pt x="536" y="2697"/>
                </a:lnTo>
                <a:lnTo>
                  <a:pt x="528" y="2681"/>
                </a:lnTo>
                <a:lnTo>
                  <a:pt x="519" y="2666"/>
                </a:lnTo>
                <a:lnTo>
                  <a:pt x="507" y="2653"/>
                </a:lnTo>
                <a:lnTo>
                  <a:pt x="501" y="2647"/>
                </a:lnTo>
                <a:lnTo>
                  <a:pt x="494" y="2642"/>
                </a:lnTo>
                <a:lnTo>
                  <a:pt x="486" y="2637"/>
                </a:lnTo>
                <a:lnTo>
                  <a:pt x="479" y="2633"/>
                </a:lnTo>
                <a:lnTo>
                  <a:pt x="473" y="2616"/>
                </a:lnTo>
                <a:lnTo>
                  <a:pt x="469" y="2602"/>
                </a:lnTo>
                <a:lnTo>
                  <a:pt x="494" y="2595"/>
                </a:lnTo>
                <a:lnTo>
                  <a:pt x="512" y="2589"/>
                </a:lnTo>
                <a:lnTo>
                  <a:pt x="519" y="2586"/>
                </a:lnTo>
                <a:lnTo>
                  <a:pt x="525" y="2582"/>
                </a:lnTo>
                <a:lnTo>
                  <a:pt x="531" y="2578"/>
                </a:lnTo>
                <a:lnTo>
                  <a:pt x="535" y="2573"/>
                </a:lnTo>
                <a:lnTo>
                  <a:pt x="537" y="2568"/>
                </a:lnTo>
                <a:lnTo>
                  <a:pt x="540" y="2563"/>
                </a:lnTo>
                <a:lnTo>
                  <a:pt x="542" y="2555"/>
                </a:lnTo>
                <a:lnTo>
                  <a:pt x="544" y="2546"/>
                </a:lnTo>
                <a:lnTo>
                  <a:pt x="545" y="2525"/>
                </a:lnTo>
                <a:lnTo>
                  <a:pt x="546" y="2498"/>
                </a:lnTo>
                <a:lnTo>
                  <a:pt x="555" y="2493"/>
                </a:lnTo>
                <a:lnTo>
                  <a:pt x="563" y="2487"/>
                </a:lnTo>
                <a:lnTo>
                  <a:pt x="571" y="2480"/>
                </a:lnTo>
                <a:lnTo>
                  <a:pt x="579" y="2472"/>
                </a:lnTo>
                <a:lnTo>
                  <a:pt x="585" y="2463"/>
                </a:lnTo>
                <a:lnTo>
                  <a:pt x="590" y="2452"/>
                </a:lnTo>
                <a:lnTo>
                  <a:pt x="597" y="2442"/>
                </a:lnTo>
                <a:lnTo>
                  <a:pt x="602" y="2430"/>
                </a:lnTo>
                <a:lnTo>
                  <a:pt x="610" y="2405"/>
                </a:lnTo>
                <a:lnTo>
                  <a:pt x="618" y="2378"/>
                </a:lnTo>
                <a:lnTo>
                  <a:pt x="624" y="2351"/>
                </a:lnTo>
                <a:lnTo>
                  <a:pt x="628" y="2321"/>
                </a:lnTo>
                <a:lnTo>
                  <a:pt x="631" y="2291"/>
                </a:lnTo>
                <a:lnTo>
                  <a:pt x="633" y="2261"/>
                </a:lnTo>
                <a:lnTo>
                  <a:pt x="633" y="2232"/>
                </a:lnTo>
                <a:lnTo>
                  <a:pt x="633" y="2204"/>
                </a:lnTo>
                <a:lnTo>
                  <a:pt x="633" y="2178"/>
                </a:lnTo>
                <a:lnTo>
                  <a:pt x="632" y="2153"/>
                </a:lnTo>
                <a:lnTo>
                  <a:pt x="629" y="2132"/>
                </a:lnTo>
                <a:lnTo>
                  <a:pt x="627" y="2114"/>
                </a:lnTo>
                <a:lnTo>
                  <a:pt x="620" y="2094"/>
                </a:lnTo>
                <a:lnTo>
                  <a:pt x="615" y="2076"/>
                </a:lnTo>
                <a:lnTo>
                  <a:pt x="611" y="2059"/>
                </a:lnTo>
                <a:lnTo>
                  <a:pt x="607" y="2044"/>
                </a:lnTo>
                <a:lnTo>
                  <a:pt x="606" y="2028"/>
                </a:lnTo>
                <a:lnTo>
                  <a:pt x="605" y="2014"/>
                </a:lnTo>
                <a:lnTo>
                  <a:pt x="605" y="1999"/>
                </a:lnTo>
                <a:lnTo>
                  <a:pt x="606" y="1985"/>
                </a:lnTo>
                <a:lnTo>
                  <a:pt x="607" y="1971"/>
                </a:lnTo>
                <a:lnTo>
                  <a:pt x="610" y="1955"/>
                </a:lnTo>
                <a:lnTo>
                  <a:pt x="613" y="1941"/>
                </a:lnTo>
                <a:lnTo>
                  <a:pt x="616" y="1925"/>
                </a:lnTo>
                <a:lnTo>
                  <a:pt x="627" y="1890"/>
                </a:lnTo>
                <a:lnTo>
                  <a:pt x="639" y="1851"/>
                </a:lnTo>
                <a:lnTo>
                  <a:pt x="640" y="1819"/>
                </a:lnTo>
                <a:lnTo>
                  <a:pt x="640" y="1785"/>
                </a:lnTo>
                <a:lnTo>
                  <a:pt x="641" y="1752"/>
                </a:lnTo>
                <a:lnTo>
                  <a:pt x="643" y="1720"/>
                </a:lnTo>
                <a:lnTo>
                  <a:pt x="643" y="1686"/>
                </a:lnTo>
                <a:lnTo>
                  <a:pt x="644" y="1653"/>
                </a:lnTo>
                <a:lnTo>
                  <a:pt x="645" y="1621"/>
                </a:lnTo>
                <a:lnTo>
                  <a:pt x="646" y="1588"/>
                </a:lnTo>
                <a:lnTo>
                  <a:pt x="641" y="1578"/>
                </a:lnTo>
                <a:lnTo>
                  <a:pt x="639" y="1568"/>
                </a:lnTo>
                <a:lnTo>
                  <a:pt x="636" y="1558"/>
                </a:lnTo>
                <a:lnTo>
                  <a:pt x="635" y="1549"/>
                </a:lnTo>
                <a:lnTo>
                  <a:pt x="633" y="1542"/>
                </a:lnTo>
                <a:lnTo>
                  <a:pt x="635" y="1534"/>
                </a:lnTo>
                <a:lnTo>
                  <a:pt x="636" y="1526"/>
                </a:lnTo>
                <a:lnTo>
                  <a:pt x="639" y="1518"/>
                </a:lnTo>
                <a:lnTo>
                  <a:pt x="645" y="1503"/>
                </a:lnTo>
                <a:lnTo>
                  <a:pt x="654" y="1488"/>
                </a:lnTo>
                <a:lnTo>
                  <a:pt x="665" y="1471"/>
                </a:lnTo>
                <a:lnTo>
                  <a:pt x="678" y="1453"/>
                </a:lnTo>
                <a:lnTo>
                  <a:pt x="678" y="1435"/>
                </a:lnTo>
                <a:lnTo>
                  <a:pt x="679" y="1418"/>
                </a:lnTo>
                <a:lnTo>
                  <a:pt x="680" y="1400"/>
                </a:lnTo>
                <a:lnTo>
                  <a:pt x="682" y="1383"/>
                </a:lnTo>
                <a:lnTo>
                  <a:pt x="692" y="1376"/>
                </a:lnTo>
                <a:lnTo>
                  <a:pt x="701" y="1367"/>
                </a:lnTo>
                <a:lnTo>
                  <a:pt x="709" y="1357"/>
                </a:lnTo>
                <a:lnTo>
                  <a:pt x="715" y="1345"/>
                </a:lnTo>
                <a:lnTo>
                  <a:pt x="722" y="1332"/>
                </a:lnTo>
                <a:lnTo>
                  <a:pt x="727" y="1319"/>
                </a:lnTo>
                <a:lnTo>
                  <a:pt x="731" y="1306"/>
                </a:lnTo>
                <a:lnTo>
                  <a:pt x="734" y="1294"/>
                </a:lnTo>
                <a:lnTo>
                  <a:pt x="715" y="1287"/>
                </a:lnTo>
                <a:lnTo>
                  <a:pt x="698" y="1280"/>
                </a:lnTo>
                <a:lnTo>
                  <a:pt x="695" y="1251"/>
                </a:lnTo>
                <a:lnTo>
                  <a:pt x="691" y="1224"/>
                </a:lnTo>
                <a:lnTo>
                  <a:pt x="687" y="1197"/>
                </a:lnTo>
                <a:lnTo>
                  <a:pt x="683" y="1170"/>
                </a:lnTo>
                <a:lnTo>
                  <a:pt x="667" y="1164"/>
                </a:lnTo>
                <a:lnTo>
                  <a:pt x="653" y="1160"/>
                </a:lnTo>
                <a:lnTo>
                  <a:pt x="637" y="1156"/>
                </a:lnTo>
                <a:lnTo>
                  <a:pt x="623" y="1151"/>
                </a:lnTo>
                <a:lnTo>
                  <a:pt x="614" y="1101"/>
                </a:lnTo>
                <a:lnTo>
                  <a:pt x="609" y="1072"/>
                </a:lnTo>
                <a:lnTo>
                  <a:pt x="606" y="1064"/>
                </a:lnTo>
                <a:lnTo>
                  <a:pt x="605" y="1058"/>
                </a:lnTo>
                <a:lnTo>
                  <a:pt x="602" y="1054"/>
                </a:lnTo>
                <a:lnTo>
                  <a:pt x="598" y="1047"/>
                </a:lnTo>
                <a:lnTo>
                  <a:pt x="587" y="1039"/>
                </a:lnTo>
                <a:lnTo>
                  <a:pt x="576" y="1030"/>
                </a:lnTo>
                <a:lnTo>
                  <a:pt x="566" y="1023"/>
                </a:lnTo>
                <a:lnTo>
                  <a:pt x="557" y="1013"/>
                </a:lnTo>
                <a:lnTo>
                  <a:pt x="549" y="1003"/>
                </a:lnTo>
                <a:lnTo>
                  <a:pt x="541" y="994"/>
                </a:lnTo>
                <a:lnTo>
                  <a:pt x="536" y="983"/>
                </a:lnTo>
                <a:lnTo>
                  <a:pt x="531" y="973"/>
                </a:lnTo>
                <a:lnTo>
                  <a:pt x="527" y="963"/>
                </a:lnTo>
                <a:lnTo>
                  <a:pt x="525" y="952"/>
                </a:lnTo>
                <a:lnTo>
                  <a:pt x="524" y="941"/>
                </a:lnTo>
                <a:lnTo>
                  <a:pt x="525" y="929"/>
                </a:lnTo>
                <a:lnTo>
                  <a:pt x="528" y="917"/>
                </a:lnTo>
                <a:lnTo>
                  <a:pt x="532" y="904"/>
                </a:lnTo>
                <a:lnTo>
                  <a:pt x="538" y="892"/>
                </a:lnTo>
                <a:lnTo>
                  <a:pt x="546" y="878"/>
                </a:lnTo>
                <a:lnTo>
                  <a:pt x="563" y="865"/>
                </a:lnTo>
                <a:lnTo>
                  <a:pt x="579" y="849"/>
                </a:lnTo>
                <a:lnTo>
                  <a:pt x="585" y="842"/>
                </a:lnTo>
                <a:lnTo>
                  <a:pt x="590" y="831"/>
                </a:lnTo>
                <a:lnTo>
                  <a:pt x="592" y="827"/>
                </a:lnTo>
                <a:lnTo>
                  <a:pt x="593" y="822"/>
                </a:lnTo>
                <a:lnTo>
                  <a:pt x="593" y="817"/>
                </a:lnTo>
                <a:lnTo>
                  <a:pt x="593" y="812"/>
                </a:lnTo>
                <a:lnTo>
                  <a:pt x="572" y="810"/>
                </a:lnTo>
                <a:lnTo>
                  <a:pt x="554" y="812"/>
                </a:lnTo>
                <a:lnTo>
                  <a:pt x="527" y="816"/>
                </a:lnTo>
                <a:lnTo>
                  <a:pt x="479" y="825"/>
                </a:lnTo>
                <a:lnTo>
                  <a:pt x="446" y="866"/>
                </a:lnTo>
                <a:lnTo>
                  <a:pt x="416" y="905"/>
                </a:lnTo>
                <a:lnTo>
                  <a:pt x="410" y="916"/>
                </a:lnTo>
                <a:lnTo>
                  <a:pt x="404" y="926"/>
                </a:lnTo>
                <a:lnTo>
                  <a:pt x="399" y="938"/>
                </a:lnTo>
                <a:lnTo>
                  <a:pt x="395" y="948"/>
                </a:lnTo>
                <a:lnTo>
                  <a:pt x="393" y="961"/>
                </a:lnTo>
                <a:lnTo>
                  <a:pt x="390" y="973"/>
                </a:lnTo>
                <a:lnTo>
                  <a:pt x="390" y="986"/>
                </a:lnTo>
                <a:lnTo>
                  <a:pt x="390" y="1000"/>
                </a:lnTo>
                <a:lnTo>
                  <a:pt x="401" y="1003"/>
                </a:lnTo>
                <a:lnTo>
                  <a:pt x="412" y="1006"/>
                </a:lnTo>
                <a:lnTo>
                  <a:pt x="415" y="1020"/>
                </a:lnTo>
                <a:lnTo>
                  <a:pt x="417" y="1034"/>
                </a:lnTo>
                <a:lnTo>
                  <a:pt x="421" y="1049"/>
                </a:lnTo>
                <a:lnTo>
                  <a:pt x="425" y="1063"/>
                </a:lnTo>
                <a:lnTo>
                  <a:pt x="432" y="1063"/>
                </a:lnTo>
                <a:lnTo>
                  <a:pt x="438" y="1063"/>
                </a:lnTo>
                <a:lnTo>
                  <a:pt x="447" y="1085"/>
                </a:lnTo>
                <a:lnTo>
                  <a:pt x="458" y="1107"/>
                </a:lnTo>
                <a:lnTo>
                  <a:pt x="467" y="1129"/>
                </a:lnTo>
                <a:lnTo>
                  <a:pt x="477" y="1151"/>
                </a:lnTo>
                <a:lnTo>
                  <a:pt x="490" y="1155"/>
                </a:lnTo>
                <a:lnTo>
                  <a:pt x="503" y="1158"/>
                </a:lnTo>
                <a:lnTo>
                  <a:pt x="516" y="1160"/>
                </a:lnTo>
                <a:lnTo>
                  <a:pt x="529" y="1163"/>
                </a:lnTo>
                <a:lnTo>
                  <a:pt x="531" y="1173"/>
                </a:lnTo>
                <a:lnTo>
                  <a:pt x="532" y="1184"/>
                </a:lnTo>
                <a:lnTo>
                  <a:pt x="533" y="1193"/>
                </a:lnTo>
                <a:lnTo>
                  <a:pt x="535" y="1203"/>
                </a:lnTo>
                <a:lnTo>
                  <a:pt x="522" y="1199"/>
                </a:lnTo>
                <a:lnTo>
                  <a:pt x="509" y="1197"/>
                </a:lnTo>
                <a:lnTo>
                  <a:pt x="495" y="1193"/>
                </a:lnTo>
                <a:lnTo>
                  <a:pt x="482" y="1190"/>
                </a:lnTo>
                <a:lnTo>
                  <a:pt x="477" y="1201"/>
                </a:lnTo>
                <a:lnTo>
                  <a:pt x="472" y="1211"/>
                </a:lnTo>
                <a:lnTo>
                  <a:pt x="467" y="1222"/>
                </a:lnTo>
                <a:lnTo>
                  <a:pt x="462" y="1232"/>
                </a:lnTo>
                <a:lnTo>
                  <a:pt x="449" y="1211"/>
                </a:lnTo>
                <a:lnTo>
                  <a:pt x="438" y="1194"/>
                </a:lnTo>
                <a:lnTo>
                  <a:pt x="432" y="1186"/>
                </a:lnTo>
                <a:lnTo>
                  <a:pt x="423" y="1181"/>
                </a:lnTo>
                <a:lnTo>
                  <a:pt x="414" y="1176"/>
                </a:lnTo>
                <a:lnTo>
                  <a:pt x="401" y="1171"/>
                </a:lnTo>
                <a:lnTo>
                  <a:pt x="401" y="1154"/>
                </a:lnTo>
                <a:lnTo>
                  <a:pt x="401" y="1137"/>
                </a:lnTo>
                <a:lnTo>
                  <a:pt x="401" y="1119"/>
                </a:lnTo>
                <a:lnTo>
                  <a:pt x="401" y="1102"/>
                </a:lnTo>
                <a:lnTo>
                  <a:pt x="384" y="1097"/>
                </a:lnTo>
                <a:lnTo>
                  <a:pt x="369" y="1094"/>
                </a:lnTo>
                <a:lnTo>
                  <a:pt x="367" y="1072"/>
                </a:lnTo>
                <a:lnTo>
                  <a:pt x="363" y="1052"/>
                </a:lnTo>
                <a:lnTo>
                  <a:pt x="358" y="1036"/>
                </a:lnTo>
                <a:lnTo>
                  <a:pt x="351" y="1020"/>
                </a:lnTo>
                <a:lnTo>
                  <a:pt x="343" y="1006"/>
                </a:lnTo>
                <a:lnTo>
                  <a:pt x="334" y="994"/>
                </a:lnTo>
                <a:lnTo>
                  <a:pt x="324" y="982"/>
                </a:lnTo>
                <a:lnTo>
                  <a:pt x="312" y="972"/>
                </a:lnTo>
                <a:lnTo>
                  <a:pt x="300" y="963"/>
                </a:lnTo>
                <a:lnTo>
                  <a:pt x="286" y="954"/>
                </a:lnTo>
                <a:lnTo>
                  <a:pt x="273" y="944"/>
                </a:lnTo>
                <a:lnTo>
                  <a:pt x="257" y="935"/>
                </a:lnTo>
                <a:lnTo>
                  <a:pt x="226" y="917"/>
                </a:lnTo>
                <a:lnTo>
                  <a:pt x="192" y="896"/>
                </a:lnTo>
                <a:lnTo>
                  <a:pt x="198" y="874"/>
                </a:lnTo>
                <a:lnTo>
                  <a:pt x="201" y="851"/>
                </a:lnTo>
                <a:lnTo>
                  <a:pt x="201" y="846"/>
                </a:lnTo>
                <a:lnTo>
                  <a:pt x="201" y="840"/>
                </a:lnTo>
                <a:lnTo>
                  <a:pt x="200" y="835"/>
                </a:lnTo>
                <a:lnTo>
                  <a:pt x="199" y="831"/>
                </a:lnTo>
                <a:lnTo>
                  <a:pt x="195" y="827"/>
                </a:lnTo>
                <a:lnTo>
                  <a:pt x="192" y="823"/>
                </a:lnTo>
                <a:lnTo>
                  <a:pt x="187" y="821"/>
                </a:lnTo>
                <a:lnTo>
                  <a:pt x="181" y="820"/>
                </a:lnTo>
                <a:lnTo>
                  <a:pt x="181" y="803"/>
                </a:lnTo>
                <a:lnTo>
                  <a:pt x="179" y="788"/>
                </a:lnTo>
                <a:lnTo>
                  <a:pt x="177" y="775"/>
                </a:lnTo>
                <a:lnTo>
                  <a:pt x="174" y="764"/>
                </a:lnTo>
                <a:lnTo>
                  <a:pt x="170" y="753"/>
                </a:lnTo>
                <a:lnTo>
                  <a:pt x="166" y="743"/>
                </a:lnTo>
                <a:lnTo>
                  <a:pt x="161" y="732"/>
                </a:lnTo>
                <a:lnTo>
                  <a:pt x="155" y="723"/>
                </a:lnTo>
                <a:lnTo>
                  <a:pt x="140" y="706"/>
                </a:lnTo>
                <a:lnTo>
                  <a:pt x="123" y="689"/>
                </a:lnTo>
                <a:lnTo>
                  <a:pt x="104" y="671"/>
                </a:lnTo>
                <a:lnTo>
                  <a:pt x="80" y="652"/>
                </a:lnTo>
                <a:lnTo>
                  <a:pt x="79" y="626"/>
                </a:lnTo>
                <a:lnTo>
                  <a:pt x="78" y="600"/>
                </a:lnTo>
                <a:lnTo>
                  <a:pt x="77" y="575"/>
                </a:lnTo>
                <a:lnTo>
                  <a:pt x="75" y="550"/>
                </a:lnTo>
                <a:lnTo>
                  <a:pt x="61" y="527"/>
                </a:lnTo>
                <a:lnTo>
                  <a:pt x="48" y="505"/>
                </a:lnTo>
                <a:lnTo>
                  <a:pt x="38" y="484"/>
                </a:lnTo>
                <a:lnTo>
                  <a:pt x="27" y="463"/>
                </a:lnTo>
                <a:lnTo>
                  <a:pt x="19" y="442"/>
                </a:lnTo>
                <a:lnTo>
                  <a:pt x="13" y="420"/>
                </a:lnTo>
                <a:lnTo>
                  <a:pt x="6" y="395"/>
                </a:lnTo>
                <a:lnTo>
                  <a:pt x="0" y="369"/>
                </a:lnTo>
                <a:lnTo>
                  <a:pt x="15" y="360"/>
                </a:lnTo>
                <a:lnTo>
                  <a:pt x="31" y="351"/>
                </a:lnTo>
                <a:lnTo>
                  <a:pt x="38" y="346"/>
                </a:lnTo>
                <a:lnTo>
                  <a:pt x="44" y="340"/>
                </a:lnTo>
                <a:lnTo>
                  <a:pt x="49" y="332"/>
                </a:lnTo>
                <a:lnTo>
                  <a:pt x="54" y="325"/>
                </a:lnTo>
                <a:lnTo>
                  <a:pt x="60" y="325"/>
                </a:lnTo>
                <a:lnTo>
                  <a:pt x="66" y="325"/>
                </a:lnTo>
                <a:lnTo>
                  <a:pt x="66" y="319"/>
                </a:lnTo>
                <a:lnTo>
                  <a:pt x="66" y="314"/>
                </a:lnTo>
                <a:lnTo>
                  <a:pt x="82" y="310"/>
                </a:lnTo>
                <a:lnTo>
                  <a:pt x="97" y="306"/>
                </a:lnTo>
                <a:lnTo>
                  <a:pt x="114" y="303"/>
                </a:lnTo>
                <a:lnTo>
                  <a:pt x="131" y="299"/>
                </a:lnTo>
                <a:lnTo>
                  <a:pt x="136" y="282"/>
                </a:lnTo>
                <a:lnTo>
                  <a:pt x="143" y="267"/>
                </a:lnTo>
                <a:lnTo>
                  <a:pt x="159" y="261"/>
                </a:lnTo>
                <a:lnTo>
                  <a:pt x="173" y="256"/>
                </a:lnTo>
                <a:lnTo>
                  <a:pt x="186" y="252"/>
                </a:lnTo>
                <a:lnTo>
                  <a:pt x="199" y="250"/>
                </a:lnTo>
                <a:lnTo>
                  <a:pt x="212" y="247"/>
                </a:lnTo>
                <a:lnTo>
                  <a:pt x="225" y="247"/>
                </a:lnTo>
                <a:lnTo>
                  <a:pt x="241" y="248"/>
                </a:lnTo>
                <a:lnTo>
                  <a:pt x="257" y="251"/>
                </a:lnTo>
                <a:lnTo>
                  <a:pt x="293" y="224"/>
                </a:lnTo>
                <a:lnTo>
                  <a:pt x="325" y="198"/>
                </a:lnTo>
                <a:lnTo>
                  <a:pt x="341" y="183"/>
                </a:lnTo>
                <a:lnTo>
                  <a:pt x="355" y="168"/>
                </a:lnTo>
                <a:lnTo>
                  <a:pt x="368" y="151"/>
                </a:lnTo>
                <a:lnTo>
                  <a:pt x="381" y="133"/>
                </a:lnTo>
                <a:lnTo>
                  <a:pt x="410" y="134"/>
                </a:lnTo>
                <a:lnTo>
                  <a:pt x="438" y="137"/>
                </a:lnTo>
                <a:lnTo>
                  <a:pt x="468" y="139"/>
                </a:lnTo>
                <a:lnTo>
                  <a:pt x="497" y="142"/>
                </a:lnTo>
                <a:lnTo>
                  <a:pt x="512" y="134"/>
                </a:lnTo>
                <a:lnTo>
                  <a:pt x="528" y="129"/>
                </a:lnTo>
                <a:lnTo>
                  <a:pt x="544" y="124"/>
                </a:lnTo>
                <a:lnTo>
                  <a:pt x="559" y="121"/>
                </a:lnTo>
                <a:lnTo>
                  <a:pt x="576" y="120"/>
                </a:lnTo>
                <a:lnTo>
                  <a:pt x="592" y="118"/>
                </a:lnTo>
                <a:lnTo>
                  <a:pt x="609" y="120"/>
                </a:lnTo>
                <a:lnTo>
                  <a:pt x="624" y="121"/>
                </a:lnTo>
                <a:lnTo>
                  <a:pt x="658" y="125"/>
                </a:lnTo>
                <a:lnTo>
                  <a:pt x="692" y="130"/>
                </a:lnTo>
                <a:lnTo>
                  <a:pt x="726" y="135"/>
                </a:lnTo>
                <a:lnTo>
                  <a:pt x="760" y="138"/>
                </a:lnTo>
                <a:lnTo>
                  <a:pt x="765" y="165"/>
                </a:lnTo>
                <a:lnTo>
                  <a:pt x="769" y="185"/>
                </a:lnTo>
                <a:lnTo>
                  <a:pt x="775" y="203"/>
                </a:lnTo>
                <a:lnTo>
                  <a:pt x="787" y="229"/>
                </a:lnTo>
                <a:lnTo>
                  <a:pt x="788" y="252"/>
                </a:lnTo>
                <a:lnTo>
                  <a:pt x="790" y="274"/>
                </a:lnTo>
                <a:lnTo>
                  <a:pt x="792" y="294"/>
                </a:lnTo>
                <a:lnTo>
                  <a:pt x="796" y="311"/>
                </a:lnTo>
                <a:lnTo>
                  <a:pt x="800" y="325"/>
                </a:lnTo>
                <a:lnTo>
                  <a:pt x="805" y="340"/>
                </a:lnTo>
                <a:lnTo>
                  <a:pt x="812" y="350"/>
                </a:lnTo>
                <a:lnTo>
                  <a:pt x="819" y="359"/>
                </a:lnTo>
                <a:lnTo>
                  <a:pt x="829" y="366"/>
                </a:lnTo>
                <a:lnTo>
                  <a:pt x="839" y="371"/>
                </a:lnTo>
                <a:lnTo>
                  <a:pt x="851" y="373"/>
                </a:lnTo>
                <a:lnTo>
                  <a:pt x="866" y="375"/>
                </a:lnTo>
                <a:lnTo>
                  <a:pt x="882" y="373"/>
                </a:lnTo>
                <a:lnTo>
                  <a:pt x="900" y="371"/>
                </a:lnTo>
                <a:lnTo>
                  <a:pt x="921" y="366"/>
                </a:lnTo>
                <a:lnTo>
                  <a:pt x="944" y="359"/>
                </a:lnTo>
                <a:lnTo>
                  <a:pt x="968" y="359"/>
                </a:lnTo>
                <a:lnTo>
                  <a:pt x="992" y="359"/>
                </a:lnTo>
                <a:lnTo>
                  <a:pt x="1016" y="359"/>
                </a:lnTo>
                <a:lnTo>
                  <a:pt x="1041" y="359"/>
                </a:lnTo>
                <a:lnTo>
                  <a:pt x="1072" y="373"/>
                </a:lnTo>
                <a:lnTo>
                  <a:pt x="1095" y="381"/>
                </a:lnTo>
                <a:lnTo>
                  <a:pt x="1104" y="384"/>
                </a:lnTo>
                <a:lnTo>
                  <a:pt x="1112" y="385"/>
                </a:lnTo>
                <a:lnTo>
                  <a:pt x="1120" y="385"/>
                </a:lnTo>
                <a:lnTo>
                  <a:pt x="1126" y="384"/>
                </a:lnTo>
                <a:lnTo>
                  <a:pt x="1133" y="382"/>
                </a:lnTo>
                <a:lnTo>
                  <a:pt x="1139" y="379"/>
                </a:lnTo>
                <a:lnTo>
                  <a:pt x="1147" y="375"/>
                </a:lnTo>
                <a:lnTo>
                  <a:pt x="1155" y="369"/>
                </a:lnTo>
                <a:lnTo>
                  <a:pt x="1175" y="355"/>
                </a:lnTo>
                <a:lnTo>
                  <a:pt x="1202" y="338"/>
                </a:lnTo>
                <a:lnTo>
                  <a:pt x="1205" y="323"/>
                </a:lnTo>
                <a:lnTo>
                  <a:pt x="1207" y="308"/>
                </a:lnTo>
                <a:lnTo>
                  <a:pt x="1210" y="293"/>
                </a:lnTo>
                <a:lnTo>
                  <a:pt x="1212" y="278"/>
                </a:lnTo>
                <a:lnTo>
                  <a:pt x="1229" y="267"/>
                </a:lnTo>
                <a:lnTo>
                  <a:pt x="1246" y="252"/>
                </a:lnTo>
                <a:lnTo>
                  <a:pt x="1263" y="239"/>
                </a:lnTo>
                <a:lnTo>
                  <a:pt x="1279" y="224"/>
                </a:lnTo>
                <a:lnTo>
                  <a:pt x="1310" y="193"/>
                </a:lnTo>
                <a:lnTo>
                  <a:pt x="1340" y="159"/>
                </a:lnTo>
                <a:lnTo>
                  <a:pt x="1367" y="124"/>
                </a:lnTo>
                <a:lnTo>
                  <a:pt x="1394" y="87"/>
                </a:lnTo>
                <a:lnTo>
                  <a:pt x="1419" y="51"/>
                </a:lnTo>
                <a:lnTo>
                  <a:pt x="1443" y="16"/>
                </a:lnTo>
                <a:lnTo>
                  <a:pt x="1453" y="8"/>
                </a:lnTo>
                <a:lnTo>
                  <a:pt x="1462" y="4"/>
                </a:lnTo>
                <a:lnTo>
                  <a:pt x="1475" y="3"/>
                </a:lnTo>
                <a:lnTo>
                  <a:pt x="1497" y="0"/>
                </a:lnTo>
                <a:lnTo>
                  <a:pt x="1515" y="21"/>
                </a:lnTo>
                <a:lnTo>
                  <a:pt x="1534" y="39"/>
                </a:lnTo>
                <a:lnTo>
                  <a:pt x="1543" y="46"/>
                </a:lnTo>
                <a:lnTo>
                  <a:pt x="1552" y="51"/>
                </a:lnTo>
                <a:lnTo>
                  <a:pt x="1561" y="56"/>
                </a:lnTo>
                <a:lnTo>
                  <a:pt x="1570" y="59"/>
                </a:lnTo>
                <a:lnTo>
                  <a:pt x="1579" y="60"/>
                </a:lnTo>
                <a:lnTo>
                  <a:pt x="1590" y="59"/>
                </a:lnTo>
                <a:lnTo>
                  <a:pt x="1599" y="56"/>
                </a:lnTo>
                <a:lnTo>
                  <a:pt x="1609" y="51"/>
                </a:lnTo>
                <a:lnTo>
                  <a:pt x="1621" y="44"/>
                </a:lnTo>
                <a:lnTo>
                  <a:pt x="1631" y="36"/>
                </a:lnTo>
                <a:lnTo>
                  <a:pt x="1644" y="25"/>
                </a:lnTo>
                <a:lnTo>
                  <a:pt x="1656" y="12"/>
                </a:lnTo>
                <a:lnTo>
                  <a:pt x="1655" y="30"/>
                </a:lnTo>
                <a:lnTo>
                  <a:pt x="1651" y="52"/>
                </a:lnTo>
                <a:lnTo>
                  <a:pt x="1644" y="74"/>
                </a:lnTo>
                <a:lnTo>
                  <a:pt x="1635" y="98"/>
                </a:lnTo>
                <a:lnTo>
                  <a:pt x="1626" y="121"/>
                </a:lnTo>
                <a:lnTo>
                  <a:pt x="1616" y="143"/>
                </a:lnTo>
                <a:lnTo>
                  <a:pt x="1605" y="163"/>
                </a:lnTo>
                <a:lnTo>
                  <a:pt x="1595" y="178"/>
                </a:lnTo>
                <a:lnTo>
                  <a:pt x="1595" y="198"/>
                </a:lnTo>
                <a:lnTo>
                  <a:pt x="1597" y="216"/>
                </a:lnTo>
                <a:lnTo>
                  <a:pt x="1603" y="245"/>
                </a:lnTo>
                <a:lnTo>
                  <a:pt x="1612" y="294"/>
                </a:lnTo>
                <a:lnTo>
                  <a:pt x="1597" y="298"/>
                </a:lnTo>
                <a:lnTo>
                  <a:pt x="1583" y="303"/>
                </a:lnTo>
                <a:lnTo>
                  <a:pt x="1583" y="317"/>
                </a:lnTo>
                <a:lnTo>
                  <a:pt x="1583" y="333"/>
                </a:lnTo>
                <a:lnTo>
                  <a:pt x="1594" y="336"/>
                </a:lnTo>
                <a:lnTo>
                  <a:pt x="1604" y="338"/>
                </a:lnTo>
                <a:lnTo>
                  <a:pt x="1599" y="360"/>
                </a:lnTo>
                <a:lnTo>
                  <a:pt x="1594" y="382"/>
                </a:lnTo>
                <a:lnTo>
                  <a:pt x="1590" y="406"/>
                </a:lnTo>
                <a:lnTo>
                  <a:pt x="1586" y="428"/>
                </a:lnTo>
                <a:lnTo>
                  <a:pt x="1592" y="429"/>
                </a:lnTo>
                <a:lnTo>
                  <a:pt x="1600" y="432"/>
                </a:lnTo>
                <a:lnTo>
                  <a:pt x="1601" y="454"/>
                </a:lnTo>
                <a:lnTo>
                  <a:pt x="1605" y="471"/>
                </a:lnTo>
                <a:lnTo>
                  <a:pt x="1609" y="488"/>
                </a:lnTo>
                <a:lnTo>
                  <a:pt x="1614" y="506"/>
                </a:lnTo>
                <a:lnTo>
                  <a:pt x="1607" y="518"/>
                </a:lnTo>
                <a:lnTo>
                  <a:pt x="1601" y="533"/>
                </a:lnTo>
                <a:lnTo>
                  <a:pt x="1596" y="549"/>
                </a:lnTo>
                <a:lnTo>
                  <a:pt x="1592" y="566"/>
                </a:lnTo>
                <a:lnTo>
                  <a:pt x="1590" y="584"/>
                </a:lnTo>
                <a:lnTo>
                  <a:pt x="1588" y="602"/>
                </a:lnTo>
                <a:lnTo>
                  <a:pt x="1587" y="622"/>
                </a:lnTo>
                <a:lnTo>
                  <a:pt x="1586" y="641"/>
                </a:lnTo>
                <a:lnTo>
                  <a:pt x="1587" y="680"/>
                </a:lnTo>
                <a:lnTo>
                  <a:pt x="1588" y="717"/>
                </a:lnTo>
                <a:lnTo>
                  <a:pt x="1588" y="752"/>
                </a:lnTo>
                <a:lnTo>
                  <a:pt x="1590" y="781"/>
                </a:lnTo>
                <a:lnTo>
                  <a:pt x="1601" y="805"/>
                </a:lnTo>
                <a:lnTo>
                  <a:pt x="1614" y="827"/>
                </a:lnTo>
                <a:lnTo>
                  <a:pt x="1621" y="838"/>
                </a:lnTo>
                <a:lnTo>
                  <a:pt x="1625" y="847"/>
                </a:lnTo>
                <a:lnTo>
                  <a:pt x="1629" y="856"/>
                </a:lnTo>
                <a:lnTo>
                  <a:pt x="1631" y="864"/>
                </a:lnTo>
                <a:lnTo>
                  <a:pt x="1607" y="861"/>
                </a:lnTo>
                <a:lnTo>
                  <a:pt x="1583" y="861"/>
                </a:lnTo>
                <a:lnTo>
                  <a:pt x="1558" y="860"/>
                </a:lnTo>
                <a:lnTo>
                  <a:pt x="1535" y="860"/>
                </a:lnTo>
                <a:lnTo>
                  <a:pt x="1513" y="848"/>
                </a:lnTo>
                <a:lnTo>
                  <a:pt x="1493" y="840"/>
                </a:lnTo>
                <a:lnTo>
                  <a:pt x="1484" y="838"/>
                </a:lnTo>
                <a:lnTo>
                  <a:pt x="1476" y="835"/>
                </a:lnTo>
                <a:lnTo>
                  <a:pt x="1467" y="834"/>
                </a:lnTo>
                <a:lnTo>
                  <a:pt x="1460" y="834"/>
                </a:lnTo>
                <a:lnTo>
                  <a:pt x="1444" y="835"/>
                </a:lnTo>
                <a:lnTo>
                  <a:pt x="1430" y="838"/>
                </a:lnTo>
                <a:lnTo>
                  <a:pt x="1417" y="843"/>
                </a:lnTo>
                <a:lnTo>
                  <a:pt x="1404" y="851"/>
                </a:lnTo>
                <a:lnTo>
                  <a:pt x="1379" y="866"/>
                </a:lnTo>
                <a:lnTo>
                  <a:pt x="1353" y="885"/>
                </a:lnTo>
                <a:lnTo>
                  <a:pt x="1340" y="894"/>
                </a:lnTo>
                <a:lnTo>
                  <a:pt x="1326" y="902"/>
                </a:lnTo>
                <a:lnTo>
                  <a:pt x="1310" y="908"/>
                </a:lnTo>
                <a:lnTo>
                  <a:pt x="1293" y="913"/>
                </a:lnTo>
                <a:lnTo>
                  <a:pt x="1281" y="937"/>
                </a:lnTo>
                <a:lnTo>
                  <a:pt x="1264" y="969"/>
                </a:lnTo>
                <a:lnTo>
                  <a:pt x="1244" y="1007"/>
                </a:lnTo>
                <a:lnTo>
                  <a:pt x="1224" y="1047"/>
                </a:lnTo>
                <a:lnTo>
                  <a:pt x="1215" y="1068"/>
                </a:lnTo>
                <a:lnTo>
                  <a:pt x="1207" y="1088"/>
                </a:lnTo>
                <a:lnTo>
                  <a:pt x="1201" y="1107"/>
                </a:lnTo>
                <a:lnTo>
                  <a:pt x="1195" y="1125"/>
                </a:lnTo>
                <a:lnTo>
                  <a:pt x="1194" y="1141"/>
                </a:lnTo>
                <a:lnTo>
                  <a:pt x="1194" y="1156"/>
                </a:lnTo>
                <a:lnTo>
                  <a:pt x="1195" y="1163"/>
                </a:lnTo>
                <a:lnTo>
                  <a:pt x="1198" y="1168"/>
                </a:lnTo>
                <a:lnTo>
                  <a:pt x="1201" y="1173"/>
                </a:lnTo>
                <a:lnTo>
                  <a:pt x="1205" y="1179"/>
                </a:lnTo>
                <a:lnTo>
                  <a:pt x="1203" y="1212"/>
                </a:lnTo>
                <a:lnTo>
                  <a:pt x="1202" y="1245"/>
                </a:lnTo>
                <a:lnTo>
                  <a:pt x="1201" y="1279"/>
                </a:lnTo>
                <a:lnTo>
                  <a:pt x="1201" y="1314"/>
                </a:lnTo>
                <a:lnTo>
                  <a:pt x="1194" y="1314"/>
                </a:lnTo>
                <a:lnTo>
                  <a:pt x="1189" y="1314"/>
                </a:lnTo>
                <a:lnTo>
                  <a:pt x="1181" y="1293"/>
                </a:lnTo>
                <a:lnTo>
                  <a:pt x="1173" y="1274"/>
                </a:lnTo>
                <a:lnTo>
                  <a:pt x="1166" y="1255"/>
                </a:lnTo>
                <a:lnTo>
                  <a:pt x="1156" y="1237"/>
                </a:lnTo>
                <a:lnTo>
                  <a:pt x="1147" y="1220"/>
                </a:lnTo>
                <a:lnTo>
                  <a:pt x="1137" y="1203"/>
                </a:lnTo>
                <a:lnTo>
                  <a:pt x="1125" y="1186"/>
                </a:lnTo>
                <a:lnTo>
                  <a:pt x="1112" y="1170"/>
                </a:lnTo>
                <a:lnTo>
                  <a:pt x="1100" y="1170"/>
                </a:lnTo>
                <a:lnTo>
                  <a:pt x="1091" y="1170"/>
                </a:lnTo>
                <a:lnTo>
                  <a:pt x="1080" y="1189"/>
                </a:lnTo>
                <a:lnTo>
                  <a:pt x="1071" y="1210"/>
                </a:lnTo>
                <a:lnTo>
                  <a:pt x="1063" y="1233"/>
                </a:lnTo>
                <a:lnTo>
                  <a:pt x="1056" y="1258"/>
                </a:lnTo>
                <a:lnTo>
                  <a:pt x="1046" y="1307"/>
                </a:lnTo>
                <a:lnTo>
                  <a:pt x="1039" y="1354"/>
                </a:lnTo>
                <a:lnTo>
                  <a:pt x="1046" y="1362"/>
                </a:lnTo>
                <a:lnTo>
                  <a:pt x="1052" y="1370"/>
                </a:lnTo>
                <a:lnTo>
                  <a:pt x="1058" y="1378"/>
                </a:lnTo>
                <a:lnTo>
                  <a:pt x="1063" y="1385"/>
                </a:lnTo>
                <a:lnTo>
                  <a:pt x="1067" y="1393"/>
                </a:lnTo>
                <a:lnTo>
                  <a:pt x="1069" y="1402"/>
                </a:lnTo>
                <a:lnTo>
                  <a:pt x="1072" y="1411"/>
                </a:lnTo>
                <a:lnTo>
                  <a:pt x="1073" y="1421"/>
                </a:lnTo>
                <a:lnTo>
                  <a:pt x="1063" y="1421"/>
                </a:lnTo>
                <a:lnTo>
                  <a:pt x="1055" y="1421"/>
                </a:lnTo>
                <a:lnTo>
                  <a:pt x="1054" y="1428"/>
                </a:lnTo>
                <a:lnTo>
                  <a:pt x="1054" y="1432"/>
                </a:lnTo>
                <a:lnTo>
                  <a:pt x="1051" y="1434"/>
                </a:lnTo>
                <a:lnTo>
                  <a:pt x="1047" y="1435"/>
                </a:lnTo>
                <a:lnTo>
                  <a:pt x="1043" y="1421"/>
                </a:lnTo>
                <a:lnTo>
                  <a:pt x="1041" y="1409"/>
                </a:lnTo>
                <a:lnTo>
                  <a:pt x="1022" y="1409"/>
                </a:lnTo>
                <a:lnTo>
                  <a:pt x="1003" y="1408"/>
                </a:lnTo>
                <a:lnTo>
                  <a:pt x="985" y="1408"/>
                </a:lnTo>
                <a:lnTo>
                  <a:pt x="966" y="1408"/>
                </a:lnTo>
                <a:lnTo>
                  <a:pt x="953" y="1423"/>
                </a:lnTo>
                <a:lnTo>
                  <a:pt x="943" y="1439"/>
                </a:lnTo>
                <a:lnTo>
                  <a:pt x="933" y="1454"/>
                </a:lnTo>
                <a:lnTo>
                  <a:pt x="924" y="1471"/>
                </a:lnTo>
                <a:lnTo>
                  <a:pt x="914" y="1487"/>
                </a:lnTo>
                <a:lnTo>
                  <a:pt x="908" y="1504"/>
                </a:lnTo>
                <a:lnTo>
                  <a:pt x="903" y="1521"/>
                </a:lnTo>
                <a:lnTo>
                  <a:pt x="899" y="1538"/>
                </a:lnTo>
                <a:lnTo>
                  <a:pt x="898" y="1555"/>
                </a:lnTo>
                <a:lnTo>
                  <a:pt x="898" y="1570"/>
                </a:lnTo>
                <a:lnTo>
                  <a:pt x="900" y="1587"/>
                </a:lnTo>
                <a:lnTo>
                  <a:pt x="905" y="1603"/>
                </a:lnTo>
                <a:lnTo>
                  <a:pt x="913" y="1618"/>
                </a:lnTo>
                <a:lnTo>
                  <a:pt x="924" y="1634"/>
                </a:lnTo>
                <a:lnTo>
                  <a:pt x="937" y="1650"/>
                </a:lnTo>
                <a:lnTo>
                  <a:pt x="952" y="1664"/>
                </a:lnTo>
                <a:lnTo>
                  <a:pt x="953" y="1676"/>
                </a:lnTo>
                <a:lnTo>
                  <a:pt x="956" y="1686"/>
                </a:lnTo>
                <a:lnTo>
                  <a:pt x="959" y="1696"/>
                </a:lnTo>
                <a:lnTo>
                  <a:pt x="961" y="1704"/>
                </a:lnTo>
                <a:lnTo>
                  <a:pt x="965" y="1713"/>
                </a:lnTo>
                <a:lnTo>
                  <a:pt x="970" y="1721"/>
                </a:lnTo>
                <a:lnTo>
                  <a:pt x="977" y="1730"/>
                </a:lnTo>
                <a:lnTo>
                  <a:pt x="985" y="1741"/>
                </a:lnTo>
                <a:lnTo>
                  <a:pt x="979" y="1748"/>
                </a:lnTo>
                <a:lnTo>
                  <a:pt x="977" y="1755"/>
                </a:lnTo>
                <a:lnTo>
                  <a:pt x="976" y="1765"/>
                </a:lnTo>
                <a:lnTo>
                  <a:pt x="976" y="1781"/>
                </a:lnTo>
                <a:lnTo>
                  <a:pt x="985" y="1786"/>
                </a:lnTo>
                <a:lnTo>
                  <a:pt x="996" y="1793"/>
                </a:lnTo>
                <a:lnTo>
                  <a:pt x="992" y="1817"/>
                </a:lnTo>
                <a:lnTo>
                  <a:pt x="989" y="1842"/>
                </a:lnTo>
                <a:lnTo>
                  <a:pt x="986" y="1868"/>
                </a:lnTo>
                <a:lnTo>
                  <a:pt x="985" y="1893"/>
                </a:lnTo>
                <a:lnTo>
                  <a:pt x="983" y="1918"/>
                </a:lnTo>
                <a:lnTo>
                  <a:pt x="985" y="1941"/>
                </a:lnTo>
                <a:lnTo>
                  <a:pt x="987" y="1966"/>
                </a:lnTo>
                <a:lnTo>
                  <a:pt x="992" y="1988"/>
                </a:lnTo>
                <a:lnTo>
                  <a:pt x="999" y="2010"/>
                </a:lnTo>
                <a:lnTo>
                  <a:pt x="1008" y="2031"/>
                </a:lnTo>
                <a:lnTo>
                  <a:pt x="1013" y="2040"/>
                </a:lnTo>
                <a:lnTo>
                  <a:pt x="1018" y="2050"/>
                </a:lnTo>
                <a:lnTo>
                  <a:pt x="1025" y="2059"/>
                </a:lnTo>
                <a:lnTo>
                  <a:pt x="1033" y="2068"/>
                </a:lnTo>
                <a:lnTo>
                  <a:pt x="1041" y="2076"/>
                </a:lnTo>
                <a:lnTo>
                  <a:pt x="1050" y="2084"/>
                </a:lnTo>
                <a:lnTo>
                  <a:pt x="1059" y="2092"/>
                </a:lnTo>
                <a:lnTo>
                  <a:pt x="1069" y="2100"/>
                </a:lnTo>
                <a:lnTo>
                  <a:pt x="1080" y="2106"/>
                </a:lnTo>
                <a:lnTo>
                  <a:pt x="1091" y="2113"/>
                </a:lnTo>
                <a:lnTo>
                  <a:pt x="1104" y="2118"/>
                </a:lnTo>
                <a:lnTo>
                  <a:pt x="1117" y="2123"/>
                </a:lnTo>
                <a:lnTo>
                  <a:pt x="1133" y="2122"/>
                </a:lnTo>
                <a:lnTo>
                  <a:pt x="1150" y="2120"/>
                </a:lnTo>
                <a:lnTo>
                  <a:pt x="1149" y="2107"/>
                </a:lnTo>
                <a:lnTo>
                  <a:pt x="1146" y="2098"/>
                </a:lnTo>
                <a:lnTo>
                  <a:pt x="1141" y="2088"/>
                </a:lnTo>
                <a:lnTo>
                  <a:pt x="1132" y="2072"/>
                </a:lnTo>
                <a:lnTo>
                  <a:pt x="1162" y="2063"/>
                </a:lnTo>
                <a:lnTo>
                  <a:pt x="1197" y="2054"/>
                </a:lnTo>
                <a:lnTo>
                  <a:pt x="1214" y="2052"/>
                </a:lnTo>
                <a:lnTo>
                  <a:pt x="1231" y="2052"/>
                </a:lnTo>
                <a:lnTo>
                  <a:pt x="1238" y="2053"/>
                </a:lnTo>
                <a:lnTo>
                  <a:pt x="1246" y="2055"/>
                </a:lnTo>
                <a:lnTo>
                  <a:pt x="1254" y="2058"/>
                </a:lnTo>
                <a:lnTo>
                  <a:pt x="1260" y="2062"/>
                </a:lnTo>
                <a:lnTo>
                  <a:pt x="1260" y="2097"/>
                </a:lnTo>
                <a:lnTo>
                  <a:pt x="1260" y="2118"/>
                </a:lnTo>
                <a:lnTo>
                  <a:pt x="1258" y="2136"/>
                </a:lnTo>
                <a:lnTo>
                  <a:pt x="1253" y="2159"/>
                </a:lnTo>
                <a:lnTo>
                  <a:pt x="1224" y="2180"/>
                </a:lnTo>
                <a:lnTo>
                  <a:pt x="1195" y="2200"/>
                </a:lnTo>
                <a:lnTo>
                  <a:pt x="1167" y="2221"/>
                </a:lnTo>
                <a:lnTo>
                  <a:pt x="1139" y="2240"/>
                </a:lnTo>
                <a:lnTo>
                  <a:pt x="1133" y="2247"/>
                </a:lnTo>
                <a:lnTo>
                  <a:pt x="1128" y="2253"/>
                </a:lnTo>
                <a:lnTo>
                  <a:pt x="1120" y="2258"/>
                </a:lnTo>
                <a:lnTo>
                  <a:pt x="1112" y="2262"/>
                </a:lnTo>
                <a:lnTo>
                  <a:pt x="1095" y="2269"/>
                </a:lnTo>
                <a:lnTo>
                  <a:pt x="1077" y="2273"/>
                </a:lnTo>
                <a:lnTo>
                  <a:pt x="1037" y="2278"/>
                </a:lnTo>
                <a:lnTo>
                  <a:pt x="998" y="2282"/>
                </a:lnTo>
                <a:lnTo>
                  <a:pt x="979" y="2286"/>
                </a:lnTo>
                <a:lnTo>
                  <a:pt x="965" y="2291"/>
                </a:lnTo>
                <a:lnTo>
                  <a:pt x="959" y="2295"/>
                </a:lnTo>
                <a:lnTo>
                  <a:pt x="952" y="2299"/>
                </a:lnTo>
                <a:lnTo>
                  <a:pt x="948" y="2304"/>
                </a:lnTo>
                <a:lnTo>
                  <a:pt x="944" y="2309"/>
                </a:lnTo>
                <a:lnTo>
                  <a:pt x="942" y="2317"/>
                </a:lnTo>
                <a:lnTo>
                  <a:pt x="940" y="2323"/>
                </a:lnTo>
                <a:lnTo>
                  <a:pt x="939" y="2333"/>
                </a:lnTo>
                <a:lnTo>
                  <a:pt x="940" y="2343"/>
                </a:lnTo>
                <a:lnTo>
                  <a:pt x="943" y="2355"/>
                </a:lnTo>
                <a:lnTo>
                  <a:pt x="947" y="2366"/>
                </a:lnTo>
                <a:lnTo>
                  <a:pt x="953" y="2381"/>
                </a:lnTo>
                <a:lnTo>
                  <a:pt x="960" y="2396"/>
                </a:lnTo>
                <a:lnTo>
                  <a:pt x="963" y="2446"/>
                </a:lnTo>
                <a:lnTo>
                  <a:pt x="964" y="2483"/>
                </a:lnTo>
                <a:lnTo>
                  <a:pt x="964" y="2512"/>
                </a:lnTo>
                <a:lnTo>
                  <a:pt x="965" y="2535"/>
                </a:lnTo>
                <a:lnTo>
                  <a:pt x="965" y="2555"/>
                </a:lnTo>
                <a:lnTo>
                  <a:pt x="964" y="2574"/>
                </a:lnTo>
                <a:lnTo>
                  <a:pt x="964" y="2597"/>
                </a:lnTo>
                <a:lnTo>
                  <a:pt x="963" y="2623"/>
                </a:lnTo>
                <a:lnTo>
                  <a:pt x="933" y="2654"/>
                </a:lnTo>
                <a:lnTo>
                  <a:pt x="909" y="2677"/>
                </a:lnTo>
                <a:lnTo>
                  <a:pt x="899" y="2686"/>
                </a:lnTo>
                <a:lnTo>
                  <a:pt x="890" y="2694"/>
                </a:lnTo>
                <a:lnTo>
                  <a:pt x="879" y="2701"/>
                </a:lnTo>
                <a:lnTo>
                  <a:pt x="869" y="2706"/>
                </a:lnTo>
                <a:lnTo>
                  <a:pt x="858" y="2710"/>
                </a:lnTo>
                <a:lnTo>
                  <a:pt x="848" y="2714"/>
                </a:lnTo>
                <a:lnTo>
                  <a:pt x="835" y="2715"/>
                </a:lnTo>
                <a:lnTo>
                  <a:pt x="822" y="2718"/>
                </a:lnTo>
                <a:lnTo>
                  <a:pt x="788" y="2719"/>
                </a:lnTo>
                <a:lnTo>
                  <a:pt x="747" y="2719"/>
                </a:lnTo>
                <a:lnTo>
                  <a:pt x="739" y="2728"/>
                </a:lnTo>
                <a:lnTo>
                  <a:pt x="732" y="2737"/>
                </a:lnTo>
                <a:lnTo>
                  <a:pt x="728" y="2746"/>
                </a:lnTo>
                <a:lnTo>
                  <a:pt x="726" y="2754"/>
                </a:lnTo>
                <a:lnTo>
                  <a:pt x="724" y="2763"/>
                </a:lnTo>
                <a:lnTo>
                  <a:pt x="724" y="2771"/>
                </a:lnTo>
                <a:lnTo>
                  <a:pt x="726" y="2780"/>
                </a:lnTo>
                <a:lnTo>
                  <a:pt x="728" y="2788"/>
                </a:lnTo>
                <a:lnTo>
                  <a:pt x="732" y="2796"/>
                </a:lnTo>
                <a:lnTo>
                  <a:pt x="736" y="2803"/>
                </a:lnTo>
                <a:lnTo>
                  <a:pt x="741" y="2811"/>
                </a:lnTo>
                <a:lnTo>
                  <a:pt x="748" y="2819"/>
                </a:lnTo>
                <a:lnTo>
                  <a:pt x="762" y="2833"/>
                </a:lnTo>
                <a:lnTo>
                  <a:pt x="778" y="2848"/>
                </a:lnTo>
                <a:lnTo>
                  <a:pt x="806" y="2850"/>
                </a:lnTo>
                <a:lnTo>
                  <a:pt x="835" y="2852"/>
                </a:lnTo>
                <a:lnTo>
                  <a:pt x="864" y="2854"/>
                </a:lnTo>
                <a:lnTo>
                  <a:pt x="892" y="2858"/>
                </a:lnTo>
                <a:lnTo>
                  <a:pt x="896" y="2868"/>
                </a:lnTo>
                <a:lnTo>
                  <a:pt x="899" y="2880"/>
                </a:lnTo>
                <a:lnTo>
                  <a:pt x="900" y="2893"/>
                </a:lnTo>
                <a:lnTo>
                  <a:pt x="900" y="2905"/>
                </a:lnTo>
                <a:lnTo>
                  <a:pt x="899" y="2931"/>
                </a:lnTo>
                <a:lnTo>
                  <a:pt x="895" y="2957"/>
                </a:lnTo>
                <a:lnTo>
                  <a:pt x="890" y="2983"/>
                </a:lnTo>
                <a:lnTo>
                  <a:pt x="884" y="3009"/>
                </a:lnTo>
                <a:lnTo>
                  <a:pt x="879" y="3034"/>
                </a:lnTo>
                <a:lnTo>
                  <a:pt x="875" y="3057"/>
                </a:lnTo>
                <a:lnTo>
                  <a:pt x="870" y="3060"/>
                </a:lnTo>
                <a:lnTo>
                  <a:pt x="866" y="3062"/>
                </a:lnTo>
                <a:lnTo>
                  <a:pt x="860" y="3064"/>
                </a:lnTo>
                <a:lnTo>
                  <a:pt x="852" y="3066"/>
                </a:lnTo>
                <a:lnTo>
                  <a:pt x="822" y="3069"/>
                </a:lnTo>
                <a:lnTo>
                  <a:pt x="767" y="3075"/>
                </a:lnTo>
                <a:lnTo>
                  <a:pt x="752" y="3092"/>
                </a:lnTo>
                <a:lnTo>
                  <a:pt x="736" y="3108"/>
                </a:lnTo>
                <a:lnTo>
                  <a:pt x="721" y="3122"/>
                </a:lnTo>
                <a:lnTo>
                  <a:pt x="704" y="3135"/>
                </a:lnTo>
                <a:lnTo>
                  <a:pt x="685" y="3147"/>
                </a:lnTo>
                <a:lnTo>
                  <a:pt x="666" y="3157"/>
                </a:lnTo>
                <a:lnTo>
                  <a:pt x="645" y="3166"/>
                </a:lnTo>
                <a:lnTo>
                  <a:pt x="623" y="3173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70" name="Freeform 35"/>
          <p:cNvSpPr>
            <a:spLocks/>
          </p:cNvSpPr>
          <p:nvPr/>
        </p:nvSpPr>
        <p:spPr bwMode="auto">
          <a:xfrm>
            <a:off x="7391400" y="2305050"/>
            <a:ext cx="881063" cy="1030288"/>
          </a:xfrm>
          <a:custGeom>
            <a:avLst/>
            <a:gdLst>
              <a:gd name="T0" fmla="*/ 2147483647 w 2219"/>
              <a:gd name="T1" fmla="*/ 2147483647 h 2597"/>
              <a:gd name="T2" fmla="*/ 2147483647 w 2219"/>
              <a:gd name="T3" fmla="*/ 2147483647 h 2597"/>
              <a:gd name="T4" fmla="*/ 2147483647 w 2219"/>
              <a:gd name="T5" fmla="*/ 2147483647 h 2597"/>
              <a:gd name="T6" fmla="*/ 2147483647 w 2219"/>
              <a:gd name="T7" fmla="*/ 2147483647 h 2597"/>
              <a:gd name="T8" fmla="*/ 2147483647 w 2219"/>
              <a:gd name="T9" fmla="*/ 2147483647 h 2597"/>
              <a:gd name="T10" fmla="*/ 2147483647 w 2219"/>
              <a:gd name="T11" fmla="*/ 2147483647 h 2597"/>
              <a:gd name="T12" fmla="*/ 2147483647 w 2219"/>
              <a:gd name="T13" fmla="*/ 2147483647 h 2597"/>
              <a:gd name="T14" fmla="*/ 2147483647 w 2219"/>
              <a:gd name="T15" fmla="*/ 2147483647 h 2597"/>
              <a:gd name="T16" fmla="*/ 2147483647 w 2219"/>
              <a:gd name="T17" fmla="*/ 2147483647 h 2597"/>
              <a:gd name="T18" fmla="*/ 2147483647 w 2219"/>
              <a:gd name="T19" fmla="*/ 2147483647 h 2597"/>
              <a:gd name="T20" fmla="*/ 2147483647 w 2219"/>
              <a:gd name="T21" fmla="*/ 2147483647 h 2597"/>
              <a:gd name="T22" fmla="*/ 2147483647 w 2219"/>
              <a:gd name="T23" fmla="*/ 2147483647 h 2597"/>
              <a:gd name="T24" fmla="*/ 2147483647 w 2219"/>
              <a:gd name="T25" fmla="*/ 2147483647 h 2597"/>
              <a:gd name="T26" fmla="*/ 2147483647 w 2219"/>
              <a:gd name="T27" fmla="*/ 2147483647 h 2597"/>
              <a:gd name="T28" fmla="*/ 2147483647 w 2219"/>
              <a:gd name="T29" fmla="*/ 2147483647 h 2597"/>
              <a:gd name="T30" fmla="*/ 2147483647 w 2219"/>
              <a:gd name="T31" fmla="*/ 2147483647 h 2597"/>
              <a:gd name="T32" fmla="*/ 2147483647 w 2219"/>
              <a:gd name="T33" fmla="*/ 2147483647 h 2597"/>
              <a:gd name="T34" fmla="*/ 2147483647 w 2219"/>
              <a:gd name="T35" fmla="*/ 2147483647 h 2597"/>
              <a:gd name="T36" fmla="*/ 2147483647 w 2219"/>
              <a:gd name="T37" fmla="*/ 2147483647 h 2597"/>
              <a:gd name="T38" fmla="*/ 2147483647 w 2219"/>
              <a:gd name="T39" fmla="*/ 2147483647 h 2597"/>
              <a:gd name="T40" fmla="*/ 2147483647 w 2219"/>
              <a:gd name="T41" fmla="*/ 2147483647 h 2597"/>
              <a:gd name="T42" fmla="*/ 2147483647 w 2219"/>
              <a:gd name="T43" fmla="*/ 2147483647 h 2597"/>
              <a:gd name="T44" fmla="*/ 2147483647 w 2219"/>
              <a:gd name="T45" fmla="*/ 2147483647 h 2597"/>
              <a:gd name="T46" fmla="*/ 2147483647 w 2219"/>
              <a:gd name="T47" fmla="*/ 2147483647 h 2597"/>
              <a:gd name="T48" fmla="*/ 2147483647 w 2219"/>
              <a:gd name="T49" fmla="*/ 2147483647 h 2597"/>
              <a:gd name="T50" fmla="*/ 2147483647 w 2219"/>
              <a:gd name="T51" fmla="*/ 2147483647 h 2597"/>
              <a:gd name="T52" fmla="*/ 2147483647 w 2219"/>
              <a:gd name="T53" fmla="*/ 2147483647 h 2597"/>
              <a:gd name="T54" fmla="*/ 2147483647 w 2219"/>
              <a:gd name="T55" fmla="*/ 2147483647 h 2597"/>
              <a:gd name="T56" fmla="*/ 2147483647 w 2219"/>
              <a:gd name="T57" fmla="*/ 2147483647 h 2597"/>
              <a:gd name="T58" fmla="*/ 2147483647 w 2219"/>
              <a:gd name="T59" fmla="*/ 2147483647 h 2597"/>
              <a:gd name="T60" fmla="*/ 2147483647 w 2219"/>
              <a:gd name="T61" fmla="*/ 2147483647 h 2597"/>
              <a:gd name="T62" fmla="*/ 2147483647 w 2219"/>
              <a:gd name="T63" fmla="*/ 2147483647 h 2597"/>
              <a:gd name="T64" fmla="*/ 2147483647 w 2219"/>
              <a:gd name="T65" fmla="*/ 2147483647 h 2597"/>
              <a:gd name="T66" fmla="*/ 2147483647 w 2219"/>
              <a:gd name="T67" fmla="*/ 2147483647 h 2597"/>
              <a:gd name="T68" fmla="*/ 2147483647 w 2219"/>
              <a:gd name="T69" fmla="*/ 2147483647 h 2597"/>
              <a:gd name="T70" fmla="*/ 2147483647 w 2219"/>
              <a:gd name="T71" fmla="*/ 2147483647 h 2597"/>
              <a:gd name="T72" fmla="*/ 2147483647 w 2219"/>
              <a:gd name="T73" fmla="*/ 2147483647 h 2597"/>
              <a:gd name="T74" fmla="*/ 2147483647 w 2219"/>
              <a:gd name="T75" fmla="*/ 2147483647 h 2597"/>
              <a:gd name="T76" fmla="*/ 2147483647 w 2219"/>
              <a:gd name="T77" fmla="*/ 2147483647 h 2597"/>
              <a:gd name="T78" fmla="*/ 2147483647 w 2219"/>
              <a:gd name="T79" fmla="*/ 2147483647 h 2597"/>
              <a:gd name="T80" fmla="*/ 2147483647 w 2219"/>
              <a:gd name="T81" fmla="*/ 2147483647 h 2597"/>
              <a:gd name="T82" fmla="*/ 2147483647 w 2219"/>
              <a:gd name="T83" fmla="*/ 2147483647 h 2597"/>
              <a:gd name="T84" fmla="*/ 2147483647 w 2219"/>
              <a:gd name="T85" fmla="*/ 2147483647 h 2597"/>
              <a:gd name="T86" fmla="*/ 2147483647 w 2219"/>
              <a:gd name="T87" fmla="*/ 2147483647 h 2597"/>
              <a:gd name="T88" fmla="*/ 2147483647 w 2219"/>
              <a:gd name="T89" fmla="*/ 2147483647 h 2597"/>
              <a:gd name="T90" fmla="*/ 2147483647 w 2219"/>
              <a:gd name="T91" fmla="*/ 2147483647 h 2597"/>
              <a:gd name="T92" fmla="*/ 2147483647 w 2219"/>
              <a:gd name="T93" fmla="*/ 2147483647 h 2597"/>
              <a:gd name="T94" fmla="*/ 2147483647 w 2219"/>
              <a:gd name="T95" fmla="*/ 2147483647 h 2597"/>
              <a:gd name="T96" fmla="*/ 2147483647 w 2219"/>
              <a:gd name="T97" fmla="*/ 2147483647 h 2597"/>
              <a:gd name="T98" fmla="*/ 2147483647 w 2219"/>
              <a:gd name="T99" fmla="*/ 2147483647 h 2597"/>
              <a:gd name="T100" fmla="*/ 2147483647 w 2219"/>
              <a:gd name="T101" fmla="*/ 2147483647 h 2597"/>
              <a:gd name="T102" fmla="*/ 2147483647 w 2219"/>
              <a:gd name="T103" fmla="*/ 2147483647 h 2597"/>
              <a:gd name="T104" fmla="*/ 2147483647 w 2219"/>
              <a:gd name="T105" fmla="*/ 2147483647 h 2597"/>
              <a:gd name="T106" fmla="*/ 2147483647 w 2219"/>
              <a:gd name="T107" fmla="*/ 2147483647 h 2597"/>
              <a:gd name="T108" fmla="*/ 2147483647 w 2219"/>
              <a:gd name="T109" fmla="*/ 2147483647 h 2597"/>
              <a:gd name="T110" fmla="*/ 2147483647 w 2219"/>
              <a:gd name="T111" fmla="*/ 2147483647 h 2597"/>
              <a:gd name="T112" fmla="*/ 2147483647 w 2219"/>
              <a:gd name="T113" fmla="*/ 2147483647 h 2597"/>
              <a:gd name="T114" fmla="*/ 2147483647 w 2219"/>
              <a:gd name="T115" fmla="*/ 2147483647 h 2597"/>
              <a:gd name="T116" fmla="*/ 2147483647 w 2219"/>
              <a:gd name="T117" fmla="*/ 2147483647 h 2597"/>
              <a:gd name="T118" fmla="*/ 2147483647 w 2219"/>
              <a:gd name="T119" fmla="*/ 2147483647 h 2597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219"/>
              <a:gd name="T181" fmla="*/ 0 h 2597"/>
              <a:gd name="T182" fmla="*/ 2219 w 2219"/>
              <a:gd name="T183" fmla="*/ 2597 h 2597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219" h="2597">
                <a:moveTo>
                  <a:pt x="735" y="2597"/>
                </a:moveTo>
                <a:lnTo>
                  <a:pt x="733" y="2580"/>
                </a:lnTo>
                <a:lnTo>
                  <a:pt x="732" y="2563"/>
                </a:lnTo>
                <a:lnTo>
                  <a:pt x="728" y="2546"/>
                </a:lnTo>
                <a:lnTo>
                  <a:pt x="723" y="2531"/>
                </a:lnTo>
                <a:lnTo>
                  <a:pt x="710" y="2498"/>
                </a:lnTo>
                <a:lnTo>
                  <a:pt x="697" y="2467"/>
                </a:lnTo>
                <a:lnTo>
                  <a:pt x="683" y="2460"/>
                </a:lnTo>
                <a:lnTo>
                  <a:pt x="667" y="2456"/>
                </a:lnTo>
                <a:lnTo>
                  <a:pt x="653" y="2454"/>
                </a:lnTo>
                <a:lnTo>
                  <a:pt x="637" y="2451"/>
                </a:lnTo>
                <a:lnTo>
                  <a:pt x="622" y="2450"/>
                </a:lnTo>
                <a:lnTo>
                  <a:pt x="605" y="2446"/>
                </a:lnTo>
                <a:lnTo>
                  <a:pt x="589" y="2439"/>
                </a:lnTo>
                <a:lnTo>
                  <a:pt x="573" y="2432"/>
                </a:lnTo>
                <a:lnTo>
                  <a:pt x="540" y="2436"/>
                </a:lnTo>
                <a:lnTo>
                  <a:pt x="506" y="2441"/>
                </a:lnTo>
                <a:lnTo>
                  <a:pt x="472" y="2445"/>
                </a:lnTo>
                <a:lnTo>
                  <a:pt x="438" y="2449"/>
                </a:lnTo>
                <a:lnTo>
                  <a:pt x="437" y="2408"/>
                </a:lnTo>
                <a:lnTo>
                  <a:pt x="438" y="2377"/>
                </a:lnTo>
                <a:lnTo>
                  <a:pt x="439" y="2371"/>
                </a:lnTo>
                <a:lnTo>
                  <a:pt x="442" y="2364"/>
                </a:lnTo>
                <a:lnTo>
                  <a:pt x="445" y="2358"/>
                </a:lnTo>
                <a:lnTo>
                  <a:pt x="450" y="2352"/>
                </a:lnTo>
                <a:lnTo>
                  <a:pt x="455" y="2346"/>
                </a:lnTo>
                <a:lnTo>
                  <a:pt x="462" y="2339"/>
                </a:lnTo>
                <a:lnTo>
                  <a:pt x="469" y="2334"/>
                </a:lnTo>
                <a:lnTo>
                  <a:pt x="478" y="2328"/>
                </a:lnTo>
                <a:lnTo>
                  <a:pt x="481" y="2290"/>
                </a:lnTo>
                <a:lnTo>
                  <a:pt x="486" y="2253"/>
                </a:lnTo>
                <a:lnTo>
                  <a:pt x="490" y="2216"/>
                </a:lnTo>
                <a:lnTo>
                  <a:pt x="493" y="2179"/>
                </a:lnTo>
                <a:lnTo>
                  <a:pt x="477" y="2157"/>
                </a:lnTo>
                <a:lnTo>
                  <a:pt x="462" y="2136"/>
                </a:lnTo>
                <a:lnTo>
                  <a:pt x="445" y="2116"/>
                </a:lnTo>
                <a:lnTo>
                  <a:pt x="426" y="2096"/>
                </a:lnTo>
                <a:lnTo>
                  <a:pt x="407" y="2078"/>
                </a:lnTo>
                <a:lnTo>
                  <a:pt x="387" y="2060"/>
                </a:lnTo>
                <a:lnTo>
                  <a:pt x="367" y="2041"/>
                </a:lnTo>
                <a:lnTo>
                  <a:pt x="346" y="2023"/>
                </a:lnTo>
                <a:lnTo>
                  <a:pt x="324" y="2023"/>
                </a:lnTo>
                <a:lnTo>
                  <a:pt x="300" y="2023"/>
                </a:lnTo>
                <a:lnTo>
                  <a:pt x="278" y="2023"/>
                </a:lnTo>
                <a:lnTo>
                  <a:pt x="257" y="2024"/>
                </a:lnTo>
                <a:lnTo>
                  <a:pt x="248" y="2027"/>
                </a:lnTo>
                <a:lnTo>
                  <a:pt x="238" y="2030"/>
                </a:lnTo>
                <a:lnTo>
                  <a:pt x="229" y="2032"/>
                </a:lnTo>
                <a:lnTo>
                  <a:pt x="220" y="2037"/>
                </a:lnTo>
                <a:lnTo>
                  <a:pt x="212" y="2044"/>
                </a:lnTo>
                <a:lnTo>
                  <a:pt x="204" y="2050"/>
                </a:lnTo>
                <a:lnTo>
                  <a:pt x="197" y="2060"/>
                </a:lnTo>
                <a:lnTo>
                  <a:pt x="191" y="2070"/>
                </a:lnTo>
                <a:lnTo>
                  <a:pt x="173" y="2071"/>
                </a:lnTo>
                <a:lnTo>
                  <a:pt x="156" y="2073"/>
                </a:lnTo>
                <a:lnTo>
                  <a:pt x="139" y="2075"/>
                </a:lnTo>
                <a:lnTo>
                  <a:pt x="123" y="2078"/>
                </a:lnTo>
                <a:lnTo>
                  <a:pt x="122" y="2054"/>
                </a:lnTo>
                <a:lnTo>
                  <a:pt x="122" y="2039"/>
                </a:lnTo>
                <a:lnTo>
                  <a:pt x="123" y="2024"/>
                </a:lnTo>
                <a:lnTo>
                  <a:pt x="127" y="2006"/>
                </a:lnTo>
                <a:lnTo>
                  <a:pt x="119" y="1992"/>
                </a:lnTo>
                <a:lnTo>
                  <a:pt x="114" y="1980"/>
                </a:lnTo>
                <a:lnTo>
                  <a:pt x="112" y="1970"/>
                </a:lnTo>
                <a:lnTo>
                  <a:pt x="110" y="1961"/>
                </a:lnTo>
                <a:lnTo>
                  <a:pt x="112" y="1952"/>
                </a:lnTo>
                <a:lnTo>
                  <a:pt x="115" y="1943"/>
                </a:lnTo>
                <a:lnTo>
                  <a:pt x="119" y="1931"/>
                </a:lnTo>
                <a:lnTo>
                  <a:pt x="127" y="1917"/>
                </a:lnTo>
                <a:lnTo>
                  <a:pt x="125" y="1868"/>
                </a:lnTo>
                <a:lnTo>
                  <a:pt x="125" y="1836"/>
                </a:lnTo>
                <a:lnTo>
                  <a:pt x="126" y="1812"/>
                </a:lnTo>
                <a:lnTo>
                  <a:pt x="125" y="1793"/>
                </a:lnTo>
                <a:lnTo>
                  <a:pt x="97" y="1773"/>
                </a:lnTo>
                <a:lnTo>
                  <a:pt x="75" y="1756"/>
                </a:lnTo>
                <a:lnTo>
                  <a:pt x="66" y="1749"/>
                </a:lnTo>
                <a:lnTo>
                  <a:pt x="58" y="1741"/>
                </a:lnTo>
                <a:lnTo>
                  <a:pt x="50" y="1733"/>
                </a:lnTo>
                <a:lnTo>
                  <a:pt x="45" y="1724"/>
                </a:lnTo>
                <a:lnTo>
                  <a:pt x="40" y="1715"/>
                </a:lnTo>
                <a:lnTo>
                  <a:pt x="35" y="1706"/>
                </a:lnTo>
                <a:lnTo>
                  <a:pt x="32" y="1694"/>
                </a:lnTo>
                <a:lnTo>
                  <a:pt x="30" y="1682"/>
                </a:lnTo>
                <a:lnTo>
                  <a:pt x="27" y="1671"/>
                </a:lnTo>
                <a:lnTo>
                  <a:pt x="26" y="1655"/>
                </a:lnTo>
                <a:lnTo>
                  <a:pt x="26" y="1639"/>
                </a:lnTo>
                <a:lnTo>
                  <a:pt x="26" y="1622"/>
                </a:lnTo>
                <a:lnTo>
                  <a:pt x="18" y="1604"/>
                </a:lnTo>
                <a:lnTo>
                  <a:pt x="11" y="1589"/>
                </a:lnTo>
                <a:lnTo>
                  <a:pt x="6" y="1572"/>
                </a:lnTo>
                <a:lnTo>
                  <a:pt x="0" y="1556"/>
                </a:lnTo>
                <a:lnTo>
                  <a:pt x="6" y="1516"/>
                </a:lnTo>
                <a:lnTo>
                  <a:pt x="13" y="1475"/>
                </a:lnTo>
                <a:lnTo>
                  <a:pt x="19" y="1435"/>
                </a:lnTo>
                <a:lnTo>
                  <a:pt x="27" y="1395"/>
                </a:lnTo>
                <a:lnTo>
                  <a:pt x="44" y="1394"/>
                </a:lnTo>
                <a:lnTo>
                  <a:pt x="61" y="1391"/>
                </a:lnTo>
                <a:lnTo>
                  <a:pt x="76" y="1387"/>
                </a:lnTo>
                <a:lnTo>
                  <a:pt x="92" y="1382"/>
                </a:lnTo>
                <a:lnTo>
                  <a:pt x="106" y="1374"/>
                </a:lnTo>
                <a:lnTo>
                  <a:pt x="119" y="1365"/>
                </a:lnTo>
                <a:lnTo>
                  <a:pt x="126" y="1358"/>
                </a:lnTo>
                <a:lnTo>
                  <a:pt x="131" y="1352"/>
                </a:lnTo>
                <a:lnTo>
                  <a:pt x="138" y="1345"/>
                </a:lnTo>
                <a:lnTo>
                  <a:pt x="143" y="1338"/>
                </a:lnTo>
                <a:lnTo>
                  <a:pt x="157" y="1332"/>
                </a:lnTo>
                <a:lnTo>
                  <a:pt x="174" y="1326"/>
                </a:lnTo>
                <a:lnTo>
                  <a:pt x="192" y="1318"/>
                </a:lnTo>
                <a:lnTo>
                  <a:pt x="209" y="1309"/>
                </a:lnTo>
                <a:lnTo>
                  <a:pt x="217" y="1304"/>
                </a:lnTo>
                <a:lnTo>
                  <a:pt x="225" y="1299"/>
                </a:lnTo>
                <a:lnTo>
                  <a:pt x="233" y="1293"/>
                </a:lnTo>
                <a:lnTo>
                  <a:pt x="238" y="1287"/>
                </a:lnTo>
                <a:lnTo>
                  <a:pt x="243" y="1280"/>
                </a:lnTo>
                <a:lnTo>
                  <a:pt x="247" y="1273"/>
                </a:lnTo>
                <a:lnTo>
                  <a:pt x="249" y="1265"/>
                </a:lnTo>
                <a:lnTo>
                  <a:pt x="251" y="1257"/>
                </a:lnTo>
                <a:lnTo>
                  <a:pt x="231" y="1240"/>
                </a:lnTo>
                <a:lnTo>
                  <a:pt x="213" y="1223"/>
                </a:lnTo>
                <a:lnTo>
                  <a:pt x="213" y="1206"/>
                </a:lnTo>
                <a:lnTo>
                  <a:pt x="213" y="1189"/>
                </a:lnTo>
                <a:lnTo>
                  <a:pt x="236" y="1176"/>
                </a:lnTo>
                <a:lnTo>
                  <a:pt x="257" y="1162"/>
                </a:lnTo>
                <a:lnTo>
                  <a:pt x="275" y="1146"/>
                </a:lnTo>
                <a:lnTo>
                  <a:pt x="295" y="1132"/>
                </a:lnTo>
                <a:lnTo>
                  <a:pt x="304" y="1126"/>
                </a:lnTo>
                <a:lnTo>
                  <a:pt x="313" y="1120"/>
                </a:lnTo>
                <a:lnTo>
                  <a:pt x="324" y="1115"/>
                </a:lnTo>
                <a:lnTo>
                  <a:pt x="334" y="1110"/>
                </a:lnTo>
                <a:lnTo>
                  <a:pt x="344" y="1106"/>
                </a:lnTo>
                <a:lnTo>
                  <a:pt x="356" y="1103"/>
                </a:lnTo>
                <a:lnTo>
                  <a:pt x="369" y="1101"/>
                </a:lnTo>
                <a:lnTo>
                  <a:pt x="383" y="1101"/>
                </a:lnTo>
                <a:lnTo>
                  <a:pt x="387" y="1109"/>
                </a:lnTo>
                <a:lnTo>
                  <a:pt x="393" y="1115"/>
                </a:lnTo>
                <a:lnTo>
                  <a:pt x="399" y="1122"/>
                </a:lnTo>
                <a:lnTo>
                  <a:pt x="406" y="1127"/>
                </a:lnTo>
                <a:lnTo>
                  <a:pt x="413" y="1131"/>
                </a:lnTo>
                <a:lnTo>
                  <a:pt x="422" y="1133"/>
                </a:lnTo>
                <a:lnTo>
                  <a:pt x="430" y="1136"/>
                </a:lnTo>
                <a:lnTo>
                  <a:pt x="439" y="1139"/>
                </a:lnTo>
                <a:lnTo>
                  <a:pt x="448" y="1139"/>
                </a:lnTo>
                <a:lnTo>
                  <a:pt x="459" y="1139"/>
                </a:lnTo>
                <a:lnTo>
                  <a:pt x="468" y="1139"/>
                </a:lnTo>
                <a:lnTo>
                  <a:pt x="477" y="1137"/>
                </a:lnTo>
                <a:lnTo>
                  <a:pt x="485" y="1136"/>
                </a:lnTo>
                <a:lnTo>
                  <a:pt x="494" y="1133"/>
                </a:lnTo>
                <a:lnTo>
                  <a:pt x="502" y="1131"/>
                </a:lnTo>
                <a:lnTo>
                  <a:pt x="510" y="1128"/>
                </a:lnTo>
                <a:lnTo>
                  <a:pt x="515" y="1113"/>
                </a:lnTo>
                <a:lnTo>
                  <a:pt x="519" y="1100"/>
                </a:lnTo>
                <a:lnTo>
                  <a:pt x="521" y="1084"/>
                </a:lnTo>
                <a:lnTo>
                  <a:pt x="523" y="1057"/>
                </a:lnTo>
                <a:lnTo>
                  <a:pt x="538" y="1054"/>
                </a:lnTo>
                <a:lnTo>
                  <a:pt x="549" y="1051"/>
                </a:lnTo>
                <a:lnTo>
                  <a:pt x="562" y="1046"/>
                </a:lnTo>
                <a:lnTo>
                  <a:pt x="581" y="1037"/>
                </a:lnTo>
                <a:lnTo>
                  <a:pt x="585" y="1018"/>
                </a:lnTo>
                <a:lnTo>
                  <a:pt x="589" y="997"/>
                </a:lnTo>
                <a:lnTo>
                  <a:pt x="594" y="977"/>
                </a:lnTo>
                <a:lnTo>
                  <a:pt x="598" y="956"/>
                </a:lnTo>
                <a:lnTo>
                  <a:pt x="625" y="937"/>
                </a:lnTo>
                <a:lnTo>
                  <a:pt x="640" y="927"/>
                </a:lnTo>
                <a:lnTo>
                  <a:pt x="648" y="919"/>
                </a:lnTo>
                <a:lnTo>
                  <a:pt x="654" y="911"/>
                </a:lnTo>
                <a:lnTo>
                  <a:pt x="651" y="885"/>
                </a:lnTo>
                <a:lnTo>
                  <a:pt x="649" y="863"/>
                </a:lnTo>
                <a:lnTo>
                  <a:pt x="648" y="852"/>
                </a:lnTo>
                <a:lnTo>
                  <a:pt x="648" y="842"/>
                </a:lnTo>
                <a:lnTo>
                  <a:pt x="650" y="829"/>
                </a:lnTo>
                <a:lnTo>
                  <a:pt x="654" y="816"/>
                </a:lnTo>
                <a:lnTo>
                  <a:pt x="624" y="790"/>
                </a:lnTo>
                <a:lnTo>
                  <a:pt x="599" y="767"/>
                </a:lnTo>
                <a:lnTo>
                  <a:pt x="589" y="755"/>
                </a:lnTo>
                <a:lnTo>
                  <a:pt x="580" y="743"/>
                </a:lnTo>
                <a:lnTo>
                  <a:pt x="572" y="731"/>
                </a:lnTo>
                <a:lnTo>
                  <a:pt x="567" y="720"/>
                </a:lnTo>
                <a:lnTo>
                  <a:pt x="564" y="708"/>
                </a:lnTo>
                <a:lnTo>
                  <a:pt x="563" y="696"/>
                </a:lnTo>
                <a:lnTo>
                  <a:pt x="563" y="683"/>
                </a:lnTo>
                <a:lnTo>
                  <a:pt x="567" y="670"/>
                </a:lnTo>
                <a:lnTo>
                  <a:pt x="572" y="656"/>
                </a:lnTo>
                <a:lnTo>
                  <a:pt x="579" y="640"/>
                </a:lnTo>
                <a:lnTo>
                  <a:pt x="589" y="625"/>
                </a:lnTo>
                <a:lnTo>
                  <a:pt x="602" y="608"/>
                </a:lnTo>
                <a:lnTo>
                  <a:pt x="599" y="596"/>
                </a:lnTo>
                <a:lnTo>
                  <a:pt x="597" y="586"/>
                </a:lnTo>
                <a:lnTo>
                  <a:pt x="593" y="577"/>
                </a:lnTo>
                <a:lnTo>
                  <a:pt x="589" y="569"/>
                </a:lnTo>
                <a:lnTo>
                  <a:pt x="581" y="554"/>
                </a:lnTo>
                <a:lnTo>
                  <a:pt x="573" y="541"/>
                </a:lnTo>
                <a:lnTo>
                  <a:pt x="569" y="536"/>
                </a:lnTo>
                <a:lnTo>
                  <a:pt x="567" y="530"/>
                </a:lnTo>
                <a:lnTo>
                  <a:pt x="566" y="522"/>
                </a:lnTo>
                <a:lnTo>
                  <a:pt x="564" y="514"/>
                </a:lnTo>
                <a:lnTo>
                  <a:pt x="564" y="505"/>
                </a:lnTo>
                <a:lnTo>
                  <a:pt x="566" y="495"/>
                </a:lnTo>
                <a:lnTo>
                  <a:pt x="568" y="483"/>
                </a:lnTo>
                <a:lnTo>
                  <a:pt x="573" y="470"/>
                </a:lnTo>
                <a:lnTo>
                  <a:pt x="584" y="459"/>
                </a:lnTo>
                <a:lnTo>
                  <a:pt x="594" y="449"/>
                </a:lnTo>
                <a:lnTo>
                  <a:pt x="605" y="440"/>
                </a:lnTo>
                <a:lnTo>
                  <a:pt x="615" y="430"/>
                </a:lnTo>
                <a:lnTo>
                  <a:pt x="615" y="417"/>
                </a:lnTo>
                <a:lnTo>
                  <a:pt x="614" y="405"/>
                </a:lnTo>
                <a:lnTo>
                  <a:pt x="611" y="393"/>
                </a:lnTo>
                <a:lnTo>
                  <a:pt x="609" y="381"/>
                </a:lnTo>
                <a:lnTo>
                  <a:pt x="606" y="368"/>
                </a:lnTo>
                <a:lnTo>
                  <a:pt x="605" y="357"/>
                </a:lnTo>
                <a:lnTo>
                  <a:pt x="603" y="344"/>
                </a:lnTo>
                <a:lnTo>
                  <a:pt x="605" y="329"/>
                </a:lnTo>
                <a:lnTo>
                  <a:pt x="619" y="323"/>
                </a:lnTo>
                <a:lnTo>
                  <a:pt x="632" y="315"/>
                </a:lnTo>
                <a:lnTo>
                  <a:pt x="646" y="307"/>
                </a:lnTo>
                <a:lnTo>
                  <a:pt x="659" y="298"/>
                </a:lnTo>
                <a:lnTo>
                  <a:pt x="685" y="281"/>
                </a:lnTo>
                <a:lnTo>
                  <a:pt x="711" y="262"/>
                </a:lnTo>
                <a:lnTo>
                  <a:pt x="724" y="254"/>
                </a:lnTo>
                <a:lnTo>
                  <a:pt x="737" y="245"/>
                </a:lnTo>
                <a:lnTo>
                  <a:pt x="752" y="237"/>
                </a:lnTo>
                <a:lnTo>
                  <a:pt x="766" y="231"/>
                </a:lnTo>
                <a:lnTo>
                  <a:pt x="782" y="225"/>
                </a:lnTo>
                <a:lnTo>
                  <a:pt x="797" y="220"/>
                </a:lnTo>
                <a:lnTo>
                  <a:pt x="814" y="216"/>
                </a:lnTo>
                <a:lnTo>
                  <a:pt x="831" y="214"/>
                </a:lnTo>
                <a:lnTo>
                  <a:pt x="845" y="219"/>
                </a:lnTo>
                <a:lnTo>
                  <a:pt x="858" y="223"/>
                </a:lnTo>
                <a:lnTo>
                  <a:pt x="869" y="224"/>
                </a:lnTo>
                <a:lnTo>
                  <a:pt x="877" y="224"/>
                </a:lnTo>
                <a:lnTo>
                  <a:pt x="884" y="224"/>
                </a:lnTo>
                <a:lnTo>
                  <a:pt x="891" y="221"/>
                </a:lnTo>
                <a:lnTo>
                  <a:pt x="896" y="218"/>
                </a:lnTo>
                <a:lnTo>
                  <a:pt x="900" y="214"/>
                </a:lnTo>
                <a:lnTo>
                  <a:pt x="913" y="184"/>
                </a:lnTo>
                <a:lnTo>
                  <a:pt x="931" y="143"/>
                </a:lnTo>
                <a:lnTo>
                  <a:pt x="948" y="132"/>
                </a:lnTo>
                <a:lnTo>
                  <a:pt x="964" y="120"/>
                </a:lnTo>
                <a:lnTo>
                  <a:pt x="978" y="110"/>
                </a:lnTo>
                <a:lnTo>
                  <a:pt x="990" y="99"/>
                </a:lnTo>
                <a:lnTo>
                  <a:pt x="999" y="86"/>
                </a:lnTo>
                <a:lnTo>
                  <a:pt x="1007" y="73"/>
                </a:lnTo>
                <a:lnTo>
                  <a:pt x="1012" y="56"/>
                </a:lnTo>
                <a:lnTo>
                  <a:pt x="1016" y="37"/>
                </a:lnTo>
                <a:lnTo>
                  <a:pt x="1046" y="43"/>
                </a:lnTo>
                <a:lnTo>
                  <a:pt x="1063" y="47"/>
                </a:lnTo>
                <a:lnTo>
                  <a:pt x="1073" y="50"/>
                </a:lnTo>
                <a:lnTo>
                  <a:pt x="1081" y="55"/>
                </a:lnTo>
                <a:lnTo>
                  <a:pt x="1089" y="76"/>
                </a:lnTo>
                <a:lnTo>
                  <a:pt x="1095" y="94"/>
                </a:lnTo>
                <a:lnTo>
                  <a:pt x="1102" y="110"/>
                </a:lnTo>
                <a:lnTo>
                  <a:pt x="1108" y="123"/>
                </a:lnTo>
                <a:lnTo>
                  <a:pt x="1115" y="133"/>
                </a:lnTo>
                <a:lnTo>
                  <a:pt x="1122" y="142"/>
                </a:lnTo>
                <a:lnTo>
                  <a:pt x="1130" y="149"/>
                </a:lnTo>
                <a:lnTo>
                  <a:pt x="1138" y="154"/>
                </a:lnTo>
                <a:lnTo>
                  <a:pt x="1147" y="158"/>
                </a:lnTo>
                <a:lnTo>
                  <a:pt x="1158" y="159"/>
                </a:lnTo>
                <a:lnTo>
                  <a:pt x="1169" y="159"/>
                </a:lnTo>
                <a:lnTo>
                  <a:pt x="1182" y="159"/>
                </a:lnTo>
                <a:lnTo>
                  <a:pt x="1213" y="154"/>
                </a:lnTo>
                <a:lnTo>
                  <a:pt x="1254" y="147"/>
                </a:lnTo>
                <a:lnTo>
                  <a:pt x="1254" y="139"/>
                </a:lnTo>
                <a:lnTo>
                  <a:pt x="1254" y="133"/>
                </a:lnTo>
                <a:lnTo>
                  <a:pt x="1272" y="136"/>
                </a:lnTo>
                <a:lnTo>
                  <a:pt x="1289" y="139"/>
                </a:lnTo>
                <a:lnTo>
                  <a:pt x="1303" y="145"/>
                </a:lnTo>
                <a:lnTo>
                  <a:pt x="1319" y="149"/>
                </a:lnTo>
                <a:lnTo>
                  <a:pt x="1333" y="154"/>
                </a:lnTo>
                <a:lnTo>
                  <a:pt x="1347" y="158"/>
                </a:lnTo>
                <a:lnTo>
                  <a:pt x="1364" y="162"/>
                </a:lnTo>
                <a:lnTo>
                  <a:pt x="1381" y="162"/>
                </a:lnTo>
                <a:lnTo>
                  <a:pt x="1403" y="147"/>
                </a:lnTo>
                <a:lnTo>
                  <a:pt x="1424" y="133"/>
                </a:lnTo>
                <a:lnTo>
                  <a:pt x="1435" y="128"/>
                </a:lnTo>
                <a:lnTo>
                  <a:pt x="1444" y="123"/>
                </a:lnTo>
                <a:lnTo>
                  <a:pt x="1454" y="119"/>
                </a:lnTo>
                <a:lnTo>
                  <a:pt x="1465" y="115"/>
                </a:lnTo>
                <a:lnTo>
                  <a:pt x="1474" y="112"/>
                </a:lnTo>
                <a:lnTo>
                  <a:pt x="1484" y="111"/>
                </a:lnTo>
                <a:lnTo>
                  <a:pt x="1494" y="111"/>
                </a:lnTo>
                <a:lnTo>
                  <a:pt x="1506" y="112"/>
                </a:lnTo>
                <a:lnTo>
                  <a:pt x="1517" y="113"/>
                </a:lnTo>
                <a:lnTo>
                  <a:pt x="1528" y="117"/>
                </a:lnTo>
                <a:lnTo>
                  <a:pt x="1541" y="123"/>
                </a:lnTo>
                <a:lnTo>
                  <a:pt x="1554" y="129"/>
                </a:lnTo>
                <a:lnTo>
                  <a:pt x="1584" y="130"/>
                </a:lnTo>
                <a:lnTo>
                  <a:pt x="1609" y="130"/>
                </a:lnTo>
                <a:lnTo>
                  <a:pt x="1621" y="129"/>
                </a:lnTo>
                <a:lnTo>
                  <a:pt x="1630" y="129"/>
                </a:lnTo>
                <a:lnTo>
                  <a:pt x="1639" y="126"/>
                </a:lnTo>
                <a:lnTo>
                  <a:pt x="1647" y="124"/>
                </a:lnTo>
                <a:lnTo>
                  <a:pt x="1655" y="120"/>
                </a:lnTo>
                <a:lnTo>
                  <a:pt x="1661" y="116"/>
                </a:lnTo>
                <a:lnTo>
                  <a:pt x="1666" y="110"/>
                </a:lnTo>
                <a:lnTo>
                  <a:pt x="1670" y="102"/>
                </a:lnTo>
                <a:lnTo>
                  <a:pt x="1674" y="93"/>
                </a:lnTo>
                <a:lnTo>
                  <a:pt x="1677" y="81"/>
                </a:lnTo>
                <a:lnTo>
                  <a:pt x="1679" y="68"/>
                </a:lnTo>
                <a:lnTo>
                  <a:pt x="1681" y="52"/>
                </a:lnTo>
                <a:lnTo>
                  <a:pt x="1703" y="39"/>
                </a:lnTo>
                <a:lnTo>
                  <a:pt x="1725" y="26"/>
                </a:lnTo>
                <a:lnTo>
                  <a:pt x="1746" y="13"/>
                </a:lnTo>
                <a:lnTo>
                  <a:pt x="1768" y="0"/>
                </a:lnTo>
                <a:lnTo>
                  <a:pt x="1773" y="22"/>
                </a:lnTo>
                <a:lnTo>
                  <a:pt x="1779" y="43"/>
                </a:lnTo>
                <a:lnTo>
                  <a:pt x="1786" y="61"/>
                </a:lnTo>
                <a:lnTo>
                  <a:pt x="1795" y="78"/>
                </a:lnTo>
                <a:lnTo>
                  <a:pt x="1815" y="111"/>
                </a:lnTo>
                <a:lnTo>
                  <a:pt x="1839" y="147"/>
                </a:lnTo>
                <a:lnTo>
                  <a:pt x="1837" y="168"/>
                </a:lnTo>
                <a:lnTo>
                  <a:pt x="1835" y="188"/>
                </a:lnTo>
                <a:lnTo>
                  <a:pt x="1834" y="205"/>
                </a:lnTo>
                <a:lnTo>
                  <a:pt x="1835" y="220"/>
                </a:lnTo>
                <a:lnTo>
                  <a:pt x="1837" y="227"/>
                </a:lnTo>
                <a:lnTo>
                  <a:pt x="1838" y="233"/>
                </a:lnTo>
                <a:lnTo>
                  <a:pt x="1841" y="241"/>
                </a:lnTo>
                <a:lnTo>
                  <a:pt x="1844" y="247"/>
                </a:lnTo>
                <a:lnTo>
                  <a:pt x="1850" y="254"/>
                </a:lnTo>
                <a:lnTo>
                  <a:pt x="1856" y="260"/>
                </a:lnTo>
                <a:lnTo>
                  <a:pt x="1863" y="267"/>
                </a:lnTo>
                <a:lnTo>
                  <a:pt x="1872" y="273"/>
                </a:lnTo>
                <a:lnTo>
                  <a:pt x="1876" y="284"/>
                </a:lnTo>
                <a:lnTo>
                  <a:pt x="1881" y="294"/>
                </a:lnTo>
                <a:lnTo>
                  <a:pt x="1890" y="296"/>
                </a:lnTo>
                <a:lnTo>
                  <a:pt x="1898" y="299"/>
                </a:lnTo>
                <a:lnTo>
                  <a:pt x="1906" y="303"/>
                </a:lnTo>
                <a:lnTo>
                  <a:pt x="1912" y="310"/>
                </a:lnTo>
                <a:lnTo>
                  <a:pt x="1917" y="318"/>
                </a:lnTo>
                <a:lnTo>
                  <a:pt x="1923" y="327"/>
                </a:lnTo>
                <a:lnTo>
                  <a:pt x="1926" y="337"/>
                </a:lnTo>
                <a:lnTo>
                  <a:pt x="1930" y="348"/>
                </a:lnTo>
                <a:lnTo>
                  <a:pt x="1936" y="368"/>
                </a:lnTo>
                <a:lnTo>
                  <a:pt x="1941" y="389"/>
                </a:lnTo>
                <a:lnTo>
                  <a:pt x="1943" y="409"/>
                </a:lnTo>
                <a:lnTo>
                  <a:pt x="1945" y="423"/>
                </a:lnTo>
                <a:lnTo>
                  <a:pt x="1955" y="427"/>
                </a:lnTo>
                <a:lnTo>
                  <a:pt x="1965" y="430"/>
                </a:lnTo>
                <a:lnTo>
                  <a:pt x="1959" y="452"/>
                </a:lnTo>
                <a:lnTo>
                  <a:pt x="1955" y="467"/>
                </a:lnTo>
                <a:lnTo>
                  <a:pt x="1955" y="480"/>
                </a:lnTo>
                <a:lnTo>
                  <a:pt x="1954" y="499"/>
                </a:lnTo>
                <a:lnTo>
                  <a:pt x="1993" y="525"/>
                </a:lnTo>
                <a:lnTo>
                  <a:pt x="2031" y="549"/>
                </a:lnTo>
                <a:lnTo>
                  <a:pt x="2050" y="562"/>
                </a:lnTo>
                <a:lnTo>
                  <a:pt x="2072" y="577"/>
                </a:lnTo>
                <a:lnTo>
                  <a:pt x="2094" y="593"/>
                </a:lnTo>
                <a:lnTo>
                  <a:pt x="2120" y="612"/>
                </a:lnTo>
                <a:lnTo>
                  <a:pt x="2120" y="630"/>
                </a:lnTo>
                <a:lnTo>
                  <a:pt x="2120" y="646"/>
                </a:lnTo>
                <a:lnTo>
                  <a:pt x="2122" y="660"/>
                </a:lnTo>
                <a:lnTo>
                  <a:pt x="2124" y="673"/>
                </a:lnTo>
                <a:lnTo>
                  <a:pt x="2127" y="679"/>
                </a:lnTo>
                <a:lnTo>
                  <a:pt x="2129" y="685"/>
                </a:lnTo>
                <a:lnTo>
                  <a:pt x="2133" y="690"/>
                </a:lnTo>
                <a:lnTo>
                  <a:pt x="2137" y="695"/>
                </a:lnTo>
                <a:lnTo>
                  <a:pt x="2142" y="699"/>
                </a:lnTo>
                <a:lnTo>
                  <a:pt x="2149" y="703"/>
                </a:lnTo>
                <a:lnTo>
                  <a:pt x="2155" y="707"/>
                </a:lnTo>
                <a:lnTo>
                  <a:pt x="2165" y="711"/>
                </a:lnTo>
                <a:lnTo>
                  <a:pt x="2165" y="726"/>
                </a:lnTo>
                <a:lnTo>
                  <a:pt x="2165" y="742"/>
                </a:lnTo>
                <a:lnTo>
                  <a:pt x="2166" y="759"/>
                </a:lnTo>
                <a:lnTo>
                  <a:pt x="2167" y="776"/>
                </a:lnTo>
                <a:lnTo>
                  <a:pt x="2180" y="782"/>
                </a:lnTo>
                <a:lnTo>
                  <a:pt x="2191" y="789"/>
                </a:lnTo>
                <a:lnTo>
                  <a:pt x="2198" y="795"/>
                </a:lnTo>
                <a:lnTo>
                  <a:pt x="2205" y="802"/>
                </a:lnTo>
                <a:lnTo>
                  <a:pt x="2210" y="809"/>
                </a:lnTo>
                <a:lnTo>
                  <a:pt x="2214" y="816"/>
                </a:lnTo>
                <a:lnTo>
                  <a:pt x="2217" y="825"/>
                </a:lnTo>
                <a:lnTo>
                  <a:pt x="2219" y="833"/>
                </a:lnTo>
                <a:lnTo>
                  <a:pt x="2219" y="872"/>
                </a:lnTo>
                <a:lnTo>
                  <a:pt x="2218" y="921"/>
                </a:lnTo>
                <a:lnTo>
                  <a:pt x="2211" y="938"/>
                </a:lnTo>
                <a:lnTo>
                  <a:pt x="2207" y="954"/>
                </a:lnTo>
                <a:lnTo>
                  <a:pt x="2204" y="971"/>
                </a:lnTo>
                <a:lnTo>
                  <a:pt x="2200" y="988"/>
                </a:lnTo>
                <a:lnTo>
                  <a:pt x="2196" y="1020"/>
                </a:lnTo>
                <a:lnTo>
                  <a:pt x="2194" y="1053"/>
                </a:lnTo>
                <a:lnTo>
                  <a:pt x="2193" y="1087"/>
                </a:lnTo>
                <a:lnTo>
                  <a:pt x="2192" y="1119"/>
                </a:lnTo>
                <a:lnTo>
                  <a:pt x="2189" y="1152"/>
                </a:lnTo>
                <a:lnTo>
                  <a:pt x="2185" y="1185"/>
                </a:lnTo>
                <a:lnTo>
                  <a:pt x="2176" y="1198"/>
                </a:lnTo>
                <a:lnTo>
                  <a:pt x="2170" y="1209"/>
                </a:lnTo>
                <a:lnTo>
                  <a:pt x="2163" y="1224"/>
                </a:lnTo>
                <a:lnTo>
                  <a:pt x="2154" y="1249"/>
                </a:lnTo>
                <a:lnTo>
                  <a:pt x="2144" y="1227"/>
                </a:lnTo>
                <a:lnTo>
                  <a:pt x="2135" y="1206"/>
                </a:lnTo>
                <a:lnTo>
                  <a:pt x="2124" y="1184"/>
                </a:lnTo>
                <a:lnTo>
                  <a:pt x="2114" y="1165"/>
                </a:lnTo>
                <a:lnTo>
                  <a:pt x="2101" y="1165"/>
                </a:lnTo>
                <a:lnTo>
                  <a:pt x="2089" y="1165"/>
                </a:lnTo>
                <a:lnTo>
                  <a:pt x="2083" y="1176"/>
                </a:lnTo>
                <a:lnTo>
                  <a:pt x="2076" y="1184"/>
                </a:lnTo>
                <a:lnTo>
                  <a:pt x="2071" y="1192"/>
                </a:lnTo>
                <a:lnTo>
                  <a:pt x="2060" y="1201"/>
                </a:lnTo>
                <a:lnTo>
                  <a:pt x="2049" y="1170"/>
                </a:lnTo>
                <a:lnTo>
                  <a:pt x="2037" y="1140"/>
                </a:lnTo>
                <a:lnTo>
                  <a:pt x="2025" y="1111"/>
                </a:lnTo>
                <a:lnTo>
                  <a:pt x="2015" y="1081"/>
                </a:lnTo>
                <a:lnTo>
                  <a:pt x="2004" y="1053"/>
                </a:lnTo>
                <a:lnTo>
                  <a:pt x="1995" y="1021"/>
                </a:lnTo>
                <a:lnTo>
                  <a:pt x="1986" y="990"/>
                </a:lnTo>
                <a:lnTo>
                  <a:pt x="1980" y="958"/>
                </a:lnTo>
                <a:lnTo>
                  <a:pt x="1965" y="959"/>
                </a:lnTo>
                <a:lnTo>
                  <a:pt x="1952" y="960"/>
                </a:lnTo>
                <a:lnTo>
                  <a:pt x="1928" y="1002"/>
                </a:lnTo>
                <a:lnTo>
                  <a:pt x="1915" y="1025"/>
                </a:lnTo>
                <a:lnTo>
                  <a:pt x="1912" y="1032"/>
                </a:lnTo>
                <a:lnTo>
                  <a:pt x="1910" y="1038"/>
                </a:lnTo>
                <a:lnTo>
                  <a:pt x="1908" y="1044"/>
                </a:lnTo>
                <a:lnTo>
                  <a:pt x="1908" y="1050"/>
                </a:lnTo>
                <a:lnTo>
                  <a:pt x="1891" y="1045"/>
                </a:lnTo>
                <a:lnTo>
                  <a:pt x="1877" y="1041"/>
                </a:lnTo>
                <a:lnTo>
                  <a:pt x="1864" y="1038"/>
                </a:lnTo>
                <a:lnTo>
                  <a:pt x="1852" y="1036"/>
                </a:lnTo>
                <a:lnTo>
                  <a:pt x="1842" y="1036"/>
                </a:lnTo>
                <a:lnTo>
                  <a:pt x="1834" y="1036"/>
                </a:lnTo>
                <a:lnTo>
                  <a:pt x="1825" y="1038"/>
                </a:lnTo>
                <a:lnTo>
                  <a:pt x="1818" y="1041"/>
                </a:lnTo>
                <a:lnTo>
                  <a:pt x="1812" y="1045"/>
                </a:lnTo>
                <a:lnTo>
                  <a:pt x="1805" y="1051"/>
                </a:lnTo>
                <a:lnTo>
                  <a:pt x="1800" y="1059"/>
                </a:lnTo>
                <a:lnTo>
                  <a:pt x="1795" y="1067"/>
                </a:lnTo>
                <a:lnTo>
                  <a:pt x="1783" y="1089"/>
                </a:lnTo>
                <a:lnTo>
                  <a:pt x="1772" y="1118"/>
                </a:lnTo>
                <a:lnTo>
                  <a:pt x="1748" y="1136"/>
                </a:lnTo>
                <a:lnTo>
                  <a:pt x="1726" y="1153"/>
                </a:lnTo>
                <a:lnTo>
                  <a:pt x="1703" y="1171"/>
                </a:lnTo>
                <a:lnTo>
                  <a:pt x="1681" y="1189"/>
                </a:lnTo>
                <a:lnTo>
                  <a:pt x="1662" y="1227"/>
                </a:lnTo>
                <a:lnTo>
                  <a:pt x="1645" y="1257"/>
                </a:lnTo>
                <a:lnTo>
                  <a:pt x="1632" y="1282"/>
                </a:lnTo>
                <a:lnTo>
                  <a:pt x="1622" y="1304"/>
                </a:lnTo>
                <a:lnTo>
                  <a:pt x="1618" y="1314"/>
                </a:lnTo>
                <a:lnTo>
                  <a:pt x="1617" y="1325"/>
                </a:lnTo>
                <a:lnTo>
                  <a:pt x="1615" y="1336"/>
                </a:lnTo>
                <a:lnTo>
                  <a:pt x="1617" y="1349"/>
                </a:lnTo>
                <a:lnTo>
                  <a:pt x="1618" y="1364"/>
                </a:lnTo>
                <a:lnTo>
                  <a:pt x="1622" y="1379"/>
                </a:lnTo>
                <a:lnTo>
                  <a:pt x="1627" y="1396"/>
                </a:lnTo>
                <a:lnTo>
                  <a:pt x="1635" y="1416"/>
                </a:lnTo>
                <a:lnTo>
                  <a:pt x="1635" y="1443"/>
                </a:lnTo>
                <a:lnTo>
                  <a:pt x="1634" y="1462"/>
                </a:lnTo>
                <a:lnTo>
                  <a:pt x="1630" y="1485"/>
                </a:lnTo>
                <a:lnTo>
                  <a:pt x="1622" y="1518"/>
                </a:lnTo>
                <a:lnTo>
                  <a:pt x="1622" y="1546"/>
                </a:lnTo>
                <a:lnTo>
                  <a:pt x="1619" y="1577"/>
                </a:lnTo>
                <a:lnTo>
                  <a:pt x="1615" y="1611"/>
                </a:lnTo>
                <a:lnTo>
                  <a:pt x="1609" y="1647"/>
                </a:lnTo>
                <a:lnTo>
                  <a:pt x="1597" y="1725"/>
                </a:lnTo>
                <a:lnTo>
                  <a:pt x="1586" y="1805"/>
                </a:lnTo>
                <a:lnTo>
                  <a:pt x="1582" y="1845"/>
                </a:lnTo>
                <a:lnTo>
                  <a:pt x="1580" y="1883"/>
                </a:lnTo>
                <a:lnTo>
                  <a:pt x="1580" y="1902"/>
                </a:lnTo>
                <a:lnTo>
                  <a:pt x="1580" y="1920"/>
                </a:lnTo>
                <a:lnTo>
                  <a:pt x="1582" y="1937"/>
                </a:lnTo>
                <a:lnTo>
                  <a:pt x="1584" y="1954"/>
                </a:lnTo>
                <a:lnTo>
                  <a:pt x="1588" y="1971"/>
                </a:lnTo>
                <a:lnTo>
                  <a:pt x="1592" y="1987"/>
                </a:lnTo>
                <a:lnTo>
                  <a:pt x="1597" y="2001"/>
                </a:lnTo>
                <a:lnTo>
                  <a:pt x="1604" y="2015"/>
                </a:lnTo>
                <a:lnTo>
                  <a:pt x="1610" y="2028"/>
                </a:lnTo>
                <a:lnTo>
                  <a:pt x="1619" y="2040"/>
                </a:lnTo>
                <a:lnTo>
                  <a:pt x="1630" y="2050"/>
                </a:lnTo>
                <a:lnTo>
                  <a:pt x="1640" y="2061"/>
                </a:lnTo>
                <a:lnTo>
                  <a:pt x="1647" y="2056"/>
                </a:lnTo>
                <a:lnTo>
                  <a:pt x="1652" y="2050"/>
                </a:lnTo>
                <a:lnTo>
                  <a:pt x="1656" y="2044"/>
                </a:lnTo>
                <a:lnTo>
                  <a:pt x="1658" y="2039"/>
                </a:lnTo>
                <a:lnTo>
                  <a:pt x="1664" y="2024"/>
                </a:lnTo>
                <a:lnTo>
                  <a:pt x="1668" y="2010"/>
                </a:lnTo>
                <a:lnTo>
                  <a:pt x="1691" y="2006"/>
                </a:lnTo>
                <a:lnTo>
                  <a:pt x="1708" y="2000"/>
                </a:lnTo>
                <a:lnTo>
                  <a:pt x="1721" y="1995"/>
                </a:lnTo>
                <a:lnTo>
                  <a:pt x="1731" y="1991"/>
                </a:lnTo>
                <a:lnTo>
                  <a:pt x="1738" y="1991"/>
                </a:lnTo>
                <a:lnTo>
                  <a:pt x="1743" y="1991"/>
                </a:lnTo>
                <a:lnTo>
                  <a:pt x="1749" y="1992"/>
                </a:lnTo>
                <a:lnTo>
                  <a:pt x="1756" y="1993"/>
                </a:lnTo>
                <a:lnTo>
                  <a:pt x="1776" y="2002"/>
                </a:lnTo>
                <a:lnTo>
                  <a:pt x="1800" y="2018"/>
                </a:lnTo>
                <a:lnTo>
                  <a:pt x="1785" y="2030"/>
                </a:lnTo>
                <a:lnTo>
                  <a:pt x="1769" y="2040"/>
                </a:lnTo>
                <a:lnTo>
                  <a:pt x="1755" y="2052"/>
                </a:lnTo>
                <a:lnTo>
                  <a:pt x="1743" y="2062"/>
                </a:lnTo>
                <a:lnTo>
                  <a:pt x="1731" y="2075"/>
                </a:lnTo>
                <a:lnTo>
                  <a:pt x="1722" y="2090"/>
                </a:lnTo>
                <a:lnTo>
                  <a:pt x="1714" y="2104"/>
                </a:lnTo>
                <a:lnTo>
                  <a:pt x="1708" y="2122"/>
                </a:lnTo>
                <a:lnTo>
                  <a:pt x="1681" y="2126"/>
                </a:lnTo>
                <a:lnTo>
                  <a:pt x="1655" y="2131"/>
                </a:lnTo>
                <a:lnTo>
                  <a:pt x="1629" y="2135"/>
                </a:lnTo>
                <a:lnTo>
                  <a:pt x="1602" y="2139"/>
                </a:lnTo>
                <a:lnTo>
                  <a:pt x="1591" y="2156"/>
                </a:lnTo>
                <a:lnTo>
                  <a:pt x="1582" y="2171"/>
                </a:lnTo>
                <a:lnTo>
                  <a:pt x="1573" y="2188"/>
                </a:lnTo>
                <a:lnTo>
                  <a:pt x="1566" y="2204"/>
                </a:lnTo>
                <a:lnTo>
                  <a:pt x="1560" y="2221"/>
                </a:lnTo>
                <a:lnTo>
                  <a:pt x="1554" y="2239"/>
                </a:lnTo>
                <a:lnTo>
                  <a:pt x="1552" y="2257"/>
                </a:lnTo>
                <a:lnTo>
                  <a:pt x="1548" y="2276"/>
                </a:lnTo>
                <a:lnTo>
                  <a:pt x="1534" y="2279"/>
                </a:lnTo>
                <a:lnTo>
                  <a:pt x="1521" y="2285"/>
                </a:lnTo>
                <a:lnTo>
                  <a:pt x="1508" y="2291"/>
                </a:lnTo>
                <a:lnTo>
                  <a:pt x="1496" y="2300"/>
                </a:lnTo>
                <a:lnTo>
                  <a:pt x="1485" y="2309"/>
                </a:lnTo>
                <a:lnTo>
                  <a:pt x="1475" y="2320"/>
                </a:lnTo>
                <a:lnTo>
                  <a:pt x="1465" y="2331"/>
                </a:lnTo>
                <a:lnTo>
                  <a:pt x="1455" y="2343"/>
                </a:lnTo>
                <a:lnTo>
                  <a:pt x="1446" y="2354"/>
                </a:lnTo>
                <a:lnTo>
                  <a:pt x="1436" y="2364"/>
                </a:lnTo>
                <a:lnTo>
                  <a:pt x="1427" y="2374"/>
                </a:lnTo>
                <a:lnTo>
                  <a:pt x="1416" y="2384"/>
                </a:lnTo>
                <a:lnTo>
                  <a:pt x="1406" y="2390"/>
                </a:lnTo>
                <a:lnTo>
                  <a:pt x="1394" y="2395"/>
                </a:lnTo>
                <a:lnTo>
                  <a:pt x="1383" y="2399"/>
                </a:lnTo>
                <a:lnTo>
                  <a:pt x="1370" y="2400"/>
                </a:lnTo>
                <a:lnTo>
                  <a:pt x="1350" y="2384"/>
                </a:lnTo>
                <a:lnTo>
                  <a:pt x="1331" y="2367"/>
                </a:lnTo>
                <a:lnTo>
                  <a:pt x="1337" y="2358"/>
                </a:lnTo>
                <a:lnTo>
                  <a:pt x="1344" y="2350"/>
                </a:lnTo>
                <a:lnTo>
                  <a:pt x="1350" y="2343"/>
                </a:lnTo>
                <a:lnTo>
                  <a:pt x="1358" y="2337"/>
                </a:lnTo>
                <a:lnTo>
                  <a:pt x="1372" y="2326"/>
                </a:lnTo>
                <a:lnTo>
                  <a:pt x="1387" y="2316"/>
                </a:lnTo>
                <a:lnTo>
                  <a:pt x="1401" y="2307"/>
                </a:lnTo>
                <a:lnTo>
                  <a:pt x="1415" y="2296"/>
                </a:lnTo>
                <a:lnTo>
                  <a:pt x="1429" y="2285"/>
                </a:lnTo>
                <a:lnTo>
                  <a:pt x="1442" y="2270"/>
                </a:lnTo>
                <a:lnTo>
                  <a:pt x="1441" y="2259"/>
                </a:lnTo>
                <a:lnTo>
                  <a:pt x="1441" y="2247"/>
                </a:lnTo>
                <a:lnTo>
                  <a:pt x="1422" y="2247"/>
                </a:lnTo>
                <a:lnTo>
                  <a:pt x="1402" y="2250"/>
                </a:lnTo>
                <a:lnTo>
                  <a:pt x="1379" y="2253"/>
                </a:lnTo>
                <a:lnTo>
                  <a:pt x="1346" y="2255"/>
                </a:lnTo>
                <a:lnTo>
                  <a:pt x="1340" y="2250"/>
                </a:lnTo>
                <a:lnTo>
                  <a:pt x="1333" y="2244"/>
                </a:lnTo>
                <a:lnTo>
                  <a:pt x="1327" y="2240"/>
                </a:lnTo>
                <a:lnTo>
                  <a:pt x="1320" y="2237"/>
                </a:lnTo>
                <a:lnTo>
                  <a:pt x="1314" y="2235"/>
                </a:lnTo>
                <a:lnTo>
                  <a:pt x="1307" y="2233"/>
                </a:lnTo>
                <a:lnTo>
                  <a:pt x="1299" y="2233"/>
                </a:lnTo>
                <a:lnTo>
                  <a:pt x="1293" y="2233"/>
                </a:lnTo>
                <a:lnTo>
                  <a:pt x="1279" y="2234"/>
                </a:lnTo>
                <a:lnTo>
                  <a:pt x="1264" y="2239"/>
                </a:lnTo>
                <a:lnTo>
                  <a:pt x="1251" y="2246"/>
                </a:lnTo>
                <a:lnTo>
                  <a:pt x="1238" y="2255"/>
                </a:lnTo>
                <a:lnTo>
                  <a:pt x="1236" y="2268"/>
                </a:lnTo>
                <a:lnTo>
                  <a:pt x="1232" y="2278"/>
                </a:lnTo>
                <a:lnTo>
                  <a:pt x="1226" y="2287"/>
                </a:lnTo>
                <a:lnTo>
                  <a:pt x="1221" y="2294"/>
                </a:lnTo>
                <a:lnTo>
                  <a:pt x="1213" y="2299"/>
                </a:lnTo>
                <a:lnTo>
                  <a:pt x="1204" y="2303"/>
                </a:lnTo>
                <a:lnTo>
                  <a:pt x="1195" y="2307"/>
                </a:lnTo>
                <a:lnTo>
                  <a:pt x="1186" y="2308"/>
                </a:lnTo>
                <a:lnTo>
                  <a:pt x="1164" y="2309"/>
                </a:lnTo>
                <a:lnTo>
                  <a:pt x="1141" y="2308"/>
                </a:lnTo>
                <a:lnTo>
                  <a:pt x="1116" y="2305"/>
                </a:lnTo>
                <a:lnTo>
                  <a:pt x="1091" y="2303"/>
                </a:lnTo>
                <a:lnTo>
                  <a:pt x="1066" y="2302"/>
                </a:lnTo>
                <a:lnTo>
                  <a:pt x="1044" y="2302"/>
                </a:lnTo>
                <a:lnTo>
                  <a:pt x="1034" y="2304"/>
                </a:lnTo>
                <a:lnTo>
                  <a:pt x="1025" y="2307"/>
                </a:lnTo>
                <a:lnTo>
                  <a:pt x="1016" y="2311"/>
                </a:lnTo>
                <a:lnTo>
                  <a:pt x="1008" y="2317"/>
                </a:lnTo>
                <a:lnTo>
                  <a:pt x="1001" y="2324"/>
                </a:lnTo>
                <a:lnTo>
                  <a:pt x="995" y="2333"/>
                </a:lnTo>
                <a:lnTo>
                  <a:pt x="991" y="2343"/>
                </a:lnTo>
                <a:lnTo>
                  <a:pt x="988" y="2356"/>
                </a:lnTo>
                <a:lnTo>
                  <a:pt x="986" y="2371"/>
                </a:lnTo>
                <a:lnTo>
                  <a:pt x="986" y="2387"/>
                </a:lnTo>
                <a:lnTo>
                  <a:pt x="987" y="2407"/>
                </a:lnTo>
                <a:lnTo>
                  <a:pt x="991" y="2429"/>
                </a:lnTo>
                <a:lnTo>
                  <a:pt x="974" y="2433"/>
                </a:lnTo>
                <a:lnTo>
                  <a:pt x="958" y="2436"/>
                </a:lnTo>
                <a:lnTo>
                  <a:pt x="956" y="2454"/>
                </a:lnTo>
                <a:lnTo>
                  <a:pt x="955" y="2473"/>
                </a:lnTo>
                <a:lnTo>
                  <a:pt x="961" y="2480"/>
                </a:lnTo>
                <a:lnTo>
                  <a:pt x="969" y="2485"/>
                </a:lnTo>
                <a:lnTo>
                  <a:pt x="978" y="2481"/>
                </a:lnTo>
                <a:lnTo>
                  <a:pt x="987" y="2477"/>
                </a:lnTo>
                <a:lnTo>
                  <a:pt x="991" y="2482"/>
                </a:lnTo>
                <a:lnTo>
                  <a:pt x="994" y="2486"/>
                </a:lnTo>
                <a:lnTo>
                  <a:pt x="992" y="2492"/>
                </a:lnTo>
                <a:lnTo>
                  <a:pt x="991" y="2501"/>
                </a:lnTo>
                <a:lnTo>
                  <a:pt x="962" y="2502"/>
                </a:lnTo>
                <a:lnTo>
                  <a:pt x="936" y="2502"/>
                </a:lnTo>
                <a:lnTo>
                  <a:pt x="925" y="2502"/>
                </a:lnTo>
                <a:lnTo>
                  <a:pt x="914" y="2503"/>
                </a:lnTo>
                <a:lnTo>
                  <a:pt x="904" y="2505"/>
                </a:lnTo>
                <a:lnTo>
                  <a:pt x="893" y="2507"/>
                </a:lnTo>
                <a:lnTo>
                  <a:pt x="884" y="2510"/>
                </a:lnTo>
                <a:lnTo>
                  <a:pt x="875" y="2515"/>
                </a:lnTo>
                <a:lnTo>
                  <a:pt x="867" y="2520"/>
                </a:lnTo>
                <a:lnTo>
                  <a:pt x="860" y="2528"/>
                </a:lnTo>
                <a:lnTo>
                  <a:pt x="853" y="2537"/>
                </a:lnTo>
                <a:lnTo>
                  <a:pt x="848" y="2549"/>
                </a:lnTo>
                <a:lnTo>
                  <a:pt x="841" y="2562"/>
                </a:lnTo>
                <a:lnTo>
                  <a:pt x="836" y="2577"/>
                </a:lnTo>
                <a:lnTo>
                  <a:pt x="810" y="2583"/>
                </a:lnTo>
                <a:lnTo>
                  <a:pt x="785" y="2586"/>
                </a:lnTo>
                <a:lnTo>
                  <a:pt x="759" y="2592"/>
                </a:lnTo>
                <a:lnTo>
                  <a:pt x="735" y="2597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71" name="Freeform 36"/>
          <p:cNvSpPr>
            <a:spLocks/>
          </p:cNvSpPr>
          <p:nvPr/>
        </p:nvSpPr>
        <p:spPr bwMode="auto">
          <a:xfrm>
            <a:off x="2089150" y="2703513"/>
            <a:ext cx="525463" cy="596900"/>
          </a:xfrm>
          <a:custGeom>
            <a:avLst/>
            <a:gdLst>
              <a:gd name="T0" fmla="*/ 2147483647 w 1325"/>
              <a:gd name="T1" fmla="*/ 2147483647 h 1502"/>
              <a:gd name="T2" fmla="*/ 2147483647 w 1325"/>
              <a:gd name="T3" fmla="*/ 2147483647 h 1502"/>
              <a:gd name="T4" fmla="*/ 2147483647 w 1325"/>
              <a:gd name="T5" fmla="*/ 2147483647 h 1502"/>
              <a:gd name="T6" fmla="*/ 2147483647 w 1325"/>
              <a:gd name="T7" fmla="*/ 2147483647 h 1502"/>
              <a:gd name="T8" fmla="*/ 2147483647 w 1325"/>
              <a:gd name="T9" fmla="*/ 2147483647 h 1502"/>
              <a:gd name="T10" fmla="*/ 2147483647 w 1325"/>
              <a:gd name="T11" fmla="*/ 2147483647 h 1502"/>
              <a:gd name="T12" fmla="*/ 2147483647 w 1325"/>
              <a:gd name="T13" fmla="*/ 2147483647 h 1502"/>
              <a:gd name="T14" fmla="*/ 2147483647 w 1325"/>
              <a:gd name="T15" fmla="*/ 2147483647 h 1502"/>
              <a:gd name="T16" fmla="*/ 2147483647 w 1325"/>
              <a:gd name="T17" fmla="*/ 2147483647 h 1502"/>
              <a:gd name="T18" fmla="*/ 2147483647 w 1325"/>
              <a:gd name="T19" fmla="*/ 2147483647 h 1502"/>
              <a:gd name="T20" fmla="*/ 2147483647 w 1325"/>
              <a:gd name="T21" fmla="*/ 2147483647 h 1502"/>
              <a:gd name="T22" fmla="*/ 2147483647 w 1325"/>
              <a:gd name="T23" fmla="*/ 2147483647 h 1502"/>
              <a:gd name="T24" fmla="*/ 2147483647 w 1325"/>
              <a:gd name="T25" fmla="*/ 2147483647 h 1502"/>
              <a:gd name="T26" fmla="*/ 2147483647 w 1325"/>
              <a:gd name="T27" fmla="*/ 2147483647 h 1502"/>
              <a:gd name="T28" fmla="*/ 2147483647 w 1325"/>
              <a:gd name="T29" fmla="*/ 2147483647 h 1502"/>
              <a:gd name="T30" fmla="*/ 2147483647 w 1325"/>
              <a:gd name="T31" fmla="*/ 2147483647 h 1502"/>
              <a:gd name="T32" fmla="*/ 2147483647 w 1325"/>
              <a:gd name="T33" fmla="*/ 2147483647 h 1502"/>
              <a:gd name="T34" fmla="*/ 2147483647 w 1325"/>
              <a:gd name="T35" fmla="*/ 2147483647 h 1502"/>
              <a:gd name="T36" fmla="*/ 2147483647 w 1325"/>
              <a:gd name="T37" fmla="*/ 2147483647 h 1502"/>
              <a:gd name="T38" fmla="*/ 2147483647 w 1325"/>
              <a:gd name="T39" fmla="*/ 2147483647 h 1502"/>
              <a:gd name="T40" fmla="*/ 2147483647 w 1325"/>
              <a:gd name="T41" fmla="*/ 2147483647 h 1502"/>
              <a:gd name="T42" fmla="*/ 2147483647 w 1325"/>
              <a:gd name="T43" fmla="*/ 2147483647 h 1502"/>
              <a:gd name="T44" fmla="*/ 2147483647 w 1325"/>
              <a:gd name="T45" fmla="*/ 2147483647 h 1502"/>
              <a:gd name="T46" fmla="*/ 2147483647 w 1325"/>
              <a:gd name="T47" fmla="*/ 2147483647 h 1502"/>
              <a:gd name="T48" fmla="*/ 2147483647 w 1325"/>
              <a:gd name="T49" fmla="*/ 2147483647 h 1502"/>
              <a:gd name="T50" fmla="*/ 2147483647 w 1325"/>
              <a:gd name="T51" fmla="*/ 2147483647 h 1502"/>
              <a:gd name="T52" fmla="*/ 2147483647 w 1325"/>
              <a:gd name="T53" fmla="*/ 2147483647 h 1502"/>
              <a:gd name="T54" fmla="*/ 2147483647 w 1325"/>
              <a:gd name="T55" fmla="*/ 2147483647 h 1502"/>
              <a:gd name="T56" fmla="*/ 2147483647 w 1325"/>
              <a:gd name="T57" fmla="*/ 2147483647 h 1502"/>
              <a:gd name="T58" fmla="*/ 2147483647 w 1325"/>
              <a:gd name="T59" fmla="*/ 2147483647 h 1502"/>
              <a:gd name="T60" fmla="*/ 2147483647 w 1325"/>
              <a:gd name="T61" fmla="*/ 2147483647 h 1502"/>
              <a:gd name="T62" fmla="*/ 2147483647 w 1325"/>
              <a:gd name="T63" fmla="*/ 2147483647 h 1502"/>
              <a:gd name="T64" fmla="*/ 2147483647 w 1325"/>
              <a:gd name="T65" fmla="*/ 2147483647 h 1502"/>
              <a:gd name="T66" fmla="*/ 2147483647 w 1325"/>
              <a:gd name="T67" fmla="*/ 2147483647 h 1502"/>
              <a:gd name="T68" fmla="*/ 2147483647 w 1325"/>
              <a:gd name="T69" fmla="*/ 2147483647 h 1502"/>
              <a:gd name="T70" fmla="*/ 2147483647 w 1325"/>
              <a:gd name="T71" fmla="*/ 2147483647 h 1502"/>
              <a:gd name="T72" fmla="*/ 2147483647 w 1325"/>
              <a:gd name="T73" fmla="*/ 2147483647 h 1502"/>
              <a:gd name="T74" fmla="*/ 2147483647 w 1325"/>
              <a:gd name="T75" fmla="*/ 2147483647 h 1502"/>
              <a:gd name="T76" fmla="*/ 2147483647 w 1325"/>
              <a:gd name="T77" fmla="*/ 2147483647 h 1502"/>
              <a:gd name="T78" fmla="*/ 2147483647 w 1325"/>
              <a:gd name="T79" fmla="*/ 2147483647 h 1502"/>
              <a:gd name="T80" fmla="*/ 2147483647 w 1325"/>
              <a:gd name="T81" fmla="*/ 2147483647 h 1502"/>
              <a:gd name="T82" fmla="*/ 2147483647 w 1325"/>
              <a:gd name="T83" fmla="*/ 2147483647 h 1502"/>
              <a:gd name="T84" fmla="*/ 2147483647 w 1325"/>
              <a:gd name="T85" fmla="*/ 2147483647 h 1502"/>
              <a:gd name="T86" fmla="*/ 2147483647 w 1325"/>
              <a:gd name="T87" fmla="*/ 2147483647 h 1502"/>
              <a:gd name="T88" fmla="*/ 2147483647 w 1325"/>
              <a:gd name="T89" fmla="*/ 2147483647 h 1502"/>
              <a:gd name="T90" fmla="*/ 2147483647 w 1325"/>
              <a:gd name="T91" fmla="*/ 2147483647 h 1502"/>
              <a:gd name="T92" fmla="*/ 2147483647 w 1325"/>
              <a:gd name="T93" fmla="*/ 2147483647 h 1502"/>
              <a:gd name="T94" fmla="*/ 2147483647 w 1325"/>
              <a:gd name="T95" fmla="*/ 2147483647 h 1502"/>
              <a:gd name="T96" fmla="*/ 2147483647 w 1325"/>
              <a:gd name="T97" fmla="*/ 2147483647 h 1502"/>
              <a:gd name="T98" fmla="*/ 2147483647 w 1325"/>
              <a:gd name="T99" fmla="*/ 2147483647 h 1502"/>
              <a:gd name="T100" fmla="*/ 2147483647 w 1325"/>
              <a:gd name="T101" fmla="*/ 2147483647 h 1502"/>
              <a:gd name="T102" fmla="*/ 2147483647 w 1325"/>
              <a:gd name="T103" fmla="*/ 2147483647 h 1502"/>
              <a:gd name="T104" fmla="*/ 2147483647 w 1325"/>
              <a:gd name="T105" fmla="*/ 2147483647 h 1502"/>
              <a:gd name="T106" fmla="*/ 2147483647 w 1325"/>
              <a:gd name="T107" fmla="*/ 2147483647 h 1502"/>
              <a:gd name="T108" fmla="*/ 2147483647 w 1325"/>
              <a:gd name="T109" fmla="*/ 2147483647 h 1502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325"/>
              <a:gd name="T166" fmla="*/ 0 h 1502"/>
              <a:gd name="T167" fmla="*/ 1325 w 1325"/>
              <a:gd name="T168" fmla="*/ 1502 h 1502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325" h="1502">
                <a:moveTo>
                  <a:pt x="452" y="1502"/>
                </a:moveTo>
                <a:lnTo>
                  <a:pt x="443" y="1488"/>
                </a:lnTo>
                <a:lnTo>
                  <a:pt x="437" y="1477"/>
                </a:lnTo>
                <a:lnTo>
                  <a:pt x="426" y="1467"/>
                </a:lnTo>
                <a:lnTo>
                  <a:pt x="409" y="1450"/>
                </a:lnTo>
                <a:lnTo>
                  <a:pt x="411" y="1437"/>
                </a:lnTo>
                <a:lnTo>
                  <a:pt x="413" y="1424"/>
                </a:lnTo>
                <a:lnTo>
                  <a:pt x="415" y="1411"/>
                </a:lnTo>
                <a:lnTo>
                  <a:pt x="417" y="1399"/>
                </a:lnTo>
                <a:lnTo>
                  <a:pt x="411" y="1388"/>
                </a:lnTo>
                <a:lnTo>
                  <a:pt x="407" y="1376"/>
                </a:lnTo>
                <a:lnTo>
                  <a:pt x="406" y="1363"/>
                </a:lnTo>
                <a:lnTo>
                  <a:pt x="404" y="1351"/>
                </a:lnTo>
                <a:lnTo>
                  <a:pt x="404" y="1325"/>
                </a:lnTo>
                <a:lnTo>
                  <a:pt x="406" y="1299"/>
                </a:lnTo>
                <a:lnTo>
                  <a:pt x="406" y="1287"/>
                </a:lnTo>
                <a:lnTo>
                  <a:pt x="406" y="1276"/>
                </a:lnTo>
                <a:lnTo>
                  <a:pt x="404" y="1264"/>
                </a:lnTo>
                <a:lnTo>
                  <a:pt x="400" y="1254"/>
                </a:lnTo>
                <a:lnTo>
                  <a:pt x="395" y="1245"/>
                </a:lnTo>
                <a:lnTo>
                  <a:pt x="389" y="1237"/>
                </a:lnTo>
                <a:lnTo>
                  <a:pt x="383" y="1233"/>
                </a:lnTo>
                <a:lnTo>
                  <a:pt x="378" y="1230"/>
                </a:lnTo>
                <a:lnTo>
                  <a:pt x="372" y="1228"/>
                </a:lnTo>
                <a:lnTo>
                  <a:pt x="365" y="1225"/>
                </a:lnTo>
                <a:lnTo>
                  <a:pt x="374" y="1216"/>
                </a:lnTo>
                <a:lnTo>
                  <a:pt x="383" y="1207"/>
                </a:lnTo>
                <a:lnTo>
                  <a:pt x="381" y="1191"/>
                </a:lnTo>
                <a:lnTo>
                  <a:pt x="378" y="1176"/>
                </a:lnTo>
                <a:lnTo>
                  <a:pt x="370" y="1150"/>
                </a:lnTo>
                <a:lnTo>
                  <a:pt x="356" y="1104"/>
                </a:lnTo>
                <a:lnTo>
                  <a:pt x="344" y="1098"/>
                </a:lnTo>
                <a:lnTo>
                  <a:pt x="335" y="1092"/>
                </a:lnTo>
                <a:lnTo>
                  <a:pt x="333" y="1085"/>
                </a:lnTo>
                <a:lnTo>
                  <a:pt x="333" y="1078"/>
                </a:lnTo>
                <a:lnTo>
                  <a:pt x="344" y="1065"/>
                </a:lnTo>
                <a:lnTo>
                  <a:pt x="352" y="1052"/>
                </a:lnTo>
                <a:lnTo>
                  <a:pt x="356" y="1044"/>
                </a:lnTo>
                <a:lnTo>
                  <a:pt x="357" y="1036"/>
                </a:lnTo>
                <a:lnTo>
                  <a:pt x="359" y="1029"/>
                </a:lnTo>
                <a:lnTo>
                  <a:pt x="357" y="1018"/>
                </a:lnTo>
                <a:lnTo>
                  <a:pt x="341" y="1019"/>
                </a:lnTo>
                <a:lnTo>
                  <a:pt x="324" y="1021"/>
                </a:lnTo>
                <a:lnTo>
                  <a:pt x="316" y="1022"/>
                </a:lnTo>
                <a:lnTo>
                  <a:pt x="308" y="1025"/>
                </a:lnTo>
                <a:lnTo>
                  <a:pt x="300" y="1027"/>
                </a:lnTo>
                <a:lnTo>
                  <a:pt x="292" y="1032"/>
                </a:lnTo>
                <a:lnTo>
                  <a:pt x="278" y="1014"/>
                </a:lnTo>
                <a:lnTo>
                  <a:pt x="264" y="996"/>
                </a:lnTo>
                <a:lnTo>
                  <a:pt x="249" y="978"/>
                </a:lnTo>
                <a:lnTo>
                  <a:pt x="235" y="961"/>
                </a:lnTo>
                <a:lnTo>
                  <a:pt x="209" y="961"/>
                </a:lnTo>
                <a:lnTo>
                  <a:pt x="184" y="960"/>
                </a:lnTo>
                <a:lnTo>
                  <a:pt x="174" y="957"/>
                </a:lnTo>
                <a:lnTo>
                  <a:pt x="162" y="954"/>
                </a:lnTo>
                <a:lnTo>
                  <a:pt x="152" y="949"/>
                </a:lnTo>
                <a:lnTo>
                  <a:pt x="140" y="941"/>
                </a:lnTo>
                <a:lnTo>
                  <a:pt x="125" y="943"/>
                </a:lnTo>
                <a:lnTo>
                  <a:pt x="109" y="945"/>
                </a:lnTo>
                <a:lnTo>
                  <a:pt x="93" y="947"/>
                </a:lnTo>
                <a:lnTo>
                  <a:pt x="76" y="948"/>
                </a:lnTo>
                <a:lnTo>
                  <a:pt x="65" y="930"/>
                </a:lnTo>
                <a:lnTo>
                  <a:pt x="54" y="913"/>
                </a:lnTo>
                <a:lnTo>
                  <a:pt x="45" y="896"/>
                </a:lnTo>
                <a:lnTo>
                  <a:pt x="36" y="876"/>
                </a:lnTo>
                <a:lnTo>
                  <a:pt x="20" y="869"/>
                </a:lnTo>
                <a:lnTo>
                  <a:pt x="11" y="863"/>
                </a:lnTo>
                <a:lnTo>
                  <a:pt x="6" y="858"/>
                </a:lnTo>
                <a:lnTo>
                  <a:pt x="0" y="852"/>
                </a:lnTo>
                <a:lnTo>
                  <a:pt x="13" y="844"/>
                </a:lnTo>
                <a:lnTo>
                  <a:pt x="23" y="836"/>
                </a:lnTo>
                <a:lnTo>
                  <a:pt x="31" y="830"/>
                </a:lnTo>
                <a:lnTo>
                  <a:pt x="37" y="822"/>
                </a:lnTo>
                <a:lnTo>
                  <a:pt x="43" y="813"/>
                </a:lnTo>
                <a:lnTo>
                  <a:pt x="47" y="804"/>
                </a:lnTo>
                <a:lnTo>
                  <a:pt x="50" y="792"/>
                </a:lnTo>
                <a:lnTo>
                  <a:pt x="54" y="779"/>
                </a:lnTo>
                <a:lnTo>
                  <a:pt x="61" y="775"/>
                </a:lnTo>
                <a:lnTo>
                  <a:pt x="66" y="772"/>
                </a:lnTo>
                <a:lnTo>
                  <a:pt x="73" y="770"/>
                </a:lnTo>
                <a:lnTo>
                  <a:pt x="79" y="768"/>
                </a:lnTo>
                <a:lnTo>
                  <a:pt x="92" y="768"/>
                </a:lnTo>
                <a:lnTo>
                  <a:pt x="104" y="770"/>
                </a:lnTo>
                <a:lnTo>
                  <a:pt x="115" y="774"/>
                </a:lnTo>
                <a:lnTo>
                  <a:pt x="128" y="779"/>
                </a:lnTo>
                <a:lnTo>
                  <a:pt x="139" y="784"/>
                </a:lnTo>
                <a:lnTo>
                  <a:pt x="151" y="789"/>
                </a:lnTo>
                <a:lnTo>
                  <a:pt x="161" y="794"/>
                </a:lnTo>
                <a:lnTo>
                  <a:pt x="171" y="800"/>
                </a:lnTo>
                <a:lnTo>
                  <a:pt x="182" y="802"/>
                </a:lnTo>
                <a:lnTo>
                  <a:pt x="191" y="804"/>
                </a:lnTo>
                <a:lnTo>
                  <a:pt x="195" y="802"/>
                </a:lnTo>
                <a:lnTo>
                  <a:pt x="200" y="801"/>
                </a:lnTo>
                <a:lnTo>
                  <a:pt x="204" y="800"/>
                </a:lnTo>
                <a:lnTo>
                  <a:pt x="208" y="797"/>
                </a:lnTo>
                <a:lnTo>
                  <a:pt x="212" y="793"/>
                </a:lnTo>
                <a:lnTo>
                  <a:pt x="214" y="789"/>
                </a:lnTo>
                <a:lnTo>
                  <a:pt x="218" y="783"/>
                </a:lnTo>
                <a:lnTo>
                  <a:pt x="221" y="776"/>
                </a:lnTo>
                <a:lnTo>
                  <a:pt x="235" y="770"/>
                </a:lnTo>
                <a:lnTo>
                  <a:pt x="251" y="763"/>
                </a:lnTo>
                <a:lnTo>
                  <a:pt x="265" y="757"/>
                </a:lnTo>
                <a:lnTo>
                  <a:pt x="281" y="751"/>
                </a:lnTo>
                <a:lnTo>
                  <a:pt x="281" y="735"/>
                </a:lnTo>
                <a:lnTo>
                  <a:pt x="278" y="719"/>
                </a:lnTo>
                <a:lnTo>
                  <a:pt x="274" y="705"/>
                </a:lnTo>
                <a:lnTo>
                  <a:pt x="269" y="693"/>
                </a:lnTo>
                <a:lnTo>
                  <a:pt x="262" y="680"/>
                </a:lnTo>
                <a:lnTo>
                  <a:pt x="256" y="670"/>
                </a:lnTo>
                <a:lnTo>
                  <a:pt x="248" y="659"/>
                </a:lnTo>
                <a:lnTo>
                  <a:pt x="239" y="649"/>
                </a:lnTo>
                <a:lnTo>
                  <a:pt x="220" y="631"/>
                </a:lnTo>
                <a:lnTo>
                  <a:pt x="200" y="611"/>
                </a:lnTo>
                <a:lnTo>
                  <a:pt x="179" y="590"/>
                </a:lnTo>
                <a:lnTo>
                  <a:pt x="160" y="567"/>
                </a:lnTo>
                <a:lnTo>
                  <a:pt x="164" y="562"/>
                </a:lnTo>
                <a:lnTo>
                  <a:pt x="169" y="556"/>
                </a:lnTo>
                <a:lnTo>
                  <a:pt x="174" y="552"/>
                </a:lnTo>
                <a:lnTo>
                  <a:pt x="181" y="549"/>
                </a:lnTo>
                <a:lnTo>
                  <a:pt x="192" y="542"/>
                </a:lnTo>
                <a:lnTo>
                  <a:pt x="207" y="536"/>
                </a:lnTo>
                <a:lnTo>
                  <a:pt x="220" y="530"/>
                </a:lnTo>
                <a:lnTo>
                  <a:pt x="231" y="524"/>
                </a:lnTo>
                <a:lnTo>
                  <a:pt x="238" y="520"/>
                </a:lnTo>
                <a:lnTo>
                  <a:pt x="243" y="516"/>
                </a:lnTo>
                <a:lnTo>
                  <a:pt x="248" y="511"/>
                </a:lnTo>
                <a:lnTo>
                  <a:pt x="252" y="506"/>
                </a:lnTo>
                <a:lnTo>
                  <a:pt x="278" y="504"/>
                </a:lnTo>
                <a:lnTo>
                  <a:pt x="302" y="506"/>
                </a:lnTo>
                <a:lnTo>
                  <a:pt x="326" y="507"/>
                </a:lnTo>
                <a:lnTo>
                  <a:pt x="350" y="510"/>
                </a:lnTo>
                <a:lnTo>
                  <a:pt x="373" y="510"/>
                </a:lnTo>
                <a:lnTo>
                  <a:pt x="396" y="510"/>
                </a:lnTo>
                <a:lnTo>
                  <a:pt x="408" y="508"/>
                </a:lnTo>
                <a:lnTo>
                  <a:pt x="421" y="507"/>
                </a:lnTo>
                <a:lnTo>
                  <a:pt x="433" y="504"/>
                </a:lnTo>
                <a:lnTo>
                  <a:pt x="446" y="502"/>
                </a:lnTo>
                <a:lnTo>
                  <a:pt x="452" y="473"/>
                </a:lnTo>
                <a:lnTo>
                  <a:pt x="458" y="446"/>
                </a:lnTo>
                <a:lnTo>
                  <a:pt x="462" y="417"/>
                </a:lnTo>
                <a:lnTo>
                  <a:pt x="464" y="389"/>
                </a:lnTo>
                <a:lnTo>
                  <a:pt x="468" y="383"/>
                </a:lnTo>
                <a:lnTo>
                  <a:pt x="472" y="378"/>
                </a:lnTo>
                <a:lnTo>
                  <a:pt x="475" y="370"/>
                </a:lnTo>
                <a:lnTo>
                  <a:pt x="476" y="361"/>
                </a:lnTo>
                <a:lnTo>
                  <a:pt x="478" y="344"/>
                </a:lnTo>
                <a:lnTo>
                  <a:pt x="478" y="329"/>
                </a:lnTo>
                <a:lnTo>
                  <a:pt x="494" y="318"/>
                </a:lnTo>
                <a:lnTo>
                  <a:pt x="507" y="309"/>
                </a:lnTo>
                <a:lnTo>
                  <a:pt x="511" y="303"/>
                </a:lnTo>
                <a:lnTo>
                  <a:pt x="515" y="297"/>
                </a:lnTo>
                <a:lnTo>
                  <a:pt x="519" y="292"/>
                </a:lnTo>
                <a:lnTo>
                  <a:pt x="520" y="286"/>
                </a:lnTo>
                <a:lnTo>
                  <a:pt x="523" y="279"/>
                </a:lnTo>
                <a:lnTo>
                  <a:pt x="524" y="273"/>
                </a:lnTo>
                <a:lnTo>
                  <a:pt x="524" y="266"/>
                </a:lnTo>
                <a:lnTo>
                  <a:pt x="524" y="258"/>
                </a:lnTo>
                <a:lnTo>
                  <a:pt x="521" y="243"/>
                </a:lnTo>
                <a:lnTo>
                  <a:pt x="517" y="225"/>
                </a:lnTo>
                <a:lnTo>
                  <a:pt x="529" y="216"/>
                </a:lnTo>
                <a:lnTo>
                  <a:pt x="542" y="208"/>
                </a:lnTo>
                <a:lnTo>
                  <a:pt x="542" y="193"/>
                </a:lnTo>
                <a:lnTo>
                  <a:pt x="542" y="178"/>
                </a:lnTo>
                <a:lnTo>
                  <a:pt x="530" y="175"/>
                </a:lnTo>
                <a:lnTo>
                  <a:pt x="520" y="173"/>
                </a:lnTo>
                <a:lnTo>
                  <a:pt x="508" y="170"/>
                </a:lnTo>
                <a:lnTo>
                  <a:pt x="498" y="167"/>
                </a:lnTo>
                <a:lnTo>
                  <a:pt x="497" y="156"/>
                </a:lnTo>
                <a:lnTo>
                  <a:pt x="497" y="144"/>
                </a:lnTo>
                <a:lnTo>
                  <a:pt x="497" y="132"/>
                </a:lnTo>
                <a:lnTo>
                  <a:pt x="497" y="121"/>
                </a:lnTo>
                <a:lnTo>
                  <a:pt x="508" y="119"/>
                </a:lnTo>
                <a:lnTo>
                  <a:pt x="520" y="117"/>
                </a:lnTo>
                <a:lnTo>
                  <a:pt x="530" y="114"/>
                </a:lnTo>
                <a:lnTo>
                  <a:pt x="541" y="111"/>
                </a:lnTo>
                <a:lnTo>
                  <a:pt x="559" y="104"/>
                </a:lnTo>
                <a:lnTo>
                  <a:pt x="576" y="95"/>
                </a:lnTo>
                <a:lnTo>
                  <a:pt x="592" y="84"/>
                </a:lnTo>
                <a:lnTo>
                  <a:pt x="609" y="75"/>
                </a:lnTo>
                <a:lnTo>
                  <a:pt x="625" y="66"/>
                </a:lnTo>
                <a:lnTo>
                  <a:pt x="645" y="59"/>
                </a:lnTo>
                <a:lnTo>
                  <a:pt x="653" y="40"/>
                </a:lnTo>
                <a:lnTo>
                  <a:pt x="661" y="27"/>
                </a:lnTo>
                <a:lnTo>
                  <a:pt x="664" y="22"/>
                </a:lnTo>
                <a:lnTo>
                  <a:pt x="668" y="18"/>
                </a:lnTo>
                <a:lnTo>
                  <a:pt x="674" y="14"/>
                </a:lnTo>
                <a:lnTo>
                  <a:pt x="678" y="11"/>
                </a:lnTo>
                <a:lnTo>
                  <a:pt x="689" y="7"/>
                </a:lnTo>
                <a:lnTo>
                  <a:pt x="704" y="5"/>
                </a:lnTo>
                <a:lnTo>
                  <a:pt x="722" y="2"/>
                </a:lnTo>
                <a:lnTo>
                  <a:pt x="745" y="0"/>
                </a:lnTo>
                <a:lnTo>
                  <a:pt x="759" y="18"/>
                </a:lnTo>
                <a:lnTo>
                  <a:pt x="770" y="32"/>
                </a:lnTo>
                <a:lnTo>
                  <a:pt x="776" y="45"/>
                </a:lnTo>
                <a:lnTo>
                  <a:pt x="782" y="57"/>
                </a:lnTo>
                <a:lnTo>
                  <a:pt x="787" y="82"/>
                </a:lnTo>
                <a:lnTo>
                  <a:pt x="792" y="117"/>
                </a:lnTo>
                <a:lnTo>
                  <a:pt x="801" y="121"/>
                </a:lnTo>
                <a:lnTo>
                  <a:pt x="812" y="127"/>
                </a:lnTo>
                <a:lnTo>
                  <a:pt x="810" y="139"/>
                </a:lnTo>
                <a:lnTo>
                  <a:pt x="808" y="152"/>
                </a:lnTo>
                <a:lnTo>
                  <a:pt x="802" y="163"/>
                </a:lnTo>
                <a:lnTo>
                  <a:pt x="795" y="174"/>
                </a:lnTo>
                <a:lnTo>
                  <a:pt x="787" y="184"/>
                </a:lnTo>
                <a:lnTo>
                  <a:pt x="778" y="193"/>
                </a:lnTo>
                <a:lnTo>
                  <a:pt x="769" y="203"/>
                </a:lnTo>
                <a:lnTo>
                  <a:pt x="758" y="212"/>
                </a:lnTo>
                <a:lnTo>
                  <a:pt x="758" y="231"/>
                </a:lnTo>
                <a:lnTo>
                  <a:pt x="756" y="253"/>
                </a:lnTo>
                <a:lnTo>
                  <a:pt x="754" y="262"/>
                </a:lnTo>
                <a:lnTo>
                  <a:pt x="752" y="273"/>
                </a:lnTo>
                <a:lnTo>
                  <a:pt x="748" y="282"/>
                </a:lnTo>
                <a:lnTo>
                  <a:pt x="743" y="290"/>
                </a:lnTo>
                <a:lnTo>
                  <a:pt x="723" y="294"/>
                </a:lnTo>
                <a:lnTo>
                  <a:pt x="707" y="297"/>
                </a:lnTo>
                <a:lnTo>
                  <a:pt x="693" y="304"/>
                </a:lnTo>
                <a:lnTo>
                  <a:pt x="683" y="310"/>
                </a:lnTo>
                <a:lnTo>
                  <a:pt x="675" y="320"/>
                </a:lnTo>
                <a:lnTo>
                  <a:pt x="668" y="329"/>
                </a:lnTo>
                <a:lnTo>
                  <a:pt x="666" y="339"/>
                </a:lnTo>
                <a:lnTo>
                  <a:pt x="663" y="351"/>
                </a:lnTo>
                <a:lnTo>
                  <a:pt x="664" y="363"/>
                </a:lnTo>
                <a:lnTo>
                  <a:pt x="666" y="374"/>
                </a:lnTo>
                <a:lnTo>
                  <a:pt x="670" y="387"/>
                </a:lnTo>
                <a:lnTo>
                  <a:pt x="675" y="399"/>
                </a:lnTo>
                <a:lnTo>
                  <a:pt x="681" y="412"/>
                </a:lnTo>
                <a:lnTo>
                  <a:pt x="689" y="425"/>
                </a:lnTo>
                <a:lnTo>
                  <a:pt x="697" y="438"/>
                </a:lnTo>
                <a:lnTo>
                  <a:pt x="706" y="450"/>
                </a:lnTo>
                <a:lnTo>
                  <a:pt x="705" y="470"/>
                </a:lnTo>
                <a:lnTo>
                  <a:pt x="705" y="493"/>
                </a:lnTo>
                <a:lnTo>
                  <a:pt x="705" y="516"/>
                </a:lnTo>
                <a:lnTo>
                  <a:pt x="706" y="539"/>
                </a:lnTo>
                <a:lnTo>
                  <a:pt x="709" y="564"/>
                </a:lnTo>
                <a:lnTo>
                  <a:pt x="711" y="588"/>
                </a:lnTo>
                <a:lnTo>
                  <a:pt x="715" y="610"/>
                </a:lnTo>
                <a:lnTo>
                  <a:pt x="719" y="631"/>
                </a:lnTo>
                <a:lnTo>
                  <a:pt x="730" y="631"/>
                </a:lnTo>
                <a:lnTo>
                  <a:pt x="739" y="629"/>
                </a:lnTo>
                <a:lnTo>
                  <a:pt x="746" y="627"/>
                </a:lnTo>
                <a:lnTo>
                  <a:pt x="754" y="624"/>
                </a:lnTo>
                <a:lnTo>
                  <a:pt x="762" y="620"/>
                </a:lnTo>
                <a:lnTo>
                  <a:pt x="769" y="616"/>
                </a:lnTo>
                <a:lnTo>
                  <a:pt x="775" y="612"/>
                </a:lnTo>
                <a:lnTo>
                  <a:pt x="780" y="607"/>
                </a:lnTo>
                <a:lnTo>
                  <a:pt x="791" y="594"/>
                </a:lnTo>
                <a:lnTo>
                  <a:pt x="800" y="581"/>
                </a:lnTo>
                <a:lnTo>
                  <a:pt x="808" y="565"/>
                </a:lnTo>
                <a:lnTo>
                  <a:pt x="815" y="550"/>
                </a:lnTo>
                <a:lnTo>
                  <a:pt x="843" y="545"/>
                </a:lnTo>
                <a:lnTo>
                  <a:pt x="865" y="542"/>
                </a:lnTo>
                <a:lnTo>
                  <a:pt x="875" y="542"/>
                </a:lnTo>
                <a:lnTo>
                  <a:pt x="884" y="543"/>
                </a:lnTo>
                <a:lnTo>
                  <a:pt x="892" y="545"/>
                </a:lnTo>
                <a:lnTo>
                  <a:pt x="901" y="547"/>
                </a:lnTo>
                <a:lnTo>
                  <a:pt x="917" y="555"/>
                </a:lnTo>
                <a:lnTo>
                  <a:pt x="935" y="564"/>
                </a:lnTo>
                <a:lnTo>
                  <a:pt x="955" y="578"/>
                </a:lnTo>
                <a:lnTo>
                  <a:pt x="979" y="594"/>
                </a:lnTo>
                <a:lnTo>
                  <a:pt x="990" y="593"/>
                </a:lnTo>
                <a:lnTo>
                  <a:pt x="1000" y="593"/>
                </a:lnTo>
                <a:lnTo>
                  <a:pt x="1011" y="590"/>
                </a:lnTo>
                <a:lnTo>
                  <a:pt x="1020" y="588"/>
                </a:lnTo>
                <a:lnTo>
                  <a:pt x="1040" y="582"/>
                </a:lnTo>
                <a:lnTo>
                  <a:pt x="1060" y="576"/>
                </a:lnTo>
                <a:lnTo>
                  <a:pt x="1080" y="569"/>
                </a:lnTo>
                <a:lnTo>
                  <a:pt x="1099" y="564"/>
                </a:lnTo>
                <a:lnTo>
                  <a:pt x="1109" y="563"/>
                </a:lnTo>
                <a:lnTo>
                  <a:pt x="1119" y="562"/>
                </a:lnTo>
                <a:lnTo>
                  <a:pt x="1129" y="562"/>
                </a:lnTo>
                <a:lnTo>
                  <a:pt x="1139" y="563"/>
                </a:lnTo>
                <a:lnTo>
                  <a:pt x="1142" y="569"/>
                </a:lnTo>
                <a:lnTo>
                  <a:pt x="1145" y="578"/>
                </a:lnTo>
                <a:lnTo>
                  <a:pt x="1151" y="578"/>
                </a:lnTo>
                <a:lnTo>
                  <a:pt x="1158" y="578"/>
                </a:lnTo>
                <a:lnTo>
                  <a:pt x="1159" y="594"/>
                </a:lnTo>
                <a:lnTo>
                  <a:pt x="1163" y="610"/>
                </a:lnTo>
                <a:lnTo>
                  <a:pt x="1168" y="623"/>
                </a:lnTo>
                <a:lnTo>
                  <a:pt x="1174" y="636"/>
                </a:lnTo>
                <a:lnTo>
                  <a:pt x="1182" y="646"/>
                </a:lnTo>
                <a:lnTo>
                  <a:pt x="1193" y="657"/>
                </a:lnTo>
                <a:lnTo>
                  <a:pt x="1203" y="666"/>
                </a:lnTo>
                <a:lnTo>
                  <a:pt x="1215" y="673"/>
                </a:lnTo>
                <a:lnTo>
                  <a:pt x="1228" y="681"/>
                </a:lnTo>
                <a:lnTo>
                  <a:pt x="1241" y="688"/>
                </a:lnTo>
                <a:lnTo>
                  <a:pt x="1255" y="694"/>
                </a:lnTo>
                <a:lnTo>
                  <a:pt x="1269" y="699"/>
                </a:lnTo>
                <a:lnTo>
                  <a:pt x="1298" y="710"/>
                </a:lnTo>
                <a:lnTo>
                  <a:pt x="1325" y="719"/>
                </a:lnTo>
                <a:lnTo>
                  <a:pt x="1318" y="738"/>
                </a:lnTo>
                <a:lnTo>
                  <a:pt x="1311" y="754"/>
                </a:lnTo>
                <a:lnTo>
                  <a:pt x="1299" y="775"/>
                </a:lnTo>
                <a:lnTo>
                  <a:pt x="1279" y="809"/>
                </a:lnTo>
                <a:lnTo>
                  <a:pt x="1262" y="815"/>
                </a:lnTo>
                <a:lnTo>
                  <a:pt x="1246" y="822"/>
                </a:lnTo>
                <a:lnTo>
                  <a:pt x="1230" y="830"/>
                </a:lnTo>
                <a:lnTo>
                  <a:pt x="1217" y="839"/>
                </a:lnTo>
                <a:lnTo>
                  <a:pt x="1190" y="859"/>
                </a:lnTo>
                <a:lnTo>
                  <a:pt x="1161" y="884"/>
                </a:lnTo>
                <a:lnTo>
                  <a:pt x="1163" y="900"/>
                </a:lnTo>
                <a:lnTo>
                  <a:pt x="1165" y="913"/>
                </a:lnTo>
                <a:lnTo>
                  <a:pt x="1168" y="925"/>
                </a:lnTo>
                <a:lnTo>
                  <a:pt x="1173" y="935"/>
                </a:lnTo>
                <a:lnTo>
                  <a:pt x="1187" y="953"/>
                </a:lnTo>
                <a:lnTo>
                  <a:pt x="1206" y="974"/>
                </a:lnTo>
                <a:lnTo>
                  <a:pt x="1203" y="982"/>
                </a:lnTo>
                <a:lnTo>
                  <a:pt x="1198" y="988"/>
                </a:lnTo>
                <a:lnTo>
                  <a:pt x="1193" y="993"/>
                </a:lnTo>
                <a:lnTo>
                  <a:pt x="1186" y="997"/>
                </a:lnTo>
                <a:lnTo>
                  <a:pt x="1172" y="1005"/>
                </a:lnTo>
                <a:lnTo>
                  <a:pt x="1156" y="1012"/>
                </a:lnTo>
                <a:lnTo>
                  <a:pt x="1156" y="1026"/>
                </a:lnTo>
                <a:lnTo>
                  <a:pt x="1156" y="1040"/>
                </a:lnTo>
                <a:lnTo>
                  <a:pt x="1156" y="1055"/>
                </a:lnTo>
                <a:lnTo>
                  <a:pt x="1158" y="1070"/>
                </a:lnTo>
                <a:lnTo>
                  <a:pt x="1142" y="1078"/>
                </a:lnTo>
                <a:lnTo>
                  <a:pt x="1126" y="1086"/>
                </a:lnTo>
                <a:lnTo>
                  <a:pt x="1111" y="1095"/>
                </a:lnTo>
                <a:lnTo>
                  <a:pt x="1095" y="1104"/>
                </a:lnTo>
                <a:lnTo>
                  <a:pt x="1095" y="1109"/>
                </a:lnTo>
                <a:lnTo>
                  <a:pt x="1095" y="1117"/>
                </a:lnTo>
                <a:lnTo>
                  <a:pt x="1081" y="1111"/>
                </a:lnTo>
                <a:lnTo>
                  <a:pt x="1067" y="1104"/>
                </a:lnTo>
                <a:lnTo>
                  <a:pt x="1053" y="1098"/>
                </a:lnTo>
                <a:lnTo>
                  <a:pt x="1040" y="1092"/>
                </a:lnTo>
                <a:lnTo>
                  <a:pt x="1038" y="1082"/>
                </a:lnTo>
                <a:lnTo>
                  <a:pt x="1035" y="1072"/>
                </a:lnTo>
                <a:lnTo>
                  <a:pt x="1033" y="1061"/>
                </a:lnTo>
                <a:lnTo>
                  <a:pt x="1029" y="1052"/>
                </a:lnTo>
                <a:lnTo>
                  <a:pt x="1012" y="1052"/>
                </a:lnTo>
                <a:lnTo>
                  <a:pt x="996" y="1052"/>
                </a:lnTo>
                <a:lnTo>
                  <a:pt x="979" y="1052"/>
                </a:lnTo>
                <a:lnTo>
                  <a:pt x="964" y="1053"/>
                </a:lnTo>
                <a:lnTo>
                  <a:pt x="956" y="1039"/>
                </a:lnTo>
                <a:lnTo>
                  <a:pt x="947" y="1026"/>
                </a:lnTo>
                <a:lnTo>
                  <a:pt x="936" y="1014"/>
                </a:lnTo>
                <a:lnTo>
                  <a:pt x="926" y="1004"/>
                </a:lnTo>
                <a:lnTo>
                  <a:pt x="914" y="996"/>
                </a:lnTo>
                <a:lnTo>
                  <a:pt x="903" y="988"/>
                </a:lnTo>
                <a:lnTo>
                  <a:pt x="891" y="984"/>
                </a:lnTo>
                <a:lnTo>
                  <a:pt x="878" y="980"/>
                </a:lnTo>
                <a:lnTo>
                  <a:pt x="866" y="980"/>
                </a:lnTo>
                <a:lnTo>
                  <a:pt x="853" y="982"/>
                </a:lnTo>
                <a:lnTo>
                  <a:pt x="841" y="986"/>
                </a:lnTo>
                <a:lnTo>
                  <a:pt x="830" y="991"/>
                </a:lnTo>
                <a:lnTo>
                  <a:pt x="818" y="1000"/>
                </a:lnTo>
                <a:lnTo>
                  <a:pt x="808" y="1010"/>
                </a:lnTo>
                <a:lnTo>
                  <a:pt x="798" y="1023"/>
                </a:lnTo>
                <a:lnTo>
                  <a:pt x="789" y="1040"/>
                </a:lnTo>
                <a:lnTo>
                  <a:pt x="788" y="1068"/>
                </a:lnTo>
                <a:lnTo>
                  <a:pt x="785" y="1090"/>
                </a:lnTo>
                <a:lnTo>
                  <a:pt x="784" y="1100"/>
                </a:lnTo>
                <a:lnTo>
                  <a:pt x="780" y="1111"/>
                </a:lnTo>
                <a:lnTo>
                  <a:pt x="778" y="1118"/>
                </a:lnTo>
                <a:lnTo>
                  <a:pt x="772" y="1127"/>
                </a:lnTo>
                <a:lnTo>
                  <a:pt x="767" y="1135"/>
                </a:lnTo>
                <a:lnTo>
                  <a:pt x="761" y="1142"/>
                </a:lnTo>
                <a:lnTo>
                  <a:pt x="754" y="1150"/>
                </a:lnTo>
                <a:lnTo>
                  <a:pt x="745" y="1156"/>
                </a:lnTo>
                <a:lnTo>
                  <a:pt x="735" y="1163"/>
                </a:lnTo>
                <a:lnTo>
                  <a:pt x="723" y="1169"/>
                </a:lnTo>
                <a:lnTo>
                  <a:pt x="711" y="1176"/>
                </a:lnTo>
                <a:lnTo>
                  <a:pt x="697" y="1182"/>
                </a:lnTo>
                <a:lnTo>
                  <a:pt x="651" y="1178"/>
                </a:lnTo>
                <a:lnTo>
                  <a:pt x="624" y="1176"/>
                </a:lnTo>
                <a:lnTo>
                  <a:pt x="619" y="1177"/>
                </a:lnTo>
                <a:lnTo>
                  <a:pt x="614" y="1178"/>
                </a:lnTo>
                <a:lnTo>
                  <a:pt x="609" y="1181"/>
                </a:lnTo>
                <a:lnTo>
                  <a:pt x="603" y="1186"/>
                </a:lnTo>
                <a:lnTo>
                  <a:pt x="592" y="1199"/>
                </a:lnTo>
                <a:lnTo>
                  <a:pt x="577" y="1219"/>
                </a:lnTo>
                <a:lnTo>
                  <a:pt x="572" y="1254"/>
                </a:lnTo>
                <a:lnTo>
                  <a:pt x="566" y="1287"/>
                </a:lnTo>
                <a:lnTo>
                  <a:pt x="562" y="1304"/>
                </a:lnTo>
                <a:lnTo>
                  <a:pt x="557" y="1321"/>
                </a:lnTo>
                <a:lnTo>
                  <a:pt x="550" y="1337"/>
                </a:lnTo>
                <a:lnTo>
                  <a:pt x="542" y="1354"/>
                </a:lnTo>
                <a:lnTo>
                  <a:pt x="525" y="1346"/>
                </a:lnTo>
                <a:lnTo>
                  <a:pt x="514" y="1342"/>
                </a:lnTo>
                <a:lnTo>
                  <a:pt x="501" y="1341"/>
                </a:lnTo>
                <a:lnTo>
                  <a:pt x="482" y="1340"/>
                </a:lnTo>
                <a:lnTo>
                  <a:pt x="480" y="1347"/>
                </a:lnTo>
                <a:lnTo>
                  <a:pt x="478" y="1354"/>
                </a:lnTo>
                <a:lnTo>
                  <a:pt x="477" y="1363"/>
                </a:lnTo>
                <a:lnTo>
                  <a:pt x="475" y="1376"/>
                </a:lnTo>
                <a:lnTo>
                  <a:pt x="471" y="1418"/>
                </a:lnTo>
                <a:lnTo>
                  <a:pt x="465" y="1496"/>
                </a:lnTo>
                <a:lnTo>
                  <a:pt x="458" y="1498"/>
                </a:lnTo>
                <a:lnTo>
                  <a:pt x="452" y="1502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72" name="Freeform 37"/>
          <p:cNvSpPr>
            <a:spLocks/>
          </p:cNvSpPr>
          <p:nvPr/>
        </p:nvSpPr>
        <p:spPr bwMode="auto">
          <a:xfrm>
            <a:off x="1651000" y="3062288"/>
            <a:ext cx="277813" cy="209550"/>
          </a:xfrm>
          <a:custGeom>
            <a:avLst/>
            <a:gdLst>
              <a:gd name="T0" fmla="*/ 2147483647 w 697"/>
              <a:gd name="T1" fmla="*/ 2147483647 h 526"/>
              <a:gd name="T2" fmla="*/ 2147483647 w 697"/>
              <a:gd name="T3" fmla="*/ 2147483647 h 526"/>
              <a:gd name="T4" fmla="*/ 2147483647 w 697"/>
              <a:gd name="T5" fmla="*/ 2147483647 h 526"/>
              <a:gd name="T6" fmla="*/ 2147483647 w 697"/>
              <a:gd name="T7" fmla="*/ 2147483647 h 526"/>
              <a:gd name="T8" fmla="*/ 2147483647 w 697"/>
              <a:gd name="T9" fmla="*/ 2147483647 h 526"/>
              <a:gd name="T10" fmla="*/ 2147483647 w 697"/>
              <a:gd name="T11" fmla="*/ 2147483647 h 526"/>
              <a:gd name="T12" fmla="*/ 2147483647 w 697"/>
              <a:gd name="T13" fmla="*/ 2147483647 h 526"/>
              <a:gd name="T14" fmla="*/ 2147483647 w 697"/>
              <a:gd name="T15" fmla="*/ 2147483647 h 526"/>
              <a:gd name="T16" fmla="*/ 2147483647 w 697"/>
              <a:gd name="T17" fmla="*/ 2147483647 h 526"/>
              <a:gd name="T18" fmla="*/ 2147483647 w 697"/>
              <a:gd name="T19" fmla="*/ 2147483647 h 526"/>
              <a:gd name="T20" fmla="*/ 2147483647 w 697"/>
              <a:gd name="T21" fmla="*/ 2147483647 h 526"/>
              <a:gd name="T22" fmla="*/ 2147483647 w 697"/>
              <a:gd name="T23" fmla="*/ 2147483647 h 526"/>
              <a:gd name="T24" fmla="*/ 2147483647 w 697"/>
              <a:gd name="T25" fmla="*/ 2147483647 h 526"/>
              <a:gd name="T26" fmla="*/ 2147483647 w 697"/>
              <a:gd name="T27" fmla="*/ 2147483647 h 526"/>
              <a:gd name="T28" fmla="*/ 2147483647 w 697"/>
              <a:gd name="T29" fmla="*/ 2147483647 h 526"/>
              <a:gd name="T30" fmla="*/ 2147483647 w 697"/>
              <a:gd name="T31" fmla="*/ 2147483647 h 526"/>
              <a:gd name="T32" fmla="*/ 2147483647 w 697"/>
              <a:gd name="T33" fmla="*/ 2147483647 h 526"/>
              <a:gd name="T34" fmla="*/ 2147483647 w 697"/>
              <a:gd name="T35" fmla="*/ 2147483647 h 526"/>
              <a:gd name="T36" fmla="*/ 2147483647 w 697"/>
              <a:gd name="T37" fmla="*/ 2147483647 h 526"/>
              <a:gd name="T38" fmla="*/ 2147483647 w 697"/>
              <a:gd name="T39" fmla="*/ 2147483647 h 526"/>
              <a:gd name="T40" fmla="*/ 2147483647 w 697"/>
              <a:gd name="T41" fmla="*/ 2147483647 h 526"/>
              <a:gd name="T42" fmla="*/ 2147483647 w 697"/>
              <a:gd name="T43" fmla="*/ 2147483647 h 526"/>
              <a:gd name="T44" fmla="*/ 2147483647 w 697"/>
              <a:gd name="T45" fmla="*/ 2147483647 h 526"/>
              <a:gd name="T46" fmla="*/ 2147483647 w 697"/>
              <a:gd name="T47" fmla="*/ 2147483647 h 526"/>
              <a:gd name="T48" fmla="*/ 2147483647 w 697"/>
              <a:gd name="T49" fmla="*/ 2147483647 h 526"/>
              <a:gd name="T50" fmla="*/ 2147483647 w 697"/>
              <a:gd name="T51" fmla="*/ 2147483647 h 526"/>
              <a:gd name="T52" fmla="*/ 2147483647 w 697"/>
              <a:gd name="T53" fmla="*/ 2147483647 h 526"/>
              <a:gd name="T54" fmla="*/ 2147483647 w 697"/>
              <a:gd name="T55" fmla="*/ 2147483647 h 526"/>
              <a:gd name="T56" fmla="*/ 2147483647 w 697"/>
              <a:gd name="T57" fmla="*/ 2147483647 h 526"/>
              <a:gd name="T58" fmla="*/ 2147483647 w 697"/>
              <a:gd name="T59" fmla="*/ 2147483647 h 526"/>
              <a:gd name="T60" fmla="*/ 2147483647 w 697"/>
              <a:gd name="T61" fmla="*/ 2147483647 h 526"/>
              <a:gd name="T62" fmla="*/ 2147483647 w 697"/>
              <a:gd name="T63" fmla="*/ 2147483647 h 526"/>
              <a:gd name="T64" fmla="*/ 2147483647 w 697"/>
              <a:gd name="T65" fmla="*/ 2147483647 h 526"/>
              <a:gd name="T66" fmla="*/ 2147483647 w 697"/>
              <a:gd name="T67" fmla="*/ 2147483647 h 526"/>
              <a:gd name="T68" fmla="*/ 2147483647 w 697"/>
              <a:gd name="T69" fmla="*/ 2147483647 h 526"/>
              <a:gd name="T70" fmla="*/ 2147483647 w 697"/>
              <a:gd name="T71" fmla="*/ 2147483647 h 526"/>
              <a:gd name="T72" fmla="*/ 2147483647 w 697"/>
              <a:gd name="T73" fmla="*/ 2147483647 h 526"/>
              <a:gd name="T74" fmla="*/ 2147483647 w 697"/>
              <a:gd name="T75" fmla="*/ 2147483647 h 526"/>
              <a:gd name="T76" fmla="*/ 2147483647 w 697"/>
              <a:gd name="T77" fmla="*/ 2147483647 h 526"/>
              <a:gd name="T78" fmla="*/ 2147483647 w 697"/>
              <a:gd name="T79" fmla="*/ 2147483647 h 526"/>
              <a:gd name="T80" fmla="*/ 2147483647 w 697"/>
              <a:gd name="T81" fmla="*/ 2147483647 h 526"/>
              <a:gd name="T82" fmla="*/ 2147483647 w 697"/>
              <a:gd name="T83" fmla="*/ 2147483647 h 526"/>
              <a:gd name="T84" fmla="*/ 2147483647 w 697"/>
              <a:gd name="T85" fmla="*/ 2147483647 h 526"/>
              <a:gd name="T86" fmla="*/ 2147483647 w 697"/>
              <a:gd name="T87" fmla="*/ 2147483647 h 526"/>
              <a:gd name="T88" fmla="*/ 2147483647 w 697"/>
              <a:gd name="T89" fmla="*/ 2147483647 h 526"/>
              <a:gd name="T90" fmla="*/ 2147483647 w 697"/>
              <a:gd name="T91" fmla="*/ 2147483647 h 526"/>
              <a:gd name="T92" fmla="*/ 2147483647 w 697"/>
              <a:gd name="T93" fmla="*/ 2147483647 h 526"/>
              <a:gd name="T94" fmla="*/ 2147483647 w 697"/>
              <a:gd name="T95" fmla="*/ 2147483647 h 526"/>
              <a:gd name="T96" fmla="*/ 2147483647 w 697"/>
              <a:gd name="T97" fmla="*/ 2147483647 h 526"/>
              <a:gd name="T98" fmla="*/ 2147483647 w 697"/>
              <a:gd name="T99" fmla="*/ 2147483647 h 526"/>
              <a:gd name="T100" fmla="*/ 2147483647 w 697"/>
              <a:gd name="T101" fmla="*/ 2147483647 h 526"/>
              <a:gd name="T102" fmla="*/ 2147483647 w 697"/>
              <a:gd name="T103" fmla="*/ 2147483647 h 5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697"/>
              <a:gd name="T157" fmla="*/ 0 h 526"/>
              <a:gd name="T158" fmla="*/ 697 w 697"/>
              <a:gd name="T159" fmla="*/ 526 h 52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697" h="526">
                <a:moveTo>
                  <a:pt x="581" y="526"/>
                </a:moveTo>
                <a:lnTo>
                  <a:pt x="557" y="516"/>
                </a:lnTo>
                <a:lnTo>
                  <a:pt x="533" y="509"/>
                </a:lnTo>
                <a:lnTo>
                  <a:pt x="511" y="505"/>
                </a:lnTo>
                <a:lnTo>
                  <a:pt x="489" y="501"/>
                </a:lnTo>
                <a:lnTo>
                  <a:pt x="467" y="500"/>
                </a:lnTo>
                <a:lnTo>
                  <a:pt x="445" y="500"/>
                </a:lnTo>
                <a:lnTo>
                  <a:pt x="419" y="500"/>
                </a:lnTo>
                <a:lnTo>
                  <a:pt x="393" y="501"/>
                </a:lnTo>
                <a:lnTo>
                  <a:pt x="387" y="490"/>
                </a:lnTo>
                <a:lnTo>
                  <a:pt x="384" y="480"/>
                </a:lnTo>
                <a:lnTo>
                  <a:pt x="380" y="470"/>
                </a:lnTo>
                <a:lnTo>
                  <a:pt x="376" y="461"/>
                </a:lnTo>
                <a:lnTo>
                  <a:pt x="364" y="457"/>
                </a:lnTo>
                <a:lnTo>
                  <a:pt x="354" y="450"/>
                </a:lnTo>
                <a:lnTo>
                  <a:pt x="344" y="444"/>
                </a:lnTo>
                <a:lnTo>
                  <a:pt x="334" y="436"/>
                </a:lnTo>
                <a:lnTo>
                  <a:pt x="316" y="419"/>
                </a:lnTo>
                <a:lnTo>
                  <a:pt x="299" y="405"/>
                </a:lnTo>
                <a:lnTo>
                  <a:pt x="291" y="399"/>
                </a:lnTo>
                <a:lnTo>
                  <a:pt x="285" y="397"/>
                </a:lnTo>
                <a:lnTo>
                  <a:pt x="281" y="397"/>
                </a:lnTo>
                <a:lnTo>
                  <a:pt x="278" y="397"/>
                </a:lnTo>
                <a:lnTo>
                  <a:pt x="276" y="398"/>
                </a:lnTo>
                <a:lnTo>
                  <a:pt x="272" y="401"/>
                </a:lnTo>
                <a:lnTo>
                  <a:pt x="269" y="403"/>
                </a:lnTo>
                <a:lnTo>
                  <a:pt x="266" y="407"/>
                </a:lnTo>
                <a:lnTo>
                  <a:pt x="264" y="412"/>
                </a:lnTo>
                <a:lnTo>
                  <a:pt x="261" y="419"/>
                </a:lnTo>
                <a:lnTo>
                  <a:pt x="257" y="435"/>
                </a:lnTo>
                <a:lnTo>
                  <a:pt x="253" y="457"/>
                </a:lnTo>
                <a:lnTo>
                  <a:pt x="248" y="455"/>
                </a:lnTo>
                <a:lnTo>
                  <a:pt x="242" y="455"/>
                </a:lnTo>
                <a:lnTo>
                  <a:pt x="237" y="453"/>
                </a:lnTo>
                <a:lnTo>
                  <a:pt x="231" y="451"/>
                </a:lnTo>
                <a:lnTo>
                  <a:pt x="222" y="445"/>
                </a:lnTo>
                <a:lnTo>
                  <a:pt x="214" y="438"/>
                </a:lnTo>
                <a:lnTo>
                  <a:pt x="207" y="428"/>
                </a:lnTo>
                <a:lnTo>
                  <a:pt x="201" y="418"/>
                </a:lnTo>
                <a:lnTo>
                  <a:pt x="196" y="406"/>
                </a:lnTo>
                <a:lnTo>
                  <a:pt x="192" y="394"/>
                </a:lnTo>
                <a:lnTo>
                  <a:pt x="187" y="368"/>
                </a:lnTo>
                <a:lnTo>
                  <a:pt x="183" y="342"/>
                </a:lnTo>
                <a:lnTo>
                  <a:pt x="181" y="319"/>
                </a:lnTo>
                <a:lnTo>
                  <a:pt x="179" y="301"/>
                </a:lnTo>
                <a:lnTo>
                  <a:pt x="170" y="287"/>
                </a:lnTo>
                <a:lnTo>
                  <a:pt x="161" y="274"/>
                </a:lnTo>
                <a:lnTo>
                  <a:pt x="153" y="261"/>
                </a:lnTo>
                <a:lnTo>
                  <a:pt x="144" y="248"/>
                </a:lnTo>
                <a:lnTo>
                  <a:pt x="130" y="248"/>
                </a:lnTo>
                <a:lnTo>
                  <a:pt x="116" y="248"/>
                </a:lnTo>
                <a:lnTo>
                  <a:pt x="108" y="256"/>
                </a:lnTo>
                <a:lnTo>
                  <a:pt x="99" y="260"/>
                </a:lnTo>
                <a:lnTo>
                  <a:pt x="91" y="264"/>
                </a:lnTo>
                <a:lnTo>
                  <a:pt x="82" y="265"/>
                </a:lnTo>
                <a:lnTo>
                  <a:pt x="74" y="264"/>
                </a:lnTo>
                <a:lnTo>
                  <a:pt x="65" y="263"/>
                </a:lnTo>
                <a:lnTo>
                  <a:pt x="57" y="259"/>
                </a:lnTo>
                <a:lnTo>
                  <a:pt x="49" y="255"/>
                </a:lnTo>
                <a:lnTo>
                  <a:pt x="41" y="250"/>
                </a:lnTo>
                <a:lnTo>
                  <a:pt x="34" y="243"/>
                </a:lnTo>
                <a:lnTo>
                  <a:pt x="27" y="235"/>
                </a:lnTo>
                <a:lnTo>
                  <a:pt x="21" y="228"/>
                </a:lnTo>
                <a:lnTo>
                  <a:pt x="9" y="212"/>
                </a:lnTo>
                <a:lnTo>
                  <a:pt x="0" y="195"/>
                </a:lnTo>
                <a:lnTo>
                  <a:pt x="11" y="174"/>
                </a:lnTo>
                <a:lnTo>
                  <a:pt x="23" y="155"/>
                </a:lnTo>
                <a:lnTo>
                  <a:pt x="35" y="137"/>
                </a:lnTo>
                <a:lnTo>
                  <a:pt x="47" y="117"/>
                </a:lnTo>
                <a:lnTo>
                  <a:pt x="66" y="113"/>
                </a:lnTo>
                <a:lnTo>
                  <a:pt x="88" y="109"/>
                </a:lnTo>
                <a:lnTo>
                  <a:pt x="109" y="105"/>
                </a:lnTo>
                <a:lnTo>
                  <a:pt x="131" y="103"/>
                </a:lnTo>
                <a:lnTo>
                  <a:pt x="135" y="92"/>
                </a:lnTo>
                <a:lnTo>
                  <a:pt x="139" y="82"/>
                </a:lnTo>
                <a:lnTo>
                  <a:pt x="144" y="72"/>
                </a:lnTo>
                <a:lnTo>
                  <a:pt x="148" y="62"/>
                </a:lnTo>
                <a:lnTo>
                  <a:pt x="162" y="56"/>
                </a:lnTo>
                <a:lnTo>
                  <a:pt x="177" y="52"/>
                </a:lnTo>
                <a:lnTo>
                  <a:pt x="179" y="39"/>
                </a:lnTo>
                <a:lnTo>
                  <a:pt x="181" y="26"/>
                </a:lnTo>
                <a:lnTo>
                  <a:pt x="183" y="13"/>
                </a:lnTo>
                <a:lnTo>
                  <a:pt x="187" y="0"/>
                </a:lnTo>
                <a:lnTo>
                  <a:pt x="192" y="5"/>
                </a:lnTo>
                <a:lnTo>
                  <a:pt x="199" y="10"/>
                </a:lnTo>
                <a:lnTo>
                  <a:pt x="205" y="18"/>
                </a:lnTo>
                <a:lnTo>
                  <a:pt x="210" y="26"/>
                </a:lnTo>
                <a:lnTo>
                  <a:pt x="225" y="43"/>
                </a:lnTo>
                <a:lnTo>
                  <a:pt x="239" y="59"/>
                </a:lnTo>
                <a:lnTo>
                  <a:pt x="256" y="57"/>
                </a:lnTo>
                <a:lnTo>
                  <a:pt x="270" y="57"/>
                </a:lnTo>
                <a:lnTo>
                  <a:pt x="283" y="59"/>
                </a:lnTo>
                <a:lnTo>
                  <a:pt x="295" y="60"/>
                </a:lnTo>
                <a:lnTo>
                  <a:pt x="304" y="62"/>
                </a:lnTo>
                <a:lnTo>
                  <a:pt x="311" y="66"/>
                </a:lnTo>
                <a:lnTo>
                  <a:pt x="318" y="72"/>
                </a:lnTo>
                <a:lnTo>
                  <a:pt x="324" y="77"/>
                </a:lnTo>
                <a:lnTo>
                  <a:pt x="343" y="109"/>
                </a:lnTo>
                <a:lnTo>
                  <a:pt x="372" y="156"/>
                </a:lnTo>
                <a:lnTo>
                  <a:pt x="369" y="191"/>
                </a:lnTo>
                <a:lnTo>
                  <a:pt x="371" y="220"/>
                </a:lnTo>
                <a:lnTo>
                  <a:pt x="372" y="233"/>
                </a:lnTo>
                <a:lnTo>
                  <a:pt x="373" y="243"/>
                </a:lnTo>
                <a:lnTo>
                  <a:pt x="376" y="254"/>
                </a:lnTo>
                <a:lnTo>
                  <a:pt x="380" y="261"/>
                </a:lnTo>
                <a:lnTo>
                  <a:pt x="384" y="269"/>
                </a:lnTo>
                <a:lnTo>
                  <a:pt x="387" y="276"/>
                </a:lnTo>
                <a:lnTo>
                  <a:pt x="391" y="281"/>
                </a:lnTo>
                <a:lnTo>
                  <a:pt x="397" y="286"/>
                </a:lnTo>
                <a:lnTo>
                  <a:pt x="403" y="289"/>
                </a:lnTo>
                <a:lnTo>
                  <a:pt x="410" y="291"/>
                </a:lnTo>
                <a:lnTo>
                  <a:pt x="416" y="294"/>
                </a:lnTo>
                <a:lnTo>
                  <a:pt x="423" y="295"/>
                </a:lnTo>
                <a:lnTo>
                  <a:pt x="438" y="295"/>
                </a:lnTo>
                <a:lnTo>
                  <a:pt x="454" y="294"/>
                </a:lnTo>
                <a:lnTo>
                  <a:pt x="472" y="291"/>
                </a:lnTo>
                <a:lnTo>
                  <a:pt x="490" y="287"/>
                </a:lnTo>
                <a:lnTo>
                  <a:pt x="531" y="277"/>
                </a:lnTo>
                <a:lnTo>
                  <a:pt x="573" y="269"/>
                </a:lnTo>
                <a:lnTo>
                  <a:pt x="573" y="263"/>
                </a:lnTo>
                <a:lnTo>
                  <a:pt x="573" y="256"/>
                </a:lnTo>
                <a:lnTo>
                  <a:pt x="585" y="252"/>
                </a:lnTo>
                <a:lnTo>
                  <a:pt x="597" y="247"/>
                </a:lnTo>
                <a:lnTo>
                  <a:pt x="609" y="243"/>
                </a:lnTo>
                <a:lnTo>
                  <a:pt x="622" y="239"/>
                </a:lnTo>
                <a:lnTo>
                  <a:pt x="626" y="261"/>
                </a:lnTo>
                <a:lnTo>
                  <a:pt x="628" y="278"/>
                </a:lnTo>
                <a:lnTo>
                  <a:pt x="629" y="284"/>
                </a:lnTo>
                <a:lnTo>
                  <a:pt x="632" y="289"/>
                </a:lnTo>
                <a:lnTo>
                  <a:pt x="633" y="294"/>
                </a:lnTo>
                <a:lnTo>
                  <a:pt x="637" y="297"/>
                </a:lnTo>
                <a:lnTo>
                  <a:pt x="640" y="299"/>
                </a:lnTo>
                <a:lnTo>
                  <a:pt x="644" y="302"/>
                </a:lnTo>
                <a:lnTo>
                  <a:pt x="649" y="304"/>
                </a:lnTo>
                <a:lnTo>
                  <a:pt x="655" y="306"/>
                </a:lnTo>
                <a:lnTo>
                  <a:pt x="671" y="308"/>
                </a:lnTo>
                <a:lnTo>
                  <a:pt x="692" y="312"/>
                </a:lnTo>
                <a:lnTo>
                  <a:pt x="696" y="325"/>
                </a:lnTo>
                <a:lnTo>
                  <a:pt x="697" y="341"/>
                </a:lnTo>
                <a:lnTo>
                  <a:pt x="696" y="358"/>
                </a:lnTo>
                <a:lnTo>
                  <a:pt x="694" y="375"/>
                </a:lnTo>
                <a:lnTo>
                  <a:pt x="688" y="407"/>
                </a:lnTo>
                <a:lnTo>
                  <a:pt x="683" y="437"/>
                </a:lnTo>
                <a:lnTo>
                  <a:pt x="675" y="437"/>
                </a:lnTo>
                <a:lnTo>
                  <a:pt x="668" y="440"/>
                </a:lnTo>
                <a:lnTo>
                  <a:pt x="662" y="442"/>
                </a:lnTo>
                <a:lnTo>
                  <a:pt x="657" y="446"/>
                </a:lnTo>
                <a:lnTo>
                  <a:pt x="653" y="451"/>
                </a:lnTo>
                <a:lnTo>
                  <a:pt x="649" y="457"/>
                </a:lnTo>
                <a:lnTo>
                  <a:pt x="645" y="463"/>
                </a:lnTo>
                <a:lnTo>
                  <a:pt x="642" y="470"/>
                </a:lnTo>
                <a:lnTo>
                  <a:pt x="635" y="498"/>
                </a:lnTo>
                <a:lnTo>
                  <a:pt x="631" y="526"/>
                </a:lnTo>
                <a:lnTo>
                  <a:pt x="618" y="526"/>
                </a:lnTo>
                <a:lnTo>
                  <a:pt x="605" y="526"/>
                </a:lnTo>
                <a:lnTo>
                  <a:pt x="593" y="526"/>
                </a:lnTo>
                <a:lnTo>
                  <a:pt x="581" y="526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73" name="Freeform 38"/>
          <p:cNvSpPr>
            <a:spLocks/>
          </p:cNvSpPr>
          <p:nvPr/>
        </p:nvSpPr>
        <p:spPr bwMode="auto">
          <a:xfrm>
            <a:off x="1925638" y="3109913"/>
            <a:ext cx="169862" cy="157162"/>
          </a:xfrm>
          <a:custGeom>
            <a:avLst/>
            <a:gdLst>
              <a:gd name="T0" fmla="*/ 2147483647 w 428"/>
              <a:gd name="T1" fmla="*/ 2147483647 h 394"/>
              <a:gd name="T2" fmla="*/ 2147483647 w 428"/>
              <a:gd name="T3" fmla="*/ 2147483647 h 394"/>
              <a:gd name="T4" fmla="*/ 2147483647 w 428"/>
              <a:gd name="T5" fmla="*/ 2147483647 h 394"/>
              <a:gd name="T6" fmla="*/ 2147483647 w 428"/>
              <a:gd name="T7" fmla="*/ 2147483647 h 394"/>
              <a:gd name="T8" fmla="*/ 2147483647 w 428"/>
              <a:gd name="T9" fmla="*/ 2147483647 h 394"/>
              <a:gd name="T10" fmla="*/ 2147483647 w 428"/>
              <a:gd name="T11" fmla="*/ 2147483647 h 394"/>
              <a:gd name="T12" fmla="*/ 2147483647 w 428"/>
              <a:gd name="T13" fmla="*/ 2147483647 h 394"/>
              <a:gd name="T14" fmla="*/ 2147483647 w 428"/>
              <a:gd name="T15" fmla="*/ 2147483647 h 394"/>
              <a:gd name="T16" fmla="*/ 2147483647 w 428"/>
              <a:gd name="T17" fmla="*/ 2147483647 h 394"/>
              <a:gd name="T18" fmla="*/ 2147483647 w 428"/>
              <a:gd name="T19" fmla="*/ 2147483647 h 394"/>
              <a:gd name="T20" fmla="*/ 2147483647 w 428"/>
              <a:gd name="T21" fmla="*/ 2147483647 h 394"/>
              <a:gd name="T22" fmla="*/ 2147483647 w 428"/>
              <a:gd name="T23" fmla="*/ 2147483647 h 394"/>
              <a:gd name="T24" fmla="*/ 2147483647 w 428"/>
              <a:gd name="T25" fmla="*/ 2147483647 h 394"/>
              <a:gd name="T26" fmla="*/ 2147483647 w 428"/>
              <a:gd name="T27" fmla="*/ 2147483647 h 394"/>
              <a:gd name="T28" fmla="*/ 2147483647 w 428"/>
              <a:gd name="T29" fmla="*/ 2147483647 h 394"/>
              <a:gd name="T30" fmla="*/ 2147483647 w 428"/>
              <a:gd name="T31" fmla="*/ 0 h 394"/>
              <a:gd name="T32" fmla="*/ 2147483647 w 428"/>
              <a:gd name="T33" fmla="*/ 2147483647 h 394"/>
              <a:gd name="T34" fmla="*/ 2147483647 w 428"/>
              <a:gd name="T35" fmla="*/ 2147483647 h 394"/>
              <a:gd name="T36" fmla="*/ 2147483647 w 428"/>
              <a:gd name="T37" fmla="*/ 2147483647 h 394"/>
              <a:gd name="T38" fmla="*/ 2147483647 w 428"/>
              <a:gd name="T39" fmla="*/ 2147483647 h 394"/>
              <a:gd name="T40" fmla="*/ 2147483647 w 428"/>
              <a:gd name="T41" fmla="*/ 2147483647 h 394"/>
              <a:gd name="T42" fmla="*/ 2147483647 w 428"/>
              <a:gd name="T43" fmla="*/ 2147483647 h 394"/>
              <a:gd name="T44" fmla="*/ 2147483647 w 428"/>
              <a:gd name="T45" fmla="*/ 2147483647 h 394"/>
              <a:gd name="T46" fmla="*/ 2147483647 w 428"/>
              <a:gd name="T47" fmla="*/ 2147483647 h 394"/>
              <a:gd name="T48" fmla="*/ 2147483647 w 428"/>
              <a:gd name="T49" fmla="*/ 2147483647 h 394"/>
              <a:gd name="T50" fmla="*/ 2147483647 w 428"/>
              <a:gd name="T51" fmla="*/ 2147483647 h 394"/>
              <a:gd name="T52" fmla="*/ 2147483647 w 428"/>
              <a:gd name="T53" fmla="*/ 2147483647 h 394"/>
              <a:gd name="T54" fmla="*/ 2147483647 w 428"/>
              <a:gd name="T55" fmla="*/ 2147483647 h 394"/>
              <a:gd name="T56" fmla="*/ 2147483647 w 428"/>
              <a:gd name="T57" fmla="*/ 2147483647 h 394"/>
              <a:gd name="T58" fmla="*/ 2147483647 w 428"/>
              <a:gd name="T59" fmla="*/ 2147483647 h 394"/>
              <a:gd name="T60" fmla="*/ 2147483647 w 428"/>
              <a:gd name="T61" fmla="*/ 2147483647 h 394"/>
              <a:gd name="T62" fmla="*/ 2147483647 w 428"/>
              <a:gd name="T63" fmla="*/ 2147483647 h 394"/>
              <a:gd name="T64" fmla="*/ 2147483647 w 428"/>
              <a:gd name="T65" fmla="*/ 2147483647 h 394"/>
              <a:gd name="T66" fmla="*/ 2147483647 w 428"/>
              <a:gd name="T67" fmla="*/ 2147483647 h 394"/>
              <a:gd name="T68" fmla="*/ 2147483647 w 428"/>
              <a:gd name="T69" fmla="*/ 2147483647 h 394"/>
              <a:gd name="T70" fmla="*/ 2147483647 w 428"/>
              <a:gd name="T71" fmla="*/ 2147483647 h 394"/>
              <a:gd name="T72" fmla="*/ 2147483647 w 428"/>
              <a:gd name="T73" fmla="*/ 2147483647 h 394"/>
              <a:gd name="T74" fmla="*/ 2147483647 w 428"/>
              <a:gd name="T75" fmla="*/ 2147483647 h 394"/>
              <a:gd name="T76" fmla="*/ 2147483647 w 428"/>
              <a:gd name="T77" fmla="*/ 2147483647 h 394"/>
              <a:gd name="T78" fmla="*/ 2147483647 w 428"/>
              <a:gd name="T79" fmla="*/ 2147483647 h 394"/>
              <a:gd name="T80" fmla="*/ 2147483647 w 428"/>
              <a:gd name="T81" fmla="*/ 2147483647 h 394"/>
              <a:gd name="T82" fmla="*/ 2147483647 w 428"/>
              <a:gd name="T83" fmla="*/ 2147483647 h 394"/>
              <a:gd name="T84" fmla="*/ 2147483647 w 428"/>
              <a:gd name="T85" fmla="*/ 2147483647 h 394"/>
              <a:gd name="T86" fmla="*/ 2147483647 w 428"/>
              <a:gd name="T87" fmla="*/ 2147483647 h 394"/>
              <a:gd name="T88" fmla="*/ 2147483647 w 428"/>
              <a:gd name="T89" fmla="*/ 2147483647 h 394"/>
              <a:gd name="T90" fmla="*/ 2147483647 w 428"/>
              <a:gd name="T91" fmla="*/ 2147483647 h 394"/>
              <a:gd name="T92" fmla="*/ 2147483647 w 428"/>
              <a:gd name="T93" fmla="*/ 2147483647 h 39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28"/>
              <a:gd name="T142" fmla="*/ 0 h 394"/>
              <a:gd name="T143" fmla="*/ 428 w 428"/>
              <a:gd name="T144" fmla="*/ 394 h 39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28" h="394">
                <a:moveTo>
                  <a:pt x="62" y="394"/>
                </a:moveTo>
                <a:lnTo>
                  <a:pt x="48" y="377"/>
                </a:lnTo>
                <a:lnTo>
                  <a:pt x="28" y="359"/>
                </a:lnTo>
                <a:lnTo>
                  <a:pt x="12" y="342"/>
                </a:lnTo>
                <a:lnTo>
                  <a:pt x="0" y="329"/>
                </a:lnTo>
                <a:lnTo>
                  <a:pt x="8" y="277"/>
                </a:lnTo>
                <a:lnTo>
                  <a:pt x="12" y="248"/>
                </a:lnTo>
                <a:lnTo>
                  <a:pt x="15" y="233"/>
                </a:lnTo>
                <a:lnTo>
                  <a:pt x="19" y="218"/>
                </a:lnTo>
                <a:lnTo>
                  <a:pt x="17" y="201"/>
                </a:lnTo>
                <a:lnTo>
                  <a:pt x="13" y="187"/>
                </a:lnTo>
                <a:lnTo>
                  <a:pt x="9" y="175"/>
                </a:lnTo>
                <a:lnTo>
                  <a:pt x="8" y="160"/>
                </a:lnTo>
                <a:lnTo>
                  <a:pt x="15" y="157"/>
                </a:lnTo>
                <a:lnTo>
                  <a:pt x="25" y="154"/>
                </a:lnTo>
                <a:lnTo>
                  <a:pt x="36" y="153"/>
                </a:lnTo>
                <a:lnTo>
                  <a:pt x="51" y="152"/>
                </a:lnTo>
                <a:lnTo>
                  <a:pt x="83" y="148"/>
                </a:lnTo>
                <a:lnTo>
                  <a:pt x="120" y="141"/>
                </a:lnTo>
                <a:lnTo>
                  <a:pt x="118" y="128"/>
                </a:lnTo>
                <a:lnTo>
                  <a:pt x="114" y="114"/>
                </a:lnTo>
                <a:lnTo>
                  <a:pt x="109" y="101"/>
                </a:lnTo>
                <a:lnTo>
                  <a:pt x="103" y="88"/>
                </a:lnTo>
                <a:lnTo>
                  <a:pt x="96" y="75"/>
                </a:lnTo>
                <a:lnTo>
                  <a:pt x="92" y="61"/>
                </a:lnTo>
                <a:lnTo>
                  <a:pt x="91" y="54"/>
                </a:lnTo>
                <a:lnTo>
                  <a:pt x="90" y="47"/>
                </a:lnTo>
                <a:lnTo>
                  <a:pt x="90" y="40"/>
                </a:lnTo>
                <a:lnTo>
                  <a:pt x="91" y="32"/>
                </a:lnTo>
                <a:lnTo>
                  <a:pt x="135" y="14"/>
                </a:lnTo>
                <a:lnTo>
                  <a:pt x="170" y="1"/>
                </a:lnTo>
                <a:lnTo>
                  <a:pt x="178" y="0"/>
                </a:lnTo>
                <a:lnTo>
                  <a:pt x="186" y="0"/>
                </a:lnTo>
                <a:lnTo>
                  <a:pt x="195" y="1"/>
                </a:lnTo>
                <a:lnTo>
                  <a:pt x="203" y="2"/>
                </a:lnTo>
                <a:lnTo>
                  <a:pt x="212" y="6"/>
                </a:lnTo>
                <a:lnTo>
                  <a:pt x="222" y="11"/>
                </a:lnTo>
                <a:lnTo>
                  <a:pt x="231" y="18"/>
                </a:lnTo>
                <a:lnTo>
                  <a:pt x="243" y="27"/>
                </a:lnTo>
                <a:lnTo>
                  <a:pt x="270" y="30"/>
                </a:lnTo>
                <a:lnTo>
                  <a:pt x="299" y="32"/>
                </a:lnTo>
                <a:lnTo>
                  <a:pt x="328" y="36"/>
                </a:lnTo>
                <a:lnTo>
                  <a:pt x="356" y="40"/>
                </a:lnTo>
                <a:lnTo>
                  <a:pt x="356" y="71"/>
                </a:lnTo>
                <a:lnTo>
                  <a:pt x="356" y="101"/>
                </a:lnTo>
                <a:lnTo>
                  <a:pt x="356" y="115"/>
                </a:lnTo>
                <a:lnTo>
                  <a:pt x="358" y="130"/>
                </a:lnTo>
                <a:lnTo>
                  <a:pt x="359" y="144"/>
                </a:lnTo>
                <a:lnTo>
                  <a:pt x="362" y="157"/>
                </a:lnTo>
                <a:lnTo>
                  <a:pt x="365" y="170"/>
                </a:lnTo>
                <a:lnTo>
                  <a:pt x="369" y="183"/>
                </a:lnTo>
                <a:lnTo>
                  <a:pt x="375" y="195"/>
                </a:lnTo>
                <a:lnTo>
                  <a:pt x="382" y="207"/>
                </a:lnTo>
                <a:lnTo>
                  <a:pt x="391" y="217"/>
                </a:lnTo>
                <a:lnTo>
                  <a:pt x="401" y="227"/>
                </a:lnTo>
                <a:lnTo>
                  <a:pt x="414" y="236"/>
                </a:lnTo>
                <a:lnTo>
                  <a:pt x="428" y="246"/>
                </a:lnTo>
                <a:lnTo>
                  <a:pt x="428" y="252"/>
                </a:lnTo>
                <a:lnTo>
                  <a:pt x="428" y="260"/>
                </a:lnTo>
                <a:lnTo>
                  <a:pt x="407" y="259"/>
                </a:lnTo>
                <a:lnTo>
                  <a:pt x="389" y="255"/>
                </a:lnTo>
                <a:lnTo>
                  <a:pt x="373" y="252"/>
                </a:lnTo>
                <a:lnTo>
                  <a:pt x="358" y="249"/>
                </a:lnTo>
                <a:lnTo>
                  <a:pt x="351" y="248"/>
                </a:lnTo>
                <a:lnTo>
                  <a:pt x="343" y="248"/>
                </a:lnTo>
                <a:lnTo>
                  <a:pt x="336" y="249"/>
                </a:lnTo>
                <a:lnTo>
                  <a:pt x="328" y="251"/>
                </a:lnTo>
                <a:lnTo>
                  <a:pt x="320" y="252"/>
                </a:lnTo>
                <a:lnTo>
                  <a:pt x="311" y="256"/>
                </a:lnTo>
                <a:lnTo>
                  <a:pt x="302" y="261"/>
                </a:lnTo>
                <a:lnTo>
                  <a:pt x="293" y="266"/>
                </a:lnTo>
                <a:lnTo>
                  <a:pt x="282" y="269"/>
                </a:lnTo>
                <a:lnTo>
                  <a:pt x="273" y="272"/>
                </a:lnTo>
                <a:lnTo>
                  <a:pt x="263" y="274"/>
                </a:lnTo>
                <a:lnTo>
                  <a:pt x="252" y="277"/>
                </a:lnTo>
                <a:lnTo>
                  <a:pt x="252" y="294"/>
                </a:lnTo>
                <a:lnTo>
                  <a:pt x="251" y="309"/>
                </a:lnTo>
                <a:lnTo>
                  <a:pt x="248" y="324"/>
                </a:lnTo>
                <a:lnTo>
                  <a:pt x="244" y="337"/>
                </a:lnTo>
                <a:lnTo>
                  <a:pt x="241" y="348"/>
                </a:lnTo>
                <a:lnTo>
                  <a:pt x="235" y="357"/>
                </a:lnTo>
                <a:lnTo>
                  <a:pt x="229" y="367"/>
                </a:lnTo>
                <a:lnTo>
                  <a:pt x="221" y="373"/>
                </a:lnTo>
                <a:lnTo>
                  <a:pt x="212" y="377"/>
                </a:lnTo>
                <a:lnTo>
                  <a:pt x="203" y="381"/>
                </a:lnTo>
                <a:lnTo>
                  <a:pt x="192" y="382"/>
                </a:lnTo>
                <a:lnTo>
                  <a:pt x="181" y="382"/>
                </a:lnTo>
                <a:lnTo>
                  <a:pt x="168" y="380"/>
                </a:lnTo>
                <a:lnTo>
                  <a:pt x="153" y="376"/>
                </a:lnTo>
                <a:lnTo>
                  <a:pt x="138" y="370"/>
                </a:lnTo>
                <a:lnTo>
                  <a:pt x="122" y="363"/>
                </a:lnTo>
                <a:lnTo>
                  <a:pt x="107" y="370"/>
                </a:lnTo>
                <a:lnTo>
                  <a:pt x="91" y="378"/>
                </a:lnTo>
                <a:lnTo>
                  <a:pt x="77" y="386"/>
                </a:lnTo>
                <a:lnTo>
                  <a:pt x="62" y="394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74" name="Freeform 39"/>
          <p:cNvSpPr>
            <a:spLocks/>
          </p:cNvSpPr>
          <p:nvPr/>
        </p:nvSpPr>
        <p:spPr bwMode="auto">
          <a:xfrm>
            <a:off x="8891588" y="3055938"/>
            <a:ext cx="73025" cy="26987"/>
          </a:xfrm>
          <a:custGeom>
            <a:avLst/>
            <a:gdLst>
              <a:gd name="T0" fmla="*/ 2147483647 w 187"/>
              <a:gd name="T1" fmla="*/ 2147483647 h 67"/>
              <a:gd name="T2" fmla="*/ 2147483647 w 187"/>
              <a:gd name="T3" fmla="*/ 2147483647 h 67"/>
              <a:gd name="T4" fmla="*/ 2147483647 w 187"/>
              <a:gd name="T5" fmla="*/ 2147483647 h 67"/>
              <a:gd name="T6" fmla="*/ 2147483647 w 187"/>
              <a:gd name="T7" fmla="*/ 2147483647 h 67"/>
              <a:gd name="T8" fmla="*/ 0 w 187"/>
              <a:gd name="T9" fmla="*/ 2147483647 h 67"/>
              <a:gd name="T10" fmla="*/ 2147483647 w 187"/>
              <a:gd name="T11" fmla="*/ 2147483647 h 67"/>
              <a:gd name="T12" fmla="*/ 2147483647 w 187"/>
              <a:gd name="T13" fmla="*/ 2147483647 h 67"/>
              <a:gd name="T14" fmla="*/ 2147483647 w 187"/>
              <a:gd name="T15" fmla="*/ 2147483647 h 67"/>
              <a:gd name="T16" fmla="*/ 2147483647 w 187"/>
              <a:gd name="T17" fmla="*/ 2147483647 h 67"/>
              <a:gd name="T18" fmla="*/ 2147483647 w 187"/>
              <a:gd name="T19" fmla="*/ 2147483647 h 67"/>
              <a:gd name="T20" fmla="*/ 2147483647 w 187"/>
              <a:gd name="T21" fmla="*/ 0 h 67"/>
              <a:gd name="T22" fmla="*/ 2147483647 w 187"/>
              <a:gd name="T23" fmla="*/ 0 h 67"/>
              <a:gd name="T24" fmla="*/ 2147483647 w 187"/>
              <a:gd name="T25" fmla="*/ 2147483647 h 67"/>
              <a:gd name="T26" fmla="*/ 2147483647 w 187"/>
              <a:gd name="T27" fmla="*/ 2147483647 h 67"/>
              <a:gd name="T28" fmla="*/ 2147483647 w 187"/>
              <a:gd name="T29" fmla="*/ 2147483647 h 67"/>
              <a:gd name="T30" fmla="*/ 2147483647 w 187"/>
              <a:gd name="T31" fmla="*/ 2147483647 h 67"/>
              <a:gd name="T32" fmla="*/ 2147483647 w 187"/>
              <a:gd name="T33" fmla="*/ 2147483647 h 67"/>
              <a:gd name="T34" fmla="*/ 2147483647 w 187"/>
              <a:gd name="T35" fmla="*/ 2147483647 h 67"/>
              <a:gd name="T36" fmla="*/ 2147483647 w 187"/>
              <a:gd name="T37" fmla="*/ 2147483647 h 67"/>
              <a:gd name="T38" fmla="*/ 2147483647 w 187"/>
              <a:gd name="T39" fmla="*/ 2147483647 h 67"/>
              <a:gd name="T40" fmla="*/ 2147483647 w 187"/>
              <a:gd name="T41" fmla="*/ 2147483647 h 67"/>
              <a:gd name="T42" fmla="*/ 2147483647 w 187"/>
              <a:gd name="T43" fmla="*/ 2147483647 h 67"/>
              <a:gd name="T44" fmla="*/ 2147483647 w 187"/>
              <a:gd name="T45" fmla="*/ 2147483647 h 67"/>
              <a:gd name="T46" fmla="*/ 2147483647 w 187"/>
              <a:gd name="T47" fmla="*/ 2147483647 h 67"/>
              <a:gd name="T48" fmla="*/ 2147483647 w 187"/>
              <a:gd name="T49" fmla="*/ 2147483647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87"/>
              <a:gd name="T76" fmla="*/ 0 h 67"/>
              <a:gd name="T77" fmla="*/ 187 w 187"/>
              <a:gd name="T78" fmla="*/ 67 h 67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87" h="67">
                <a:moveTo>
                  <a:pt x="160" y="67"/>
                </a:moveTo>
                <a:lnTo>
                  <a:pt x="120" y="56"/>
                </a:lnTo>
                <a:lnTo>
                  <a:pt x="79" y="46"/>
                </a:lnTo>
                <a:lnTo>
                  <a:pt x="40" y="37"/>
                </a:lnTo>
                <a:lnTo>
                  <a:pt x="0" y="28"/>
                </a:lnTo>
                <a:lnTo>
                  <a:pt x="7" y="19"/>
                </a:lnTo>
                <a:lnTo>
                  <a:pt x="13" y="12"/>
                </a:lnTo>
                <a:lnTo>
                  <a:pt x="21" y="7"/>
                </a:lnTo>
                <a:lnTo>
                  <a:pt x="27" y="3"/>
                </a:lnTo>
                <a:lnTo>
                  <a:pt x="34" y="2"/>
                </a:lnTo>
                <a:lnTo>
                  <a:pt x="42" y="0"/>
                </a:lnTo>
                <a:lnTo>
                  <a:pt x="48" y="0"/>
                </a:lnTo>
                <a:lnTo>
                  <a:pt x="56" y="3"/>
                </a:lnTo>
                <a:lnTo>
                  <a:pt x="70" y="8"/>
                </a:lnTo>
                <a:lnTo>
                  <a:pt x="85" y="16"/>
                </a:lnTo>
                <a:lnTo>
                  <a:pt x="100" y="26"/>
                </a:lnTo>
                <a:lnTo>
                  <a:pt x="116" y="38"/>
                </a:lnTo>
                <a:lnTo>
                  <a:pt x="133" y="42"/>
                </a:lnTo>
                <a:lnTo>
                  <a:pt x="151" y="46"/>
                </a:lnTo>
                <a:lnTo>
                  <a:pt x="169" y="51"/>
                </a:lnTo>
                <a:lnTo>
                  <a:pt x="187" y="55"/>
                </a:lnTo>
                <a:lnTo>
                  <a:pt x="187" y="60"/>
                </a:lnTo>
                <a:lnTo>
                  <a:pt x="187" y="67"/>
                </a:lnTo>
                <a:lnTo>
                  <a:pt x="173" y="67"/>
                </a:lnTo>
                <a:lnTo>
                  <a:pt x="160" y="67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75" name="Freeform 40"/>
          <p:cNvSpPr>
            <a:spLocks/>
          </p:cNvSpPr>
          <p:nvPr/>
        </p:nvSpPr>
        <p:spPr bwMode="auto">
          <a:xfrm>
            <a:off x="1189038" y="2860675"/>
            <a:ext cx="179387" cy="211138"/>
          </a:xfrm>
          <a:custGeom>
            <a:avLst/>
            <a:gdLst>
              <a:gd name="T0" fmla="*/ 2147483647 w 450"/>
              <a:gd name="T1" fmla="*/ 2147483647 h 534"/>
              <a:gd name="T2" fmla="*/ 2147483647 w 450"/>
              <a:gd name="T3" fmla="*/ 2147483647 h 534"/>
              <a:gd name="T4" fmla="*/ 2147483647 w 450"/>
              <a:gd name="T5" fmla="*/ 2147483647 h 534"/>
              <a:gd name="T6" fmla="*/ 2147483647 w 450"/>
              <a:gd name="T7" fmla="*/ 2147483647 h 534"/>
              <a:gd name="T8" fmla="*/ 2147483647 w 450"/>
              <a:gd name="T9" fmla="*/ 2147483647 h 534"/>
              <a:gd name="T10" fmla="*/ 2147483647 w 450"/>
              <a:gd name="T11" fmla="*/ 2147483647 h 534"/>
              <a:gd name="T12" fmla="*/ 2147483647 w 450"/>
              <a:gd name="T13" fmla="*/ 2147483647 h 534"/>
              <a:gd name="T14" fmla="*/ 2147483647 w 450"/>
              <a:gd name="T15" fmla="*/ 2147483647 h 534"/>
              <a:gd name="T16" fmla="*/ 2147483647 w 450"/>
              <a:gd name="T17" fmla="*/ 2147483647 h 534"/>
              <a:gd name="T18" fmla="*/ 2147483647 w 450"/>
              <a:gd name="T19" fmla="*/ 2147483647 h 534"/>
              <a:gd name="T20" fmla="*/ 2147483647 w 450"/>
              <a:gd name="T21" fmla="*/ 2147483647 h 534"/>
              <a:gd name="T22" fmla="*/ 2147483647 w 450"/>
              <a:gd name="T23" fmla="*/ 2147483647 h 534"/>
              <a:gd name="T24" fmla="*/ 2147483647 w 450"/>
              <a:gd name="T25" fmla="*/ 2147483647 h 534"/>
              <a:gd name="T26" fmla="*/ 2147483647 w 450"/>
              <a:gd name="T27" fmla="*/ 2147483647 h 534"/>
              <a:gd name="T28" fmla="*/ 2147483647 w 450"/>
              <a:gd name="T29" fmla="*/ 2147483647 h 534"/>
              <a:gd name="T30" fmla="*/ 2147483647 w 450"/>
              <a:gd name="T31" fmla="*/ 2147483647 h 534"/>
              <a:gd name="T32" fmla="*/ 2147483647 w 450"/>
              <a:gd name="T33" fmla="*/ 2147483647 h 534"/>
              <a:gd name="T34" fmla="*/ 2147483647 w 450"/>
              <a:gd name="T35" fmla="*/ 2147483647 h 534"/>
              <a:gd name="T36" fmla="*/ 2147483647 w 450"/>
              <a:gd name="T37" fmla="*/ 2147483647 h 534"/>
              <a:gd name="T38" fmla="*/ 2147483647 w 450"/>
              <a:gd name="T39" fmla="*/ 2147483647 h 534"/>
              <a:gd name="T40" fmla="*/ 2147483647 w 450"/>
              <a:gd name="T41" fmla="*/ 2147483647 h 534"/>
              <a:gd name="T42" fmla="*/ 2147483647 w 450"/>
              <a:gd name="T43" fmla="*/ 2147483647 h 534"/>
              <a:gd name="T44" fmla="*/ 2147483647 w 450"/>
              <a:gd name="T45" fmla="*/ 2147483647 h 534"/>
              <a:gd name="T46" fmla="*/ 2147483647 w 450"/>
              <a:gd name="T47" fmla="*/ 2147483647 h 534"/>
              <a:gd name="T48" fmla="*/ 2147483647 w 450"/>
              <a:gd name="T49" fmla="*/ 2147483647 h 534"/>
              <a:gd name="T50" fmla="*/ 2147483647 w 450"/>
              <a:gd name="T51" fmla="*/ 0 h 534"/>
              <a:gd name="T52" fmla="*/ 2147483647 w 450"/>
              <a:gd name="T53" fmla="*/ 2147483647 h 534"/>
              <a:gd name="T54" fmla="*/ 2147483647 w 450"/>
              <a:gd name="T55" fmla="*/ 2147483647 h 534"/>
              <a:gd name="T56" fmla="*/ 2147483647 w 450"/>
              <a:gd name="T57" fmla="*/ 2147483647 h 534"/>
              <a:gd name="T58" fmla="*/ 2147483647 w 450"/>
              <a:gd name="T59" fmla="*/ 2147483647 h 534"/>
              <a:gd name="T60" fmla="*/ 2147483647 w 450"/>
              <a:gd name="T61" fmla="*/ 2147483647 h 534"/>
              <a:gd name="T62" fmla="*/ 2147483647 w 450"/>
              <a:gd name="T63" fmla="*/ 2147483647 h 534"/>
              <a:gd name="T64" fmla="*/ 2147483647 w 450"/>
              <a:gd name="T65" fmla="*/ 2147483647 h 534"/>
              <a:gd name="T66" fmla="*/ 2147483647 w 450"/>
              <a:gd name="T67" fmla="*/ 2147483647 h 534"/>
              <a:gd name="T68" fmla="*/ 2147483647 w 450"/>
              <a:gd name="T69" fmla="*/ 2147483647 h 534"/>
              <a:gd name="T70" fmla="*/ 2147483647 w 450"/>
              <a:gd name="T71" fmla="*/ 2147483647 h 534"/>
              <a:gd name="T72" fmla="*/ 2147483647 w 450"/>
              <a:gd name="T73" fmla="*/ 2147483647 h 534"/>
              <a:gd name="T74" fmla="*/ 2147483647 w 450"/>
              <a:gd name="T75" fmla="*/ 2147483647 h 534"/>
              <a:gd name="T76" fmla="*/ 2147483647 w 450"/>
              <a:gd name="T77" fmla="*/ 2147483647 h 534"/>
              <a:gd name="T78" fmla="*/ 2147483647 w 450"/>
              <a:gd name="T79" fmla="*/ 2147483647 h 534"/>
              <a:gd name="T80" fmla="*/ 2147483647 w 450"/>
              <a:gd name="T81" fmla="*/ 2147483647 h 534"/>
              <a:gd name="T82" fmla="*/ 2147483647 w 450"/>
              <a:gd name="T83" fmla="*/ 2147483647 h 534"/>
              <a:gd name="T84" fmla="*/ 2147483647 w 450"/>
              <a:gd name="T85" fmla="*/ 2147483647 h 534"/>
              <a:gd name="T86" fmla="*/ 2147483647 w 450"/>
              <a:gd name="T87" fmla="*/ 2147483647 h 534"/>
              <a:gd name="T88" fmla="*/ 2147483647 w 450"/>
              <a:gd name="T89" fmla="*/ 2147483647 h 534"/>
              <a:gd name="T90" fmla="*/ 2147483647 w 450"/>
              <a:gd name="T91" fmla="*/ 2147483647 h 534"/>
              <a:gd name="T92" fmla="*/ 2147483647 w 450"/>
              <a:gd name="T93" fmla="*/ 2147483647 h 534"/>
              <a:gd name="T94" fmla="*/ 2147483647 w 450"/>
              <a:gd name="T95" fmla="*/ 2147483647 h 534"/>
              <a:gd name="T96" fmla="*/ 2147483647 w 450"/>
              <a:gd name="T97" fmla="*/ 2147483647 h 534"/>
              <a:gd name="T98" fmla="*/ 2147483647 w 450"/>
              <a:gd name="T99" fmla="*/ 2147483647 h 534"/>
              <a:gd name="T100" fmla="*/ 2147483647 w 450"/>
              <a:gd name="T101" fmla="*/ 2147483647 h 534"/>
              <a:gd name="T102" fmla="*/ 2147483647 w 450"/>
              <a:gd name="T103" fmla="*/ 2147483647 h 534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450"/>
              <a:gd name="T157" fmla="*/ 0 h 534"/>
              <a:gd name="T158" fmla="*/ 450 w 450"/>
              <a:gd name="T159" fmla="*/ 534 h 534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450" h="534">
                <a:moveTo>
                  <a:pt x="244" y="534"/>
                </a:moveTo>
                <a:lnTo>
                  <a:pt x="235" y="516"/>
                </a:lnTo>
                <a:lnTo>
                  <a:pt x="226" y="500"/>
                </a:lnTo>
                <a:lnTo>
                  <a:pt x="218" y="487"/>
                </a:lnTo>
                <a:lnTo>
                  <a:pt x="209" y="474"/>
                </a:lnTo>
                <a:lnTo>
                  <a:pt x="193" y="454"/>
                </a:lnTo>
                <a:lnTo>
                  <a:pt x="179" y="436"/>
                </a:lnTo>
                <a:lnTo>
                  <a:pt x="174" y="427"/>
                </a:lnTo>
                <a:lnTo>
                  <a:pt x="169" y="417"/>
                </a:lnTo>
                <a:lnTo>
                  <a:pt x="165" y="406"/>
                </a:lnTo>
                <a:lnTo>
                  <a:pt x="162" y="393"/>
                </a:lnTo>
                <a:lnTo>
                  <a:pt x="160" y="380"/>
                </a:lnTo>
                <a:lnTo>
                  <a:pt x="160" y="363"/>
                </a:lnTo>
                <a:lnTo>
                  <a:pt x="161" y="345"/>
                </a:lnTo>
                <a:lnTo>
                  <a:pt x="162" y="323"/>
                </a:lnTo>
                <a:lnTo>
                  <a:pt x="153" y="310"/>
                </a:lnTo>
                <a:lnTo>
                  <a:pt x="144" y="300"/>
                </a:lnTo>
                <a:lnTo>
                  <a:pt x="136" y="292"/>
                </a:lnTo>
                <a:lnTo>
                  <a:pt x="128" y="287"/>
                </a:lnTo>
                <a:lnTo>
                  <a:pt x="119" y="283"/>
                </a:lnTo>
                <a:lnTo>
                  <a:pt x="109" y="279"/>
                </a:lnTo>
                <a:lnTo>
                  <a:pt x="96" y="276"/>
                </a:lnTo>
                <a:lnTo>
                  <a:pt x="80" y="272"/>
                </a:lnTo>
                <a:lnTo>
                  <a:pt x="74" y="262"/>
                </a:lnTo>
                <a:lnTo>
                  <a:pt x="69" y="251"/>
                </a:lnTo>
                <a:lnTo>
                  <a:pt x="66" y="241"/>
                </a:lnTo>
                <a:lnTo>
                  <a:pt x="63" y="232"/>
                </a:lnTo>
                <a:lnTo>
                  <a:pt x="62" y="215"/>
                </a:lnTo>
                <a:lnTo>
                  <a:pt x="61" y="199"/>
                </a:lnTo>
                <a:lnTo>
                  <a:pt x="59" y="193"/>
                </a:lnTo>
                <a:lnTo>
                  <a:pt x="57" y="186"/>
                </a:lnTo>
                <a:lnTo>
                  <a:pt x="53" y="181"/>
                </a:lnTo>
                <a:lnTo>
                  <a:pt x="46" y="175"/>
                </a:lnTo>
                <a:lnTo>
                  <a:pt x="39" y="169"/>
                </a:lnTo>
                <a:lnTo>
                  <a:pt x="28" y="164"/>
                </a:lnTo>
                <a:lnTo>
                  <a:pt x="15" y="160"/>
                </a:lnTo>
                <a:lnTo>
                  <a:pt x="0" y="155"/>
                </a:lnTo>
                <a:lnTo>
                  <a:pt x="1" y="141"/>
                </a:lnTo>
                <a:lnTo>
                  <a:pt x="4" y="129"/>
                </a:lnTo>
                <a:lnTo>
                  <a:pt x="23" y="116"/>
                </a:lnTo>
                <a:lnTo>
                  <a:pt x="44" y="104"/>
                </a:lnTo>
                <a:lnTo>
                  <a:pt x="63" y="91"/>
                </a:lnTo>
                <a:lnTo>
                  <a:pt x="84" y="81"/>
                </a:lnTo>
                <a:lnTo>
                  <a:pt x="83" y="64"/>
                </a:lnTo>
                <a:lnTo>
                  <a:pt x="83" y="47"/>
                </a:lnTo>
                <a:lnTo>
                  <a:pt x="82" y="32"/>
                </a:lnTo>
                <a:lnTo>
                  <a:pt x="82" y="15"/>
                </a:lnTo>
                <a:lnTo>
                  <a:pt x="106" y="13"/>
                </a:lnTo>
                <a:lnTo>
                  <a:pt x="134" y="9"/>
                </a:lnTo>
                <a:lnTo>
                  <a:pt x="164" y="6"/>
                </a:lnTo>
                <a:lnTo>
                  <a:pt x="195" y="2"/>
                </a:lnTo>
                <a:lnTo>
                  <a:pt x="210" y="0"/>
                </a:lnTo>
                <a:lnTo>
                  <a:pt x="226" y="0"/>
                </a:lnTo>
                <a:lnTo>
                  <a:pt x="240" y="2"/>
                </a:lnTo>
                <a:lnTo>
                  <a:pt x="255" y="3"/>
                </a:lnTo>
                <a:lnTo>
                  <a:pt x="268" y="6"/>
                </a:lnTo>
                <a:lnTo>
                  <a:pt x="281" y="11"/>
                </a:lnTo>
                <a:lnTo>
                  <a:pt x="291" y="17"/>
                </a:lnTo>
                <a:lnTo>
                  <a:pt x="301" y="25"/>
                </a:lnTo>
                <a:lnTo>
                  <a:pt x="312" y="25"/>
                </a:lnTo>
                <a:lnTo>
                  <a:pt x="322" y="26"/>
                </a:lnTo>
                <a:lnTo>
                  <a:pt x="334" y="28"/>
                </a:lnTo>
                <a:lnTo>
                  <a:pt x="346" y="29"/>
                </a:lnTo>
                <a:lnTo>
                  <a:pt x="348" y="69"/>
                </a:lnTo>
                <a:lnTo>
                  <a:pt x="351" y="102"/>
                </a:lnTo>
                <a:lnTo>
                  <a:pt x="354" y="117"/>
                </a:lnTo>
                <a:lnTo>
                  <a:pt x="356" y="130"/>
                </a:lnTo>
                <a:lnTo>
                  <a:pt x="360" y="143"/>
                </a:lnTo>
                <a:lnTo>
                  <a:pt x="364" y="155"/>
                </a:lnTo>
                <a:lnTo>
                  <a:pt x="369" y="166"/>
                </a:lnTo>
                <a:lnTo>
                  <a:pt x="376" y="176"/>
                </a:lnTo>
                <a:lnTo>
                  <a:pt x="385" y="186"/>
                </a:lnTo>
                <a:lnTo>
                  <a:pt x="394" y="197"/>
                </a:lnTo>
                <a:lnTo>
                  <a:pt x="404" y="207"/>
                </a:lnTo>
                <a:lnTo>
                  <a:pt x="417" y="218"/>
                </a:lnTo>
                <a:lnTo>
                  <a:pt x="432" y="228"/>
                </a:lnTo>
                <a:lnTo>
                  <a:pt x="447" y="240"/>
                </a:lnTo>
                <a:lnTo>
                  <a:pt x="447" y="271"/>
                </a:lnTo>
                <a:lnTo>
                  <a:pt x="447" y="301"/>
                </a:lnTo>
                <a:lnTo>
                  <a:pt x="448" y="331"/>
                </a:lnTo>
                <a:lnTo>
                  <a:pt x="450" y="361"/>
                </a:lnTo>
                <a:lnTo>
                  <a:pt x="438" y="366"/>
                </a:lnTo>
                <a:lnTo>
                  <a:pt x="432" y="371"/>
                </a:lnTo>
                <a:lnTo>
                  <a:pt x="428" y="374"/>
                </a:lnTo>
                <a:lnTo>
                  <a:pt x="426" y="378"/>
                </a:lnTo>
                <a:lnTo>
                  <a:pt x="424" y="382"/>
                </a:lnTo>
                <a:lnTo>
                  <a:pt x="422" y="387"/>
                </a:lnTo>
                <a:lnTo>
                  <a:pt x="409" y="387"/>
                </a:lnTo>
                <a:lnTo>
                  <a:pt x="398" y="388"/>
                </a:lnTo>
                <a:lnTo>
                  <a:pt x="387" y="392"/>
                </a:lnTo>
                <a:lnTo>
                  <a:pt x="380" y="396"/>
                </a:lnTo>
                <a:lnTo>
                  <a:pt x="372" y="400"/>
                </a:lnTo>
                <a:lnTo>
                  <a:pt x="365" y="406"/>
                </a:lnTo>
                <a:lnTo>
                  <a:pt x="360" y="413"/>
                </a:lnTo>
                <a:lnTo>
                  <a:pt x="356" y="421"/>
                </a:lnTo>
                <a:lnTo>
                  <a:pt x="344" y="457"/>
                </a:lnTo>
                <a:lnTo>
                  <a:pt x="333" y="501"/>
                </a:lnTo>
                <a:lnTo>
                  <a:pt x="300" y="505"/>
                </a:lnTo>
                <a:lnTo>
                  <a:pt x="283" y="508"/>
                </a:lnTo>
                <a:lnTo>
                  <a:pt x="273" y="510"/>
                </a:lnTo>
                <a:lnTo>
                  <a:pt x="262" y="516"/>
                </a:lnTo>
                <a:lnTo>
                  <a:pt x="262" y="521"/>
                </a:lnTo>
                <a:lnTo>
                  <a:pt x="262" y="529"/>
                </a:lnTo>
                <a:lnTo>
                  <a:pt x="252" y="531"/>
                </a:lnTo>
                <a:lnTo>
                  <a:pt x="244" y="534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76" name="Freeform 41"/>
          <p:cNvSpPr>
            <a:spLocks/>
          </p:cNvSpPr>
          <p:nvPr/>
        </p:nvSpPr>
        <p:spPr bwMode="auto">
          <a:xfrm>
            <a:off x="1639888" y="2733675"/>
            <a:ext cx="201612" cy="260350"/>
          </a:xfrm>
          <a:custGeom>
            <a:avLst/>
            <a:gdLst>
              <a:gd name="T0" fmla="*/ 2147483647 w 509"/>
              <a:gd name="T1" fmla="*/ 2147483647 h 657"/>
              <a:gd name="T2" fmla="*/ 2147483647 w 509"/>
              <a:gd name="T3" fmla="*/ 2147483647 h 657"/>
              <a:gd name="T4" fmla="*/ 2147483647 w 509"/>
              <a:gd name="T5" fmla="*/ 2147483647 h 657"/>
              <a:gd name="T6" fmla="*/ 2147483647 w 509"/>
              <a:gd name="T7" fmla="*/ 2147483647 h 657"/>
              <a:gd name="T8" fmla="*/ 2147483647 w 509"/>
              <a:gd name="T9" fmla="*/ 2147483647 h 657"/>
              <a:gd name="T10" fmla="*/ 2147483647 w 509"/>
              <a:gd name="T11" fmla="*/ 2147483647 h 657"/>
              <a:gd name="T12" fmla="*/ 2147483647 w 509"/>
              <a:gd name="T13" fmla="*/ 2147483647 h 657"/>
              <a:gd name="T14" fmla="*/ 2147483647 w 509"/>
              <a:gd name="T15" fmla="*/ 2147483647 h 657"/>
              <a:gd name="T16" fmla="*/ 2147483647 w 509"/>
              <a:gd name="T17" fmla="*/ 2147483647 h 657"/>
              <a:gd name="T18" fmla="*/ 2147483647 w 509"/>
              <a:gd name="T19" fmla="*/ 2147483647 h 657"/>
              <a:gd name="T20" fmla="*/ 2147483647 w 509"/>
              <a:gd name="T21" fmla="*/ 2147483647 h 657"/>
              <a:gd name="T22" fmla="*/ 2147483647 w 509"/>
              <a:gd name="T23" fmla="*/ 2147483647 h 657"/>
              <a:gd name="T24" fmla="*/ 2147483647 w 509"/>
              <a:gd name="T25" fmla="*/ 2147483647 h 657"/>
              <a:gd name="T26" fmla="*/ 2147483647 w 509"/>
              <a:gd name="T27" fmla="*/ 2147483647 h 657"/>
              <a:gd name="T28" fmla="*/ 2147483647 w 509"/>
              <a:gd name="T29" fmla="*/ 2147483647 h 657"/>
              <a:gd name="T30" fmla="*/ 2147483647 w 509"/>
              <a:gd name="T31" fmla="*/ 2147483647 h 657"/>
              <a:gd name="T32" fmla="*/ 2147483647 w 509"/>
              <a:gd name="T33" fmla="*/ 2147483647 h 657"/>
              <a:gd name="T34" fmla="*/ 2147483647 w 509"/>
              <a:gd name="T35" fmla="*/ 2147483647 h 657"/>
              <a:gd name="T36" fmla="*/ 2147483647 w 509"/>
              <a:gd name="T37" fmla="*/ 2147483647 h 657"/>
              <a:gd name="T38" fmla="*/ 2147483647 w 509"/>
              <a:gd name="T39" fmla="*/ 2147483647 h 657"/>
              <a:gd name="T40" fmla="*/ 2147483647 w 509"/>
              <a:gd name="T41" fmla="*/ 2147483647 h 657"/>
              <a:gd name="T42" fmla="*/ 2147483647 w 509"/>
              <a:gd name="T43" fmla="*/ 2147483647 h 657"/>
              <a:gd name="T44" fmla="*/ 2147483647 w 509"/>
              <a:gd name="T45" fmla="*/ 2147483647 h 657"/>
              <a:gd name="T46" fmla="*/ 2147483647 w 509"/>
              <a:gd name="T47" fmla="*/ 2147483647 h 657"/>
              <a:gd name="T48" fmla="*/ 2147483647 w 509"/>
              <a:gd name="T49" fmla="*/ 2147483647 h 657"/>
              <a:gd name="T50" fmla="*/ 2147483647 w 509"/>
              <a:gd name="T51" fmla="*/ 2147483647 h 657"/>
              <a:gd name="T52" fmla="*/ 2147483647 w 509"/>
              <a:gd name="T53" fmla="*/ 2147483647 h 657"/>
              <a:gd name="T54" fmla="*/ 2147483647 w 509"/>
              <a:gd name="T55" fmla="*/ 2147483647 h 657"/>
              <a:gd name="T56" fmla="*/ 2147483647 w 509"/>
              <a:gd name="T57" fmla="*/ 2147483647 h 657"/>
              <a:gd name="T58" fmla="*/ 2147483647 w 509"/>
              <a:gd name="T59" fmla="*/ 2147483647 h 657"/>
              <a:gd name="T60" fmla="*/ 2147483647 w 509"/>
              <a:gd name="T61" fmla="*/ 2147483647 h 657"/>
              <a:gd name="T62" fmla="*/ 2147483647 w 509"/>
              <a:gd name="T63" fmla="*/ 2147483647 h 657"/>
              <a:gd name="T64" fmla="*/ 2147483647 w 509"/>
              <a:gd name="T65" fmla="*/ 2147483647 h 657"/>
              <a:gd name="T66" fmla="*/ 2147483647 w 509"/>
              <a:gd name="T67" fmla="*/ 2147483647 h 657"/>
              <a:gd name="T68" fmla="*/ 2147483647 w 509"/>
              <a:gd name="T69" fmla="*/ 2147483647 h 657"/>
              <a:gd name="T70" fmla="*/ 2147483647 w 509"/>
              <a:gd name="T71" fmla="*/ 2147483647 h 657"/>
              <a:gd name="T72" fmla="*/ 2147483647 w 509"/>
              <a:gd name="T73" fmla="*/ 2147483647 h 657"/>
              <a:gd name="T74" fmla="*/ 2147483647 w 509"/>
              <a:gd name="T75" fmla="*/ 2147483647 h 657"/>
              <a:gd name="T76" fmla="*/ 2147483647 w 509"/>
              <a:gd name="T77" fmla="*/ 2147483647 h 657"/>
              <a:gd name="T78" fmla="*/ 2147483647 w 509"/>
              <a:gd name="T79" fmla="*/ 2147483647 h 657"/>
              <a:gd name="T80" fmla="*/ 2147483647 w 509"/>
              <a:gd name="T81" fmla="*/ 2147483647 h 657"/>
              <a:gd name="T82" fmla="*/ 2147483647 w 509"/>
              <a:gd name="T83" fmla="*/ 2147483647 h 657"/>
              <a:gd name="T84" fmla="*/ 2147483647 w 509"/>
              <a:gd name="T85" fmla="*/ 2147483647 h 657"/>
              <a:gd name="T86" fmla="*/ 2147483647 w 509"/>
              <a:gd name="T87" fmla="*/ 2147483647 h 657"/>
              <a:gd name="T88" fmla="*/ 2147483647 w 509"/>
              <a:gd name="T89" fmla="*/ 2147483647 h 657"/>
              <a:gd name="T90" fmla="*/ 2147483647 w 509"/>
              <a:gd name="T91" fmla="*/ 2147483647 h 657"/>
              <a:gd name="T92" fmla="*/ 2147483647 w 509"/>
              <a:gd name="T93" fmla="*/ 2147483647 h 657"/>
              <a:gd name="T94" fmla="*/ 2147483647 w 509"/>
              <a:gd name="T95" fmla="*/ 2147483647 h 657"/>
              <a:gd name="T96" fmla="*/ 2147483647 w 509"/>
              <a:gd name="T97" fmla="*/ 2147483647 h 657"/>
              <a:gd name="T98" fmla="*/ 2147483647 w 509"/>
              <a:gd name="T99" fmla="*/ 2147483647 h 657"/>
              <a:gd name="T100" fmla="*/ 2147483647 w 509"/>
              <a:gd name="T101" fmla="*/ 2147483647 h 657"/>
              <a:gd name="T102" fmla="*/ 2147483647 w 509"/>
              <a:gd name="T103" fmla="*/ 2147483647 h 657"/>
              <a:gd name="T104" fmla="*/ 2147483647 w 509"/>
              <a:gd name="T105" fmla="*/ 2147483647 h 657"/>
              <a:gd name="T106" fmla="*/ 2147483647 w 509"/>
              <a:gd name="T107" fmla="*/ 2147483647 h 657"/>
              <a:gd name="T108" fmla="*/ 2147483647 w 509"/>
              <a:gd name="T109" fmla="*/ 2147483647 h 657"/>
              <a:gd name="T110" fmla="*/ 2147483647 w 509"/>
              <a:gd name="T111" fmla="*/ 2147483647 h 657"/>
              <a:gd name="T112" fmla="*/ 2147483647 w 509"/>
              <a:gd name="T113" fmla="*/ 2147483647 h 657"/>
              <a:gd name="T114" fmla="*/ 2147483647 w 509"/>
              <a:gd name="T115" fmla="*/ 2147483647 h 657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509"/>
              <a:gd name="T175" fmla="*/ 0 h 657"/>
              <a:gd name="T176" fmla="*/ 509 w 509"/>
              <a:gd name="T177" fmla="*/ 657 h 657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509" h="657">
                <a:moveTo>
                  <a:pt x="194" y="657"/>
                </a:moveTo>
                <a:lnTo>
                  <a:pt x="181" y="643"/>
                </a:lnTo>
                <a:lnTo>
                  <a:pt x="172" y="631"/>
                </a:lnTo>
                <a:lnTo>
                  <a:pt x="162" y="615"/>
                </a:lnTo>
                <a:lnTo>
                  <a:pt x="149" y="589"/>
                </a:lnTo>
                <a:lnTo>
                  <a:pt x="139" y="587"/>
                </a:lnTo>
                <a:lnTo>
                  <a:pt x="130" y="587"/>
                </a:lnTo>
                <a:lnTo>
                  <a:pt x="129" y="571"/>
                </a:lnTo>
                <a:lnTo>
                  <a:pt x="129" y="557"/>
                </a:lnTo>
                <a:lnTo>
                  <a:pt x="109" y="549"/>
                </a:lnTo>
                <a:lnTo>
                  <a:pt x="92" y="542"/>
                </a:lnTo>
                <a:lnTo>
                  <a:pt x="91" y="528"/>
                </a:lnTo>
                <a:lnTo>
                  <a:pt x="88" y="516"/>
                </a:lnTo>
                <a:lnTo>
                  <a:pt x="83" y="509"/>
                </a:lnTo>
                <a:lnTo>
                  <a:pt x="78" y="501"/>
                </a:lnTo>
                <a:lnTo>
                  <a:pt x="73" y="493"/>
                </a:lnTo>
                <a:lnTo>
                  <a:pt x="66" y="485"/>
                </a:lnTo>
                <a:lnTo>
                  <a:pt x="60" y="476"/>
                </a:lnTo>
                <a:lnTo>
                  <a:pt x="53" y="464"/>
                </a:lnTo>
                <a:lnTo>
                  <a:pt x="61" y="461"/>
                </a:lnTo>
                <a:lnTo>
                  <a:pt x="69" y="454"/>
                </a:lnTo>
                <a:lnTo>
                  <a:pt x="74" y="446"/>
                </a:lnTo>
                <a:lnTo>
                  <a:pt x="79" y="437"/>
                </a:lnTo>
                <a:lnTo>
                  <a:pt x="82" y="428"/>
                </a:lnTo>
                <a:lnTo>
                  <a:pt x="84" y="418"/>
                </a:lnTo>
                <a:lnTo>
                  <a:pt x="87" y="407"/>
                </a:lnTo>
                <a:lnTo>
                  <a:pt x="87" y="397"/>
                </a:lnTo>
                <a:lnTo>
                  <a:pt x="87" y="375"/>
                </a:lnTo>
                <a:lnTo>
                  <a:pt x="83" y="353"/>
                </a:lnTo>
                <a:lnTo>
                  <a:pt x="78" y="332"/>
                </a:lnTo>
                <a:lnTo>
                  <a:pt x="73" y="315"/>
                </a:lnTo>
                <a:lnTo>
                  <a:pt x="60" y="308"/>
                </a:lnTo>
                <a:lnTo>
                  <a:pt x="49" y="301"/>
                </a:lnTo>
                <a:lnTo>
                  <a:pt x="39" y="294"/>
                </a:lnTo>
                <a:lnTo>
                  <a:pt x="31" y="285"/>
                </a:lnTo>
                <a:lnTo>
                  <a:pt x="23" y="277"/>
                </a:lnTo>
                <a:lnTo>
                  <a:pt x="17" y="268"/>
                </a:lnTo>
                <a:lnTo>
                  <a:pt x="12" y="259"/>
                </a:lnTo>
                <a:lnTo>
                  <a:pt x="8" y="250"/>
                </a:lnTo>
                <a:lnTo>
                  <a:pt x="5" y="241"/>
                </a:lnTo>
                <a:lnTo>
                  <a:pt x="2" y="230"/>
                </a:lnTo>
                <a:lnTo>
                  <a:pt x="1" y="220"/>
                </a:lnTo>
                <a:lnTo>
                  <a:pt x="0" y="209"/>
                </a:lnTo>
                <a:lnTo>
                  <a:pt x="1" y="189"/>
                </a:lnTo>
                <a:lnTo>
                  <a:pt x="4" y="168"/>
                </a:lnTo>
                <a:lnTo>
                  <a:pt x="10" y="146"/>
                </a:lnTo>
                <a:lnTo>
                  <a:pt x="17" y="124"/>
                </a:lnTo>
                <a:lnTo>
                  <a:pt x="26" y="101"/>
                </a:lnTo>
                <a:lnTo>
                  <a:pt x="36" y="79"/>
                </a:lnTo>
                <a:lnTo>
                  <a:pt x="57" y="38"/>
                </a:lnTo>
                <a:lnTo>
                  <a:pt x="77" y="0"/>
                </a:lnTo>
                <a:lnTo>
                  <a:pt x="82" y="1"/>
                </a:lnTo>
                <a:lnTo>
                  <a:pt x="87" y="4"/>
                </a:lnTo>
                <a:lnTo>
                  <a:pt x="90" y="9"/>
                </a:lnTo>
                <a:lnTo>
                  <a:pt x="92" y="16"/>
                </a:lnTo>
                <a:lnTo>
                  <a:pt x="96" y="30"/>
                </a:lnTo>
                <a:lnTo>
                  <a:pt x="99" y="42"/>
                </a:lnTo>
                <a:lnTo>
                  <a:pt x="110" y="57"/>
                </a:lnTo>
                <a:lnTo>
                  <a:pt x="121" y="70"/>
                </a:lnTo>
                <a:lnTo>
                  <a:pt x="130" y="79"/>
                </a:lnTo>
                <a:lnTo>
                  <a:pt x="138" y="86"/>
                </a:lnTo>
                <a:lnTo>
                  <a:pt x="146" y="91"/>
                </a:lnTo>
                <a:lnTo>
                  <a:pt x="153" y="95"/>
                </a:lnTo>
                <a:lnTo>
                  <a:pt x="160" y="96"/>
                </a:lnTo>
                <a:lnTo>
                  <a:pt x="168" y="98"/>
                </a:lnTo>
                <a:lnTo>
                  <a:pt x="182" y="98"/>
                </a:lnTo>
                <a:lnTo>
                  <a:pt x="198" y="98"/>
                </a:lnTo>
                <a:lnTo>
                  <a:pt x="207" y="98"/>
                </a:lnTo>
                <a:lnTo>
                  <a:pt x="216" y="100"/>
                </a:lnTo>
                <a:lnTo>
                  <a:pt x="227" y="104"/>
                </a:lnTo>
                <a:lnTo>
                  <a:pt x="239" y="109"/>
                </a:lnTo>
                <a:lnTo>
                  <a:pt x="238" y="126"/>
                </a:lnTo>
                <a:lnTo>
                  <a:pt x="235" y="142"/>
                </a:lnTo>
                <a:lnTo>
                  <a:pt x="231" y="156"/>
                </a:lnTo>
                <a:lnTo>
                  <a:pt x="227" y="170"/>
                </a:lnTo>
                <a:lnTo>
                  <a:pt x="222" y="185"/>
                </a:lnTo>
                <a:lnTo>
                  <a:pt x="220" y="199"/>
                </a:lnTo>
                <a:lnTo>
                  <a:pt x="218" y="216"/>
                </a:lnTo>
                <a:lnTo>
                  <a:pt x="218" y="234"/>
                </a:lnTo>
                <a:lnTo>
                  <a:pt x="246" y="245"/>
                </a:lnTo>
                <a:lnTo>
                  <a:pt x="273" y="255"/>
                </a:lnTo>
                <a:lnTo>
                  <a:pt x="300" y="265"/>
                </a:lnTo>
                <a:lnTo>
                  <a:pt x="328" y="276"/>
                </a:lnTo>
                <a:lnTo>
                  <a:pt x="339" y="297"/>
                </a:lnTo>
                <a:lnTo>
                  <a:pt x="351" y="314"/>
                </a:lnTo>
                <a:lnTo>
                  <a:pt x="361" y="329"/>
                </a:lnTo>
                <a:lnTo>
                  <a:pt x="373" y="342"/>
                </a:lnTo>
                <a:lnTo>
                  <a:pt x="385" y="354"/>
                </a:lnTo>
                <a:lnTo>
                  <a:pt x="398" y="367"/>
                </a:lnTo>
                <a:lnTo>
                  <a:pt x="414" y="379"/>
                </a:lnTo>
                <a:lnTo>
                  <a:pt x="432" y="392"/>
                </a:lnTo>
                <a:lnTo>
                  <a:pt x="437" y="412"/>
                </a:lnTo>
                <a:lnTo>
                  <a:pt x="442" y="428"/>
                </a:lnTo>
                <a:lnTo>
                  <a:pt x="445" y="435"/>
                </a:lnTo>
                <a:lnTo>
                  <a:pt x="449" y="441"/>
                </a:lnTo>
                <a:lnTo>
                  <a:pt x="453" y="445"/>
                </a:lnTo>
                <a:lnTo>
                  <a:pt x="456" y="450"/>
                </a:lnTo>
                <a:lnTo>
                  <a:pt x="479" y="467"/>
                </a:lnTo>
                <a:lnTo>
                  <a:pt x="509" y="488"/>
                </a:lnTo>
                <a:lnTo>
                  <a:pt x="507" y="506"/>
                </a:lnTo>
                <a:lnTo>
                  <a:pt x="507" y="524"/>
                </a:lnTo>
                <a:lnTo>
                  <a:pt x="507" y="542"/>
                </a:lnTo>
                <a:lnTo>
                  <a:pt x="507" y="561"/>
                </a:lnTo>
                <a:lnTo>
                  <a:pt x="485" y="565"/>
                </a:lnTo>
                <a:lnTo>
                  <a:pt x="464" y="567"/>
                </a:lnTo>
                <a:lnTo>
                  <a:pt x="442" y="569"/>
                </a:lnTo>
                <a:lnTo>
                  <a:pt x="420" y="569"/>
                </a:lnTo>
                <a:lnTo>
                  <a:pt x="399" y="570"/>
                </a:lnTo>
                <a:lnTo>
                  <a:pt x="377" y="572"/>
                </a:lnTo>
                <a:lnTo>
                  <a:pt x="355" y="576"/>
                </a:lnTo>
                <a:lnTo>
                  <a:pt x="334" y="583"/>
                </a:lnTo>
                <a:lnTo>
                  <a:pt x="300" y="606"/>
                </a:lnTo>
                <a:lnTo>
                  <a:pt x="268" y="626"/>
                </a:lnTo>
                <a:lnTo>
                  <a:pt x="251" y="635"/>
                </a:lnTo>
                <a:lnTo>
                  <a:pt x="233" y="643"/>
                </a:lnTo>
                <a:lnTo>
                  <a:pt x="214" y="650"/>
                </a:lnTo>
                <a:lnTo>
                  <a:pt x="194" y="657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77" name="Freeform 42"/>
          <p:cNvSpPr>
            <a:spLocks/>
          </p:cNvSpPr>
          <p:nvPr/>
        </p:nvSpPr>
        <p:spPr bwMode="auto">
          <a:xfrm>
            <a:off x="1730375" y="2752725"/>
            <a:ext cx="246063" cy="173038"/>
          </a:xfrm>
          <a:custGeom>
            <a:avLst/>
            <a:gdLst>
              <a:gd name="T0" fmla="*/ 2147483647 w 619"/>
              <a:gd name="T1" fmla="*/ 2147483647 h 433"/>
              <a:gd name="T2" fmla="*/ 2147483647 w 619"/>
              <a:gd name="T3" fmla="*/ 2147483647 h 433"/>
              <a:gd name="T4" fmla="*/ 2147483647 w 619"/>
              <a:gd name="T5" fmla="*/ 2147483647 h 433"/>
              <a:gd name="T6" fmla="*/ 2147483647 w 619"/>
              <a:gd name="T7" fmla="*/ 2147483647 h 433"/>
              <a:gd name="T8" fmla="*/ 2147483647 w 619"/>
              <a:gd name="T9" fmla="*/ 2147483647 h 433"/>
              <a:gd name="T10" fmla="*/ 2147483647 w 619"/>
              <a:gd name="T11" fmla="*/ 2147483647 h 433"/>
              <a:gd name="T12" fmla="*/ 2147483647 w 619"/>
              <a:gd name="T13" fmla="*/ 2147483647 h 433"/>
              <a:gd name="T14" fmla="*/ 2147483647 w 619"/>
              <a:gd name="T15" fmla="*/ 2147483647 h 433"/>
              <a:gd name="T16" fmla="*/ 2147483647 w 619"/>
              <a:gd name="T17" fmla="*/ 2147483647 h 433"/>
              <a:gd name="T18" fmla="*/ 2147483647 w 619"/>
              <a:gd name="T19" fmla="*/ 2147483647 h 433"/>
              <a:gd name="T20" fmla="*/ 2147483647 w 619"/>
              <a:gd name="T21" fmla="*/ 2147483647 h 433"/>
              <a:gd name="T22" fmla="*/ 2147483647 w 619"/>
              <a:gd name="T23" fmla="*/ 2147483647 h 433"/>
              <a:gd name="T24" fmla="*/ 2147483647 w 619"/>
              <a:gd name="T25" fmla="*/ 2147483647 h 433"/>
              <a:gd name="T26" fmla="*/ 2147483647 w 619"/>
              <a:gd name="T27" fmla="*/ 2147483647 h 433"/>
              <a:gd name="T28" fmla="*/ 2147483647 w 619"/>
              <a:gd name="T29" fmla="*/ 2147483647 h 433"/>
              <a:gd name="T30" fmla="*/ 2147483647 w 619"/>
              <a:gd name="T31" fmla="*/ 0 h 433"/>
              <a:gd name="T32" fmla="*/ 2147483647 w 619"/>
              <a:gd name="T33" fmla="*/ 2147483647 h 433"/>
              <a:gd name="T34" fmla="*/ 2147483647 w 619"/>
              <a:gd name="T35" fmla="*/ 2147483647 h 433"/>
              <a:gd name="T36" fmla="*/ 2147483647 w 619"/>
              <a:gd name="T37" fmla="*/ 2147483647 h 433"/>
              <a:gd name="T38" fmla="*/ 2147483647 w 619"/>
              <a:gd name="T39" fmla="*/ 2147483647 h 433"/>
              <a:gd name="T40" fmla="*/ 2147483647 w 619"/>
              <a:gd name="T41" fmla="*/ 2147483647 h 433"/>
              <a:gd name="T42" fmla="*/ 2147483647 w 619"/>
              <a:gd name="T43" fmla="*/ 2147483647 h 433"/>
              <a:gd name="T44" fmla="*/ 2147483647 w 619"/>
              <a:gd name="T45" fmla="*/ 2147483647 h 433"/>
              <a:gd name="T46" fmla="*/ 2147483647 w 619"/>
              <a:gd name="T47" fmla="*/ 2147483647 h 433"/>
              <a:gd name="T48" fmla="*/ 2147483647 w 619"/>
              <a:gd name="T49" fmla="*/ 2147483647 h 433"/>
              <a:gd name="T50" fmla="*/ 2147483647 w 619"/>
              <a:gd name="T51" fmla="*/ 2147483647 h 433"/>
              <a:gd name="T52" fmla="*/ 2147483647 w 619"/>
              <a:gd name="T53" fmla="*/ 2147483647 h 433"/>
              <a:gd name="T54" fmla="*/ 2147483647 w 619"/>
              <a:gd name="T55" fmla="*/ 2147483647 h 433"/>
              <a:gd name="T56" fmla="*/ 2147483647 w 619"/>
              <a:gd name="T57" fmla="*/ 2147483647 h 433"/>
              <a:gd name="T58" fmla="*/ 2147483647 w 619"/>
              <a:gd name="T59" fmla="*/ 2147483647 h 433"/>
              <a:gd name="T60" fmla="*/ 2147483647 w 619"/>
              <a:gd name="T61" fmla="*/ 2147483647 h 433"/>
              <a:gd name="T62" fmla="*/ 2147483647 w 619"/>
              <a:gd name="T63" fmla="*/ 2147483647 h 433"/>
              <a:gd name="T64" fmla="*/ 2147483647 w 619"/>
              <a:gd name="T65" fmla="*/ 2147483647 h 433"/>
              <a:gd name="T66" fmla="*/ 2147483647 w 619"/>
              <a:gd name="T67" fmla="*/ 2147483647 h 433"/>
              <a:gd name="T68" fmla="*/ 2147483647 w 619"/>
              <a:gd name="T69" fmla="*/ 2147483647 h 433"/>
              <a:gd name="T70" fmla="*/ 2147483647 w 619"/>
              <a:gd name="T71" fmla="*/ 2147483647 h 433"/>
              <a:gd name="T72" fmla="*/ 2147483647 w 619"/>
              <a:gd name="T73" fmla="*/ 2147483647 h 433"/>
              <a:gd name="T74" fmla="*/ 2147483647 w 619"/>
              <a:gd name="T75" fmla="*/ 2147483647 h 433"/>
              <a:gd name="T76" fmla="*/ 2147483647 w 619"/>
              <a:gd name="T77" fmla="*/ 2147483647 h 433"/>
              <a:gd name="T78" fmla="*/ 2147483647 w 619"/>
              <a:gd name="T79" fmla="*/ 2147483647 h 433"/>
              <a:gd name="T80" fmla="*/ 2147483647 w 619"/>
              <a:gd name="T81" fmla="*/ 2147483647 h 433"/>
              <a:gd name="T82" fmla="*/ 2147483647 w 619"/>
              <a:gd name="T83" fmla="*/ 2147483647 h 433"/>
              <a:gd name="T84" fmla="*/ 2147483647 w 619"/>
              <a:gd name="T85" fmla="*/ 2147483647 h 433"/>
              <a:gd name="T86" fmla="*/ 2147483647 w 619"/>
              <a:gd name="T87" fmla="*/ 2147483647 h 433"/>
              <a:gd name="T88" fmla="*/ 2147483647 w 619"/>
              <a:gd name="T89" fmla="*/ 2147483647 h 43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619"/>
              <a:gd name="T136" fmla="*/ 0 h 433"/>
              <a:gd name="T137" fmla="*/ 619 w 619"/>
              <a:gd name="T138" fmla="*/ 433 h 433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619" h="433">
                <a:moveTo>
                  <a:pt x="286" y="433"/>
                </a:moveTo>
                <a:lnTo>
                  <a:pt x="280" y="425"/>
                </a:lnTo>
                <a:lnTo>
                  <a:pt x="274" y="419"/>
                </a:lnTo>
                <a:lnTo>
                  <a:pt x="268" y="413"/>
                </a:lnTo>
                <a:lnTo>
                  <a:pt x="261" y="410"/>
                </a:lnTo>
                <a:lnTo>
                  <a:pt x="246" y="402"/>
                </a:lnTo>
                <a:lnTo>
                  <a:pt x="227" y="395"/>
                </a:lnTo>
                <a:lnTo>
                  <a:pt x="227" y="385"/>
                </a:lnTo>
                <a:lnTo>
                  <a:pt x="226" y="376"/>
                </a:lnTo>
                <a:lnTo>
                  <a:pt x="224" y="367"/>
                </a:lnTo>
                <a:lnTo>
                  <a:pt x="221" y="358"/>
                </a:lnTo>
                <a:lnTo>
                  <a:pt x="218" y="351"/>
                </a:lnTo>
                <a:lnTo>
                  <a:pt x="213" y="343"/>
                </a:lnTo>
                <a:lnTo>
                  <a:pt x="209" y="337"/>
                </a:lnTo>
                <a:lnTo>
                  <a:pt x="204" y="330"/>
                </a:lnTo>
                <a:lnTo>
                  <a:pt x="192" y="317"/>
                </a:lnTo>
                <a:lnTo>
                  <a:pt x="178" y="307"/>
                </a:lnTo>
                <a:lnTo>
                  <a:pt x="164" y="296"/>
                </a:lnTo>
                <a:lnTo>
                  <a:pt x="149" y="285"/>
                </a:lnTo>
                <a:lnTo>
                  <a:pt x="138" y="266"/>
                </a:lnTo>
                <a:lnTo>
                  <a:pt x="127" y="248"/>
                </a:lnTo>
                <a:lnTo>
                  <a:pt x="117" y="230"/>
                </a:lnTo>
                <a:lnTo>
                  <a:pt x="106" y="212"/>
                </a:lnTo>
                <a:lnTo>
                  <a:pt x="80" y="203"/>
                </a:lnTo>
                <a:lnTo>
                  <a:pt x="54" y="194"/>
                </a:lnTo>
                <a:lnTo>
                  <a:pt x="28" y="184"/>
                </a:lnTo>
                <a:lnTo>
                  <a:pt x="2" y="175"/>
                </a:lnTo>
                <a:lnTo>
                  <a:pt x="4" y="162"/>
                </a:lnTo>
                <a:lnTo>
                  <a:pt x="5" y="151"/>
                </a:lnTo>
                <a:lnTo>
                  <a:pt x="8" y="140"/>
                </a:lnTo>
                <a:lnTo>
                  <a:pt x="10" y="130"/>
                </a:lnTo>
                <a:lnTo>
                  <a:pt x="15" y="113"/>
                </a:lnTo>
                <a:lnTo>
                  <a:pt x="22" y="97"/>
                </a:lnTo>
                <a:lnTo>
                  <a:pt x="23" y="91"/>
                </a:lnTo>
                <a:lnTo>
                  <a:pt x="25" y="83"/>
                </a:lnTo>
                <a:lnTo>
                  <a:pt x="25" y="75"/>
                </a:lnTo>
                <a:lnTo>
                  <a:pt x="22" y="67"/>
                </a:lnTo>
                <a:lnTo>
                  <a:pt x="19" y="58"/>
                </a:lnTo>
                <a:lnTo>
                  <a:pt x="15" y="49"/>
                </a:lnTo>
                <a:lnTo>
                  <a:pt x="8" y="39"/>
                </a:lnTo>
                <a:lnTo>
                  <a:pt x="0" y="27"/>
                </a:lnTo>
                <a:lnTo>
                  <a:pt x="13" y="22"/>
                </a:lnTo>
                <a:lnTo>
                  <a:pt x="27" y="17"/>
                </a:lnTo>
                <a:lnTo>
                  <a:pt x="44" y="11"/>
                </a:lnTo>
                <a:lnTo>
                  <a:pt x="61" y="8"/>
                </a:lnTo>
                <a:lnTo>
                  <a:pt x="79" y="4"/>
                </a:lnTo>
                <a:lnTo>
                  <a:pt x="96" y="1"/>
                </a:lnTo>
                <a:lnTo>
                  <a:pt x="116" y="0"/>
                </a:lnTo>
                <a:lnTo>
                  <a:pt x="132" y="0"/>
                </a:lnTo>
                <a:lnTo>
                  <a:pt x="151" y="1"/>
                </a:lnTo>
                <a:lnTo>
                  <a:pt x="168" y="5"/>
                </a:lnTo>
                <a:lnTo>
                  <a:pt x="183" y="10"/>
                </a:lnTo>
                <a:lnTo>
                  <a:pt x="199" y="17"/>
                </a:lnTo>
                <a:lnTo>
                  <a:pt x="205" y="21"/>
                </a:lnTo>
                <a:lnTo>
                  <a:pt x="212" y="26"/>
                </a:lnTo>
                <a:lnTo>
                  <a:pt x="217" y="31"/>
                </a:lnTo>
                <a:lnTo>
                  <a:pt x="224" y="37"/>
                </a:lnTo>
                <a:lnTo>
                  <a:pt x="229" y="44"/>
                </a:lnTo>
                <a:lnTo>
                  <a:pt x="233" y="50"/>
                </a:lnTo>
                <a:lnTo>
                  <a:pt x="237" y="60"/>
                </a:lnTo>
                <a:lnTo>
                  <a:pt x="239" y="67"/>
                </a:lnTo>
                <a:lnTo>
                  <a:pt x="260" y="70"/>
                </a:lnTo>
                <a:lnTo>
                  <a:pt x="281" y="74"/>
                </a:lnTo>
                <a:lnTo>
                  <a:pt x="303" y="77"/>
                </a:lnTo>
                <a:lnTo>
                  <a:pt x="324" y="79"/>
                </a:lnTo>
                <a:lnTo>
                  <a:pt x="329" y="93"/>
                </a:lnTo>
                <a:lnTo>
                  <a:pt x="334" y="104"/>
                </a:lnTo>
                <a:lnTo>
                  <a:pt x="339" y="113"/>
                </a:lnTo>
                <a:lnTo>
                  <a:pt x="346" y="121"/>
                </a:lnTo>
                <a:lnTo>
                  <a:pt x="352" y="125"/>
                </a:lnTo>
                <a:lnTo>
                  <a:pt x="359" y="127"/>
                </a:lnTo>
                <a:lnTo>
                  <a:pt x="365" y="129"/>
                </a:lnTo>
                <a:lnTo>
                  <a:pt x="373" y="127"/>
                </a:lnTo>
                <a:lnTo>
                  <a:pt x="381" y="126"/>
                </a:lnTo>
                <a:lnTo>
                  <a:pt x="389" y="122"/>
                </a:lnTo>
                <a:lnTo>
                  <a:pt x="397" y="118"/>
                </a:lnTo>
                <a:lnTo>
                  <a:pt x="406" y="112"/>
                </a:lnTo>
                <a:lnTo>
                  <a:pt x="423" y="97"/>
                </a:lnTo>
                <a:lnTo>
                  <a:pt x="440" y="82"/>
                </a:lnTo>
                <a:lnTo>
                  <a:pt x="446" y="99"/>
                </a:lnTo>
                <a:lnTo>
                  <a:pt x="451" y="116"/>
                </a:lnTo>
                <a:lnTo>
                  <a:pt x="456" y="134"/>
                </a:lnTo>
                <a:lnTo>
                  <a:pt x="463" y="152"/>
                </a:lnTo>
                <a:lnTo>
                  <a:pt x="489" y="174"/>
                </a:lnTo>
                <a:lnTo>
                  <a:pt x="507" y="190"/>
                </a:lnTo>
                <a:lnTo>
                  <a:pt x="514" y="196"/>
                </a:lnTo>
                <a:lnTo>
                  <a:pt x="518" y="203"/>
                </a:lnTo>
                <a:lnTo>
                  <a:pt x="521" y="208"/>
                </a:lnTo>
                <a:lnTo>
                  <a:pt x="523" y="212"/>
                </a:lnTo>
                <a:lnTo>
                  <a:pt x="523" y="237"/>
                </a:lnTo>
                <a:lnTo>
                  <a:pt x="520" y="279"/>
                </a:lnTo>
                <a:lnTo>
                  <a:pt x="532" y="282"/>
                </a:lnTo>
                <a:lnTo>
                  <a:pt x="544" y="283"/>
                </a:lnTo>
                <a:lnTo>
                  <a:pt x="557" y="285"/>
                </a:lnTo>
                <a:lnTo>
                  <a:pt x="568" y="285"/>
                </a:lnTo>
                <a:lnTo>
                  <a:pt x="594" y="282"/>
                </a:lnTo>
                <a:lnTo>
                  <a:pt x="619" y="279"/>
                </a:lnTo>
                <a:lnTo>
                  <a:pt x="618" y="295"/>
                </a:lnTo>
                <a:lnTo>
                  <a:pt x="616" y="311"/>
                </a:lnTo>
                <a:lnTo>
                  <a:pt x="616" y="328"/>
                </a:lnTo>
                <a:lnTo>
                  <a:pt x="616" y="344"/>
                </a:lnTo>
                <a:lnTo>
                  <a:pt x="603" y="354"/>
                </a:lnTo>
                <a:lnTo>
                  <a:pt x="589" y="360"/>
                </a:lnTo>
                <a:lnTo>
                  <a:pt x="577" y="365"/>
                </a:lnTo>
                <a:lnTo>
                  <a:pt x="566" y="371"/>
                </a:lnTo>
                <a:lnTo>
                  <a:pt x="559" y="373"/>
                </a:lnTo>
                <a:lnTo>
                  <a:pt x="554" y="376"/>
                </a:lnTo>
                <a:lnTo>
                  <a:pt x="549" y="380"/>
                </a:lnTo>
                <a:lnTo>
                  <a:pt x="544" y="385"/>
                </a:lnTo>
                <a:lnTo>
                  <a:pt x="540" y="390"/>
                </a:lnTo>
                <a:lnTo>
                  <a:pt x="536" y="397"/>
                </a:lnTo>
                <a:lnTo>
                  <a:pt x="532" y="404"/>
                </a:lnTo>
                <a:lnTo>
                  <a:pt x="528" y="413"/>
                </a:lnTo>
                <a:lnTo>
                  <a:pt x="511" y="412"/>
                </a:lnTo>
                <a:lnTo>
                  <a:pt x="493" y="411"/>
                </a:lnTo>
                <a:lnTo>
                  <a:pt x="476" y="411"/>
                </a:lnTo>
                <a:lnTo>
                  <a:pt x="459" y="410"/>
                </a:lnTo>
                <a:lnTo>
                  <a:pt x="441" y="399"/>
                </a:lnTo>
                <a:lnTo>
                  <a:pt x="424" y="390"/>
                </a:lnTo>
                <a:lnTo>
                  <a:pt x="417" y="387"/>
                </a:lnTo>
                <a:lnTo>
                  <a:pt x="410" y="385"/>
                </a:lnTo>
                <a:lnTo>
                  <a:pt x="403" y="385"/>
                </a:lnTo>
                <a:lnTo>
                  <a:pt x="398" y="385"/>
                </a:lnTo>
                <a:lnTo>
                  <a:pt x="393" y="386"/>
                </a:lnTo>
                <a:lnTo>
                  <a:pt x="387" y="389"/>
                </a:lnTo>
                <a:lnTo>
                  <a:pt x="384" y="393"/>
                </a:lnTo>
                <a:lnTo>
                  <a:pt x="380" y="398"/>
                </a:lnTo>
                <a:lnTo>
                  <a:pt x="376" y="404"/>
                </a:lnTo>
                <a:lnTo>
                  <a:pt x="373" y="412"/>
                </a:lnTo>
                <a:lnTo>
                  <a:pt x="371" y="423"/>
                </a:lnTo>
                <a:lnTo>
                  <a:pt x="368" y="433"/>
                </a:lnTo>
                <a:lnTo>
                  <a:pt x="347" y="433"/>
                </a:lnTo>
                <a:lnTo>
                  <a:pt x="326" y="433"/>
                </a:lnTo>
                <a:lnTo>
                  <a:pt x="306" y="433"/>
                </a:lnTo>
                <a:lnTo>
                  <a:pt x="286" y="433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78" name="Freeform 43"/>
          <p:cNvSpPr>
            <a:spLocks/>
          </p:cNvSpPr>
          <p:nvPr/>
        </p:nvSpPr>
        <p:spPr bwMode="auto">
          <a:xfrm>
            <a:off x="4267200" y="1595438"/>
            <a:ext cx="1423988" cy="1314450"/>
          </a:xfrm>
          <a:custGeom>
            <a:avLst/>
            <a:gdLst>
              <a:gd name="T0" fmla="*/ 2147483647 w 3588"/>
              <a:gd name="T1" fmla="*/ 2147483647 h 3314"/>
              <a:gd name="T2" fmla="*/ 2147483647 w 3588"/>
              <a:gd name="T3" fmla="*/ 2147483647 h 3314"/>
              <a:gd name="T4" fmla="*/ 2147483647 w 3588"/>
              <a:gd name="T5" fmla="*/ 2147483647 h 3314"/>
              <a:gd name="T6" fmla="*/ 2147483647 w 3588"/>
              <a:gd name="T7" fmla="*/ 2147483647 h 3314"/>
              <a:gd name="T8" fmla="*/ 2147483647 w 3588"/>
              <a:gd name="T9" fmla="*/ 2147483647 h 3314"/>
              <a:gd name="T10" fmla="*/ 2147483647 w 3588"/>
              <a:gd name="T11" fmla="*/ 2147483647 h 3314"/>
              <a:gd name="T12" fmla="*/ 2147483647 w 3588"/>
              <a:gd name="T13" fmla="*/ 2147483647 h 3314"/>
              <a:gd name="T14" fmla="*/ 2147483647 w 3588"/>
              <a:gd name="T15" fmla="*/ 2147483647 h 3314"/>
              <a:gd name="T16" fmla="*/ 2147483647 w 3588"/>
              <a:gd name="T17" fmla="*/ 2147483647 h 3314"/>
              <a:gd name="T18" fmla="*/ 2147483647 w 3588"/>
              <a:gd name="T19" fmla="*/ 2147483647 h 3314"/>
              <a:gd name="T20" fmla="*/ 2147483647 w 3588"/>
              <a:gd name="T21" fmla="*/ 2147483647 h 3314"/>
              <a:gd name="T22" fmla="*/ 2147483647 w 3588"/>
              <a:gd name="T23" fmla="*/ 2147483647 h 3314"/>
              <a:gd name="T24" fmla="*/ 2147483647 w 3588"/>
              <a:gd name="T25" fmla="*/ 2147483647 h 3314"/>
              <a:gd name="T26" fmla="*/ 2147483647 w 3588"/>
              <a:gd name="T27" fmla="*/ 2147483647 h 3314"/>
              <a:gd name="T28" fmla="*/ 2147483647 w 3588"/>
              <a:gd name="T29" fmla="*/ 2147483647 h 3314"/>
              <a:gd name="T30" fmla="*/ 2147483647 w 3588"/>
              <a:gd name="T31" fmla="*/ 2147483647 h 3314"/>
              <a:gd name="T32" fmla="*/ 2147483647 w 3588"/>
              <a:gd name="T33" fmla="*/ 2147483647 h 3314"/>
              <a:gd name="T34" fmla="*/ 2147483647 w 3588"/>
              <a:gd name="T35" fmla="*/ 2147483647 h 3314"/>
              <a:gd name="T36" fmla="*/ 2147483647 w 3588"/>
              <a:gd name="T37" fmla="*/ 2147483647 h 3314"/>
              <a:gd name="T38" fmla="*/ 2147483647 w 3588"/>
              <a:gd name="T39" fmla="*/ 2147483647 h 3314"/>
              <a:gd name="T40" fmla="*/ 2147483647 w 3588"/>
              <a:gd name="T41" fmla="*/ 2147483647 h 3314"/>
              <a:gd name="T42" fmla="*/ 2147483647 w 3588"/>
              <a:gd name="T43" fmla="*/ 2147483647 h 3314"/>
              <a:gd name="T44" fmla="*/ 2147483647 w 3588"/>
              <a:gd name="T45" fmla="*/ 2147483647 h 3314"/>
              <a:gd name="T46" fmla="*/ 2147483647 w 3588"/>
              <a:gd name="T47" fmla="*/ 2147483647 h 3314"/>
              <a:gd name="T48" fmla="*/ 2147483647 w 3588"/>
              <a:gd name="T49" fmla="*/ 2147483647 h 3314"/>
              <a:gd name="T50" fmla="*/ 2147483647 w 3588"/>
              <a:gd name="T51" fmla="*/ 2147483647 h 3314"/>
              <a:gd name="T52" fmla="*/ 2147483647 w 3588"/>
              <a:gd name="T53" fmla="*/ 2147483647 h 3314"/>
              <a:gd name="T54" fmla="*/ 2147483647 w 3588"/>
              <a:gd name="T55" fmla="*/ 2147483647 h 3314"/>
              <a:gd name="T56" fmla="*/ 2147483647 w 3588"/>
              <a:gd name="T57" fmla="*/ 2147483647 h 3314"/>
              <a:gd name="T58" fmla="*/ 2147483647 w 3588"/>
              <a:gd name="T59" fmla="*/ 2147483647 h 3314"/>
              <a:gd name="T60" fmla="*/ 2147483647 w 3588"/>
              <a:gd name="T61" fmla="*/ 2147483647 h 3314"/>
              <a:gd name="T62" fmla="*/ 2147483647 w 3588"/>
              <a:gd name="T63" fmla="*/ 2147483647 h 3314"/>
              <a:gd name="T64" fmla="*/ 2147483647 w 3588"/>
              <a:gd name="T65" fmla="*/ 0 h 3314"/>
              <a:gd name="T66" fmla="*/ 2147483647 w 3588"/>
              <a:gd name="T67" fmla="*/ 2147483647 h 3314"/>
              <a:gd name="T68" fmla="*/ 2147483647 w 3588"/>
              <a:gd name="T69" fmla="*/ 2147483647 h 3314"/>
              <a:gd name="T70" fmla="*/ 2147483647 w 3588"/>
              <a:gd name="T71" fmla="*/ 2147483647 h 3314"/>
              <a:gd name="T72" fmla="*/ 2147483647 w 3588"/>
              <a:gd name="T73" fmla="*/ 2147483647 h 3314"/>
              <a:gd name="T74" fmla="*/ 2147483647 w 3588"/>
              <a:gd name="T75" fmla="*/ 2147483647 h 3314"/>
              <a:gd name="T76" fmla="*/ 2147483647 w 3588"/>
              <a:gd name="T77" fmla="*/ 2147483647 h 3314"/>
              <a:gd name="T78" fmla="*/ 2147483647 w 3588"/>
              <a:gd name="T79" fmla="*/ 2147483647 h 3314"/>
              <a:gd name="T80" fmla="*/ 2147483647 w 3588"/>
              <a:gd name="T81" fmla="*/ 2147483647 h 3314"/>
              <a:gd name="T82" fmla="*/ 2147483647 w 3588"/>
              <a:gd name="T83" fmla="*/ 2147483647 h 3314"/>
              <a:gd name="T84" fmla="*/ 2147483647 w 3588"/>
              <a:gd name="T85" fmla="*/ 2147483647 h 3314"/>
              <a:gd name="T86" fmla="*/ 2147483647 w 3588"/>
              <a:gd name="T87" fmla="*/ 2147483647 h 3314"/>
              <a:gd name="T88" fmla="*/ 2147483647 w 3588"/>
              <a:gd name="T89" fmla="*/ 2147483647 h 3314"/>
              <a:gd name="T90" fmla="*/ 2147483647 w 3588"/>
              <a:gd name="T91" fmla="*/ 2147483647 h 3314"/>
              <a:gd name="T92" fmla="*/ 2147483647 w 3588"/>
              <a:gd name="T93" fmla="*/ 2147483647 h 3314"/>
              <a:gd name="T94" fmla="*/ 2147483647 w 3588"/>
              <a:gd name="T95" fmla="*/ 2147483647 h 3314"/>
              <a:gd name="T96" fmla="*/ 2147483647 w 3588"/>
              <a:gd name="T97" fmla="*/ 2147483647 h 3314"/>
              <a:gd name="T98" fmla="*/ 2147483647 w 3588"/>
              <a:gd name="T99" fmla="*/ 2147483647 h 3314"/>
              <a:gd name="T100" fmla="*/ 2147483647 w 3588"/>
              <a:gd name="T101" fmla="*/ 2147483647 h 3314"/>
              <a:gd name="T102" fmla="*/ 2147483647 w 3588"/>
              <a:gd name="T103" fmla="*/ 2147483647 h 3314"/>
              <a:gd name="T104" fmla="*/ 2147483647 w 3588"/>
              <a:gd name="T105" fmla="*/ 2147483647 h 3314"/>
              <a:gd name="T106" fmla="*/ 2147483647 w 3588"/>
              <a:gd name="T107" fmla="*/ 2147483647 h 3314"/>
              <a:gd name="T108" fmla="*/ 2147483647 w 3588"/>
              <a:gd name="T109" fmla="*/ 2147483647 h 3314"/>
              <a:gd name="T110" fmla="*/ 2147483647 w 3588"/>
              <a:gd name="T111" fmla="*/ 2147483647 h 3314"/>
              <a:gd name="T112" fmla="*/ 2147483647 w 3588"/>
              <a:gd name="T113" fmla="*/ 2147483647 h 3314"/>
              <a:gd name="T114" fmla="*/ 2147483647 w 3588"/>
              <a:gd name="T115" fmla="*/ 2147483647 h 3314"/>
              <a:gd name="T116" fmla="*/ 2147483647 w 3588"/>
              <a:gd name="T117" fmla="*/ 2147483647 h 3314"/>
              <a:gd name="T118" fmla="*/ 2147483647 w 3588"/>
              <a:gd name="T119" fmla="*/ 2147483647 h 3314"/>
              <a:gd name="T120" fmla="*/ 2147483647 w 3588"/>
              <a:gd name="T121" fmla="*/ 2147483647 h 3314"/>
              <a:gd name="T122" fmla="*/ 2147483647 w 3588"/>
              <a:gd name="T123" fmla="*/ 2147483647 h 331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588"/>
              <a:gd name="T187" fmla="*/ 0 h 3314"/>
              <a:gd name="T188" fmla="*/ 3588 w 3588"/>
              <a:gd name="T189" fmla="*/ 3314 h 3314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588" h="3314">
                <a:moveTo>
                  <a:pt x="1172" y="3314"/>
                </a:moveTo>
                <a:lnTo>
                  <a:pt x="1171" y="3304"/>
                </a:lnTo>
                <a:lnTo>
                  <a:pt x="1169" y="3295"/>
                </a:lnTo>
                <a:lnTo>
                  <a:pt x="1165" y="3287"/>
                </a:lnTo>
                <a:lnTo>
                  <a:pt x="1159" y="3279"/>
                </a:lnTo>
                <a:lnTo>
                  <a:pt x="1153" y="3273"/>
                </a:lnTo>
                <a:lnTo>
                  <a:pt x="1146" y="3267"/>
                </a:lnTo>
                <a:lnTo>
                  <a:pt x="1137" y="3262"/>
                </a:lnTo>
                <a:lnTo>
                  <a:pt x="1128" y="3258"/>
                </a:lnTo>
                <a:lnTo>
                  <a:pt x="1118" y="3254"/>
                </a:lnTo>
                <a:lnTo>
                  <a:pt x="1106" y="3252"/>
                </a:lnTo>
                <a:lnTo>
                  <a:pt x="1094" y="3249"/>
                </a:lnTo>
                <a:lnTo>
                  <a:pt x="1081" y="3248"/>
                </a:lnTo>
                <a:lnTo>
                  <a:pt x="1054" y="3247"/>
                </a:lnTo>
                <a:lnTo>
                  <a:pt x="1027" y="3247"/>
                </a:lnTo>
                <a:lnTo>
                  <a:pt x="997" y="3248"/>
                </a:lnTo>
                <a:lnTo>
                  <a:pt x="968" y="3249"/>
                </a:lnTo>
                <a:lnTo>
                  <a:pt x="941" y="3253"/>
                </a:lnTo>
                <a:lnTo>
                  <a:pt x="914" y="3256"/>
                </a:lnTo>
                <a:lnTo>
                  <a:pt x="868" y="3261"/>
                </a:lnTo>
                <a:lnTo>
                  <a:pt x="837" y="3263"/>
                </a:lnTo>
                <a:lnTo>
                  <a:pt x="808" y="3258"/>
                </a:lnTo>
                <a:lnTo>
                  <a:pt x="780" y="3252"/>
                </a:lnTo>
                <a:lnTo>
                  <a:pt x="751" y="3247"/>
                </a:lnTo>
                <a:lnTo>
                  <a:pt x="722" y="3243"/>
                </a:lnTo>
                <a:lnTo>
                  <a:pt x="716" y="3230"/>
                </a:lnTo>
                <a:lnTo>
                  <a:pt x="711" y="3218"/>
                </a:lnTo>
                <a:lnTo>
                  <a:pt x="707" y="3206"/>
                </a:lnTo>
                <a:lnTo>
                  <a:pt x="704" y="3193"/>
                </a:lnTo>
                <a:lnTo>
                  <a:pt x="702" y="3182"/>
                </a:lnTo>
                <a:lnTo>
                  <a:pt x="702" y="3169"/>
                </a:lnTo>
                <a:lnTo>
                  <a:pt x="700" y="3156"/>
                </a:lnTo>
                <a:lnTo>
                  <a:pt x="700" y="3144"/>
                </a:lnTo>
                <a:lnTo>
                  <a:pt x="702" y="3118"/>
                </a:lnTo>
                <a:lnTo>
                  <a:pt x="704" y="3092"/>
                </a:lnTo>
                <a:lnTo>
                  <a:pt x="705" y="3064"/>
                </a:lnTo>
                <a:lnTo>
                  <a:pt x="707" y="3037"/>
                </a:lnTo>
                <a:lnTo>
                  <a:pt x="695" y="3027"/>
                </a:lnTo>
                <a:lnTo>
                  <a:pt x="686" y="3020"/>
                </a:lnTo>
                <a:lnTo>
                  <a:pt x="676" y="3016"/>
                </a:lnTo>
                <a:lnTo>
                  <a:pt x="665" y="3015"/>
                </a:lnTo>
                <a:lnTo>
                  <a:pt x="644" y="3015"/>
                </a:lnTo>
                <a:lnTo>
                  <a:pt x="616" y="3018"/>
                </a:lnTo>
                <a:lnTo>
                  <a:pt x="604" y="3033"/>
                </a:lnTo>
                <a:lnTo>
                  <a:pt x="592" y="3048"/>
                </a:lnTo>
                <a:lnTo>
                  <a:pt x="578" y="3062"/>
                </a:lnTo>
                <a:lnTo>
                  <a:pt x="565" y="3075"/>
                </a:lnTo>
                <a:lnTo>
                  <a:pt x="536" y="3101"/>
                </a:lnTo>
                <a:lnTo>
                  <a:pt x="506" y="3126"/>
                </a:lnTo>
                <a:lnTo>
                  <a:pt x="502" y="3148"/>
                </a:lnTo>
                <a:lnTo>
                  <a:pt x="499" y="3169"/>
                </a:lnTo>
                <a:lnTo>
                  <a:pt x="497" y="3178"/>
                </a:lnTo>
                <a:lnTo>
                  <a:pt x="495" y="3185"/>
                </a:lnTo>
                <a:lnTo>
                  <a:pt x="491" y="3192"/>
                </a:lnTo>
                <a:lnTo>
                  <a:pt x="487" y="3198"/>
                </a:lnTo>
                <a:lnTo>
                  <a:pt x="483" y="3204"/>
                </a:lnTo>
                <a:lnTo>
                  <a:pt x="478" y="3208"/>
                </a:lnTo>
                <a:lnTo>
                  <a:pt x="471" y="3211"/>
                </a:lnTo>
                <a:lnTo>
                  <a:pt x="465" y="3213"/>
                </a:lnTo>
                <a:lnTo>
                  <a:pt x="456" y="3214"/>
                </a:lnTo>
                <a:lnTo>
                  <a:pt x="447" y="3214"/>
                </a:lnTo>
                <a:lnTo>
                  <a:pt x="436" y="3213"/>
                </a:lnTo>
                <a:lnTo>
                  <a:pt x="423" y="3210"/>
                </a:lnTo>
                <a:lnTo>
                  <a:pt x="415" y="3197"/>
                </a:lnTo>
                <a:lnTo>
                  <a:pt x="409" y="3184"/>
                </a:lnTo>
                <a:lnTo>
                  <a:pt x="401" y="3169"/>
                </a:lnTo>
                <a:lnTo>
                  <a:pt x="395" y="3153"/>
                </a:lnTo>
                <a:lnTo>
                  <a:pt x="381" y="3122"/>
                </a:lnTo>
                <a:lnTo>
                  <a:pt x="370" y="3093"/>
                </a:lnTo>
                <a:lnTo>
                  <a:pt x="362" y="3090"/>
                </a:lnTo>
                <a:lnTo>
                  <a:pt x="357" y="3089"/>
                </a:lnTo>
                <a:lnTo>
                  <a:pt x="354" y="3074"/>
                </a:lnTo>
                <a:lnTo>
                  <a:pt x="352" y="3059"/>
                </a:lnTo>
                <a:lnTo>
                  <a:pt x="349" y="3045"/>
                </a:lnTo>
                <a:lnTo>
                  <a:pt x="345" y="3031"/>
                </a:lnTo>
                <a:lnTo>
                  <a:pt x="336" y="3003"/>
                </a:lnTo>
                <a:lnTo>
                  <a:pt x="324" y="2975"/>
                </a:lnTo>
                <a:lnTo>
                  <a:pt x="318" y="2969"/>
                </a:lnTo>
                <a:lnTo>
                  <a:pt x="314" y="2963"/>
                </a:lnTo>
                <a:lnTo>
                  <a:pt x="310" y="2956"/>
                </a:lnTo>
                <a:lnTo>
                  <a:pt x="307" y="2950"/>
                </a:lnTo>
                <a:lnTo>
                  <a:pt x="305" y="2936"/>
                </a:lnTo>
                <a:lnTo>
                  <a:pt x="303" y="2921"/>
                </a:lnTo>
                <a:lnTo>
                  <a:pt x="306" y="2891"/>
                </a:lnTo>
                <a:lnTo>
                  <a:pt x="309" y="2858"/>
                </a:lnTo>
                <a:lnTo>
                  <a:pt x="301" y="2839"/>
                </a:lnTo>
                <a:lnTo>
                  <a:pt x="294" y="2820"/>
                </a:lnTo>
                <a:lnTo>
                  <a:pt x="292" y="2799"/>
                </a:lnTo>
                <a:lnTo>
                  <a:pt x="289" y="2780"/>
                </a:lnTo>
                <a:lnTo>
                  <a:pt x="289" y="2759"/>
                </a:lnTo>
                <a:lnTo>
                  <a:pt x="290" y="2738"/>
                </a:lnTo>
                <a:lnTo>
                  <a:pt x="292" y="2716"/>
                </a:lnTo>
                <a:lnTo>
                  <a:pt x="294" y="2695"/>
                </a:lnTo>
                <a:lnTo>
                  <a:pt x="300" y="2653"/>
                </a:lnTo>
                <a:lnTo>
                  <a:pt x="302" y="2610"/>
                </a:lnTo>
                <a:lnTo>
                  <a:pt x="302" y="2591"/>
                </a:lnTo>
                <a:lnTo>
                  <a:pt x="301" y="2570"/>
                </a:lnTo>
                <a:lnTo>
                  <a:pt x="298" y="2551"/>
                </a:lnTo>
                <a:lnTo>
                  <a:pt x="293" y="2531"/>
                </a:lnTo>
                <a:lnTo>
                  <a:pt x="285" y="2531"/>
                </a:lnTo>
                <a:lnTo>
                  <a:pt x="280" y="2531"/>
                </a:lnTo>
                <a:lnTo>
                  <a:pt x="277" y="2512"/>
                </a:lnTo>
                <a:lnTo>
                  <a:pt x="276" y="2492"/>
                </a:lnTo>
                <a:lnTo>
                  <a:pt x="275" y="2473"/>
                </a:lnTo>
                <a:lnTo>
                  <a:pt x="274" y="2454"/>
                </a:lnTo>
                <a:lnTo>
                  <a:pt x="263" y="2456"/>
                </a:lnTo>
                <a:lnTo>
                  <a:pt x="251" y="2457"/>
                </a:lnTo>
                <a:lnTo>
                  <a:pt x="241" y="2458"/>
                </a:lnTo>
                <a:lnTo>
                  <a:pt x="232" y="2460"/>
                </a:lnTo>
                <a:lnTo>
                  <a:pt x="220" y="2475"/>
                </a:lnTo>
                <a:lnTo>
                  <a:pt x="215" y="2486"/>
                </a:lnTo>
                <a:lnTo>
                  <a:pt x="211" y="2495"/>
                </a:lnTo>
                <a:lnTo>
                  <a:pt x="210" y="2506"/>
                </a:lnTo>
                <a:lnTo>
                  <a:pt x="198" y="2504"/>
                </a:lnTo>
                <a:lnTo>
                  <a:pt x="185" y="2501"/>
                </a:lnTo>
                <a:lnTo>
                  <a:pt x="173" y="2499"/>
                </a:lnTo>
                <a:lnTo>
                  <a:pt x="162" y="2493"/>
                </a:lnTo>
                <a:lnTo>
                  <a:pt x="140" y="2483"/>
                </a:lnTo>
                <a:lnTo>
                  <a:pt x="117" y="2471"/>
                </a:lnTo>
                <a:lnTo>
                  <a:pt x="95" y="2460"/>
                </a:lnTo>
                <a:lnTo>
                  <a:pt x="73" y="2448"/>
                </a:lnTo>
                <a:lnTo>
                  <a:pt x="63" y="2444"/>
                </a:lnTo>
                <a:lnTo>
                  <a:pt x="51" y="2440"/>
                </a:lnTo>
                <a:lnTo>
                  <a:pt x="41" y="2437"/>
                </a:lnTo>
                <a:lnTo>
                  <a:pt x="29" y="2435"/>
                </a:lnTo>
                <a:lnTo>
                  <a:pt x="22" y="2392"/>
                </a:lnTo>
                <a:lnTo>
                  <a:pt x="15" y="2348"/>
                </a:lnTo>
                <a:lnTo>
                  <a:pt x="8" y="2305"/>
                </a:lnTo>
                <a:lnTo>
                  <a:pt x="0" y="2262"/>
                </a:lnTo>
                <a:lnTo>
                  <a:pt x="11" y="2247"/>
                </a:lnTo>
                <a:lnTo>
                  <a:pt x="21" y="2234"/>
                </a:lnTo>
                <a:lnTo>
                  <a:pt x="47" y="2224"/>
                </a:lnTo>
                <a:lnTo>
                  <a:pt x="71" y="2212"/>
                </a:lnTo>
                <a:lnTo>
                  <a:pt x="91" y="2201"/>
                </a:lnTo>
                <a:lnTo>
                  <a:pt x="111" y="2189"/>
                </a:lnTo>
                <a:lnTo>
                  <a:pt x="129" y="2177"/>
                </a:lnTo>
                <a:lnTo>
                  <a:pt x="146" y="2163"/>
                </a:lnTo>
                <a:lnTo>
                  <a:pt x="164" y="2147"/>
                </a:lnTo>
                <a:lnTo>
                  <a:pt x="181" y="2130"/>
                </a:lnTo>
                <a:lnTo>
                  <a:pt x="203" y="2127"/>
                </a:lnTo>
                <a:lnTo>
                  <a:pt x="224" y="2123"/>
                </a:lnTo>
                <a:lnTo>
                  <a:pt x="246" y="2119"/>
                </a:lnTo>
                <a:lnTo>
                  <a:pt x="268" y="2116"/>
                </a:lnTo>
                <a:lnTo>
                  <a:pt x="274" y="2082"/>
                </a:lnTo>
                <a:lnTo>
                  <a:pt x="280" y="2058"/>
                </a:lnTo>
                <a:lnTo>
                  <a:pt x="287" y="2030"/>
                </a:lnTo>
                <a:lnTo>
                  <a:pt x="290" y="1994"/>
                </a:lnTo>
                <a:lnTo>
                  <a:pt x="294" y="1991"/>
                </a:lnTo>
                <a:lnTo>
                  <a:pt x="296" y="1989"/>
                </a:lnTo>
                <a:lnTo>
                  <a:pt x="297" y="1986"/>
                </a:lnTo>
                <a:lnTo>
                  <a:pt x="298" y="1982"/>
                </a:lnTo>
                <a:lnTo>
                  <a:pt x="298" y="1973"/>
                </a:lnTo>
                <a:lnTo>
                  <a:pt x="296" y="1964"/>
                </a:lnTo>
                <a:lnTo>
                  <a:pt x="292" y="1952"/>
                </a:lnTo>
                <a:lnTo>
                  <a:pt x="287" y="1942"/>
                </a:lnTo>
                <a:lnTo>
                  <a:pt x="280" y="1930"/>
                </a:lnTo>
                <a:lnTo>
                  <a:pt x="272" y="1917"/>
                </a:lnTo>
                <a:lnTo>
                  <a:pt x="254" y="1894"/>
                </a:lnTo>
                <a:lnTo>
                  <a:pt x="237" y="1872"/>
                </a:lnTo>
                <a:lnTo>
                  <a:pt x="220" y="1853"/>
                </a:lnTo>
                <a:lnTo>
                  <a:pt x="208" y="1840"/>
                </a:lnTo>
                <a:lnTo>
                  <a:pt x="207" y="1825"/>
                </a:lnTo>
                <a:lnTo>
                  <a:pt x="208" y="1810"/>
                </a:lnTo>
                <a:lnTo>
                  <a:pt x="212" y="1793"/>
                </a:lnTo>
                <a:lnTo>
                  <a:pt x="221" y="1764"/>
                </a:lnTo>
                <a:lnTo>
                  <a:pt x="236" y="1760"/>
                </a:lnTo>
                <a:lnTo>
                  <a:pt x="250" y="1754"/>
                </a:lnTo>
                <a:lnTo>
                  <a:pt x="262" y="1749"/>
                </a:lnTo>
                <a:lnTo>
                  <a:pt x="272" y="1743"/>
                </a:lnTo>
                <a:lnTo>
                  <a:pt x="283" y="1736"/>
                </a:lnTo>
                <a:lnTo>
                  <a:pt x="290" y="1728"/>
                </a:lnTo>
                <a:lnTo>
                  <a:pt x="298" y="1719"/>
                </a:lnTo>
                <a:lnTo>
                  <a:pt x="303" y="1710"/>
                </a:lnTo>
                <a:lnTo>
                  <a:pt x="309" y="1700"/>
                </a:lnTo>
                <a:lnTo>
                  <a:pt x="311" y="1689"/>
                </a:lnTo>
                <a:lnTo>
                  <a:pt x="313" y="1678"/>
                </a:lnTo>
                <a:lnTo>
                  <a:pt x="314" y="1666"/>
                </a:lnTo>
                <a:lnTo>
                  <a:pt x="313" y="1653"/>
                </a:lnTo>
                <a:lnTo>
                  <a:pt x="310" y="1640"/>
                </a:lnTo>
                <a:lnTo>
                  <a:pt x="306" y="1626"/>
                </a:lnTo>
                <a:lnTo>
                  <a:pt x="301" y="1611"/>
                </a:lnTo>
                <a:lnTo>
                  <a:pt x="281" y="1598"/>
                </a:lnTo>
                <a:lnTo>
                  <a:pt x="257" y="1578"/>
                </a:lnTo>
                <a:lnTo>
                  <a:pt x="242" y="1566"/>
                </a:lnTo>
                <a:lnTo>
                  <a:pt x="229" y="1553"/>
                </a:lnTo>
                <a:lnTo>
                  <a:pt x="218" y="1540"/>
                </a:lnTo>
                <a:lnTo>
                  <a:pt x="207" y="1527"/>
                </a:lnTo>
                <a:lnTo>
                  <a:pt x="198" y="1514"/>
                </a:lnTo>
                <a:lnTo>
                  <a:pt x="193" y="1502"/>
                </a:lnTo>
                <a:lnTo>
                  <a:pt x="192" y="1497"/>
                </a:lnTo>
                <a:lnTo>
                  <a:pt x="192" y="1493"/>
                </a:lnTo>
                <a:lnTo>
                  <a:pt x="192" y="1488"/>
                </a:lnTo>
                <a:lnTo>
                  <a:pt x="193" y="1484"/>
                </a:lnTo>
                <a:lnTo>
                  <a:pt x="195" y="1481"/>
                </a:lnTo>
                <a:lnTo>
                  <a:pt x="199" y="1479"/>
                </a:lnTo>
                <a:lnTo>
                  <a:pt x="205" y="1476"/>
                </a:lnTo>
                <a:lnTo>
                  <a:pt x="212" y="1475"/>
                </a:lnTo>
                <a:lnTo>
                  <a:pt x="220" y="1473"/>
                </a:lnTo>
                <a:lnTo>
                  <a:pt x="229" y="1475"/>
                </a:lnTo>
                <a:lnTo>
                  <a:pt x="241" y="1475"/>
                </a:lnTo>
                <a:lnTo>
                  <a:pt x="254" y="1477"/>
                </a:lnTo>
                <a:lnTo>
                  <a:pt x="267" y="1501"/>
                </a:lnTo>
                <a:lnTo>
                  <a:pt x="280" y="1523"/>
                </a:lnTo>
                <a:lnTo>
                  <a:pt x="293" y="1542"/>
                </a:lnTo>
                <a:lnTo>
                  <a:pt x="307" y="1561"/>
                </a:lnTo>
                <a:lnTo>
                  <a:pt x="323" y="1578"/>
                </a:lnTo>
                <a:lnTo>
                  <a:pt x="339" y="1596"/>
                </a:lnTo>
                <a:lnTo>
                  <a:pt x="357" y="1613"/>
                </a:lnTo>
                <a:lnTo>
                  <a:pt x="378" y="1631"/>
                </a:lnTo>
                <a:lnTo>
                  <a:pt x="385" y="1674"/>
                </a:lnTo>
                <a:lnTo>
                  <a:pt x="392" y="1701"/>
                </a:lnTo>
                <a:lnTo>
                  <a:pt x="400" y="1725"/>
                </a:lnTo>
                <a:lnTo>
                  <a:pt x="413" y="1756"/>
                </a:lnTo>
                <a:lnTo>
                  <a:pt x="432" y="1764"/>
                </a:lnTo>
                <a:lnTo>
                  <a:pt x="452" y="1770"/>
                </a:lnTo>
                <a:lnTo>
                  <a:pt x="471" y="1777"/>
                </a:lnTo>
                <a:lnTo>
                  <a:pt x="489" y="1782"/>
                </a:lnTo>
                <a:lnTo>
                  <a:pt x="508" y="1786"/>
                </a:lnTo>
                <a:lnTo>
                  <a:pt x="527" y="1787"/>
                </a:lnTo>
                <a:lnTo>
                  <a:pt x="547" y="1788"/>
                </a:lnTo>
                <a:lnTo>
                  <a:pt x="568" y="1787"/>
                </a:lnTo>
                <a:lnTo>
                  <a:pt x="568" y="1800"/>
                </a:lnTo>
                <a:lnTo>
                  <a:pt x="568" y="1813"/>
                </a:lnTo>
                <a:lnTo>
                  <a:pt x="568" y="1826"/>
                </a:lnTo>
                <a:lnTo>
                  <a:pt x="568" y="1840"/>
                </a:lnTo>
                <a:lnTo>
                  <a:pt x="527" y="1881"/>
                </a:lnTo>
                <a:lnTo>
                  <a:pt x="488" y="1918"/>
                </a:lnTo>
                <a:lnTo>
                  <a:pt x="480" y="1927"/>
                </a:lnTo>
                <a:lnTo>
                  <a:pt x="473" y="1938"/>
                </a:lnTo>
                <a:lnTo>
                  <a:pt x="466" y="1950"/>
                </a:lnTo>
                <a:lnTo>
                  <a:pt x="460" y="1961"/>
                </a:lnTo>
                <a:lnTo>
                  <a:pt x="454" y="1973"/>
                </a:lnTo>
                <a:lnTo>
                  <a:pt x="450" y="1987"/>
                </a:lnTo>
                <a:lnTo>
                  <a:pt x="448" y="2002"/>
                </a:lnTo>
                <a:lnTo>
                  <a:pt x="447" y="2017"/>
                </a:lnTo>
                <a:lnTo>
                  <a:pt x="461" y="2024"/>
                </a:lnTo>
                <a:lnTo>
                  <a:pt x="475" y="2029"/>
                </a:lnTo>
                <a:lnTo>
                  <a:pt x="476" y="2051"/>
                </a:lnTo>
                <a:lnTo>
                  <a:pt x="478" y="2072"/>
                </a:lnTo>
                <a:lnTo>
                  <a:pt x="478" y="2091"/>
                </a:lnTo>
                <a:lnTo>
                  <a:pt x="476" y="2111"/>
                </a:lnTo>
                <a:lnTo>
                  <a:pt x="474" y="2130"/>
                </a:lnTo>
                <a:lnTo>
                  <a:pt x="470" y="2150"/>
                </a:lnTo>
                <a:lnTo>
                  <a:pt x="463" y="2169"/>
                </a:lnTo>
                <a:lnTo>
                  <a:pt x="457" y="2190"/>
                </a:lnTo>
                <a:lnTo>
                  <a:pt x="430" y="2232"/>
                </a:lnTo>
                <a:lnTo>
                  <a:pt x="415" y="2255"/>
                </a:lnTo>
                <a:lnTo>
                  <a:pt x="411" y="2264"/>
                </a:lnTo>
                <a:lnTo>
                  <a:pt x="409" y="2271"/>
                </a:lnTo>
                <a:lnTo>
                  <a:pt x="406" y="2279"/>
                </a:lnTo>
                <a:lnTo>
                  <a:pt x="405" y="2287"/>
                </a:lnTo>
                <a:lnTo>
                  <a:pt x="417" y="2303"/>
                </a:lnTo>
                <a:lnTo>
                  <a:pt x="428" y="2319"/>
                </a:lnTo>
                <a:lnTo>
                  <a:pt x="440" y="2337"/>
                </a:lnTo>
                <a:lnTo>
                  <a:pt x="453" y="2354"/>
                </a:lnTo>
                <a:lnTo>
                  <a:pt x="454" y="2367"/>
                </a:lnTo>
                <a:lnTo>
                  <a:pt x="458" y="2380"/>
                </a:lnTo>
                <a:lnTo>
                  <a:pt x="461" y="2392"/>
                </a:lnTo>
                <a:lnTo>
                  <a:pt x="465" y="2404"/>
                </a:lnTo>
                <a:lnTo>
                  <a:pt x="470" y="2414"/>
                </a:lnTo>
                <a:lnTo>
                  <a:pt x="475" y="2424"/>
                </a:lnTo>
                <a:lnTo>
                  <a:pt x="482" y="2435"/>
                </a:lnTo>
                <a:lnTo>
                  <a:pt x="488" y="2443"/>
                </a:lnTo>
                <a:lnTo>
                  <a:pt x="496" y="2452"/>
                </a:lnTo>
                <a:lnTo>
                  <a:pt x="504" y="2458"/>
                </a:lnTo>
                <a:lnTo>
                  <a:pt x="514" y="2465"/>
                </a:lnTo>
                <a:lnTo>
                  <a:pt x="525" y="2470"/>
                </a:lnTo>
                <a:lnTo>
                  <a:pt x="535" y="2474"/>
                </a:lnTo>
                <a:lnTo>
                  <a:pt x="548" y="2476"/>
                </a:lnTo>
                <a:lnTo>
                  <a:pt x="561" y="2479"/>
                </a:lnTo>
                <a:lnTo>
                  <a:pt x="575" y="2479"/>
                </a:lnTo>
                <a:lnTo>
                  <a:pt x="575" y="2471"/>
                </a:lnTo>
                <a:lnTo>
                  <a:pt x="578" y="2463"/>
                </a:lnTo>
                <a:lnTo>
                  <a:pt x="561" y="2445"/>
                </a:lnTo>
                <a:lnTo>
                  <a:pt x="544" y="2424"/>
                </a:lnTo>
                <a:lnTo>
                  <a:pt x="527" y="2405"/>
                </a:lnTo>
                <a:lnTo>
                  <a:pt x="513" y="2383"/>
                </a:lnTo>
                <a:lnTo>
                  <a:pt x="506" y="2372"/>
                </a:lnTo>
                <a:lnTo>
                  <a:pt x="500" y="2361"/>
                </a:lnTo>
                <a:lnTo>
                  <a:pt x="495" y="2349"/>
                </a:lnTo>
                <a:lnTo>
                  <a:pt x="491" y="2337"/>
                </a:lnTo>
                <a:lnTo>
                  <a:pt x="487" y="2326"/>
                </a:lnTo>
                <a:lnTo>
                  <a:pt x="484" y="2313"/>
                </a:lnTo>
                <a:lnTo>
                  <a:pt x="482" y="2300"/>
                </a:lnTo>
                <a:lnTo>
                  <a:pt x="482" y="2287"/>
                </a:lnTo>
                <a:lnTo>
                  <a:pt x="504" y="2262"/>
                </a:lnTo>
                <a:lnTo>
                  <a:pt x="522" y="2245"/>
                </a:lnTo>
                <a:lnTo>
                  <a:pt x="530" y="2237"/>
                </a:lnTo>
                <a:lnTo>
                  <a:pt x="538" y="2228"/>
                </a:lnTo>
                <a:lnTo>
                  <a:pt x="545" y="2219"/>
                </a:lnTo>
                <a:lnTo>
                  <a:pt x="555" y="2206"/>
                </a:lnTo>
                <a:lnTo>
                  <a:pt x="556" y="2162"/>
                </a:lnTo>
                <a:lnTo>
                  <a:pt x="558" y="2117"/>
                </a:lnTo>
                <a:lnTo>
                  <a:pt x="561" y="2074"/>
                </a:lnTo>
                <a:lnTo>
                  <a:pt x="564" y="2032"/>
                </a:lnTo>
                <a:lnTo>
                  <a:pt x="561" y="2015"/>
                </a:lnTo>
                <a:lnTo>
                  <a:pt x="560" y="2000"/>
                </a:lnTo>
                <a:lnTo>
                  <a:pt x="558" y="1987"/>
                </a:lnTo>
                <a:lnTo>
                  <a:pt x="558" y="1976"/>
                </a:lnTo>
                <a:lnTo>
                  <a:pt x="560" y="1965"/>
                </a:lnTo>
                <a:lnTo>
                  <a:pt x="561" y="1956"/>
                </a:lnTo>
                <a:lnTo>
                  <a:pt x="564" y="1948"/>
                </a:lnTo>
                <a:lnTo>
                  <a:pt x="568" y="1939"/>
                </a:lnTo>
                <a:lnTo>
                  <a:pt x="578" y="1925"/>
                </a:lnTo>
                <a:lnTo>
                  <a:pt x="592" y="1909"/>
                </a:lnTo>
                <a:lnTo>
                  <a:pt x="609" y="1891"/>
                </a:lnTo>
                <a:lnTo>
                  <a:pt x="631" y="1868"/>
                </a:lnTo>
                <a:lnTo>
                  <a:pt x="633" y="1852"/>
                </a:lnTo>
                <a:lnTo>
                  <a:pt x="633" y="1838"/>
                </a:lnTo>
                <a:lnTo>
                  <a:pt x="633" y="1825"/>
                </a:lnTo>
                <a:lnTo>
                  <a:pt x="631" y="1812"/>
                </a:lnTo>
                <a:lnTo>
                  <a:pt x="629" y="1801"/>
                </a:lnTo>
                <a:lnTo>
                  <a:pt x="625" y="1791"/>
                </a:lnTo>
                <a:lnTo>
                  <a:pt x="621" y="1780"/>
                </a:lnTo>
                <a:lnTo>
                  <a:pt x="616" y="1771"/>
                </a:lnTo>
                <a:lnTo>
                  <a:pt x="610" y="1762"/>
                </a:lnTo>
                <a:lnTo>
                  <a:pt x="603" y="1754"/>
                </a:lnTo>
                <a:lnTo>
                  <a:pt x="596" y="1745"/>
                </a:lnTo>
                <a:lnTo>
                  <a:pt x="587" y="1738"/>
                </a:lnTo>
                <a:lnTo>
                  <a:pt x="569" y="1721"/>
                </a:lnTo>
                <a:lnTo>
                  <a:pt x="547" y="1704"/>
                </a:lnTo>
                <a:lnTo>
                  <a:pt x="547" y="1684"/>
                </a:lnTo>
                <a:lnTo>
                  <a:pt x="548" y="1662"/>
                </a:lnTo>
                <a:lnTo>
                  <a:pt x="549" y="1636"/>
                </a:lnTo>
                <a:lnTo>
                  <a:pt x="549" y="1604"/>
                </a:lnTo>
                <a:lnTo>
                  <a:pt x="522" y="1580"/>
                </a:lnTo>
                <a:lnTo>
                  <a:pt x="495" y="1557"/>
                </a:lnTo>
                <a:lnTo>
                  <a:pt x="469" y="1533"/>
                </a:lnTo>
                <a:lnTo>
                  <a:pt x="443" y="1510"/>
                </a:lnTo>
                <a:lnTo>
                  <a:pt x="440" y="1473"/>
                </a:lnTo>
                <a:lnTo>
                  <a:pt x="440" y="1441"/>
                </a:lnTo>
                <a:lnTo>
                  <a:pt x="443" y="1425"/>
                </a:lnTo>
                <a:lnTo>
                  <a:pt x="447" y="1410"/>
                </a:lnTo>
                <a:lnTo>
                  <a:pt x="449" y="1402"/>
                </a:lnTo>
                <a:lnTo>
                  <a:pt x="453" y="1394"/>
                </a:lnTo>
                <a:lnTo>
                  <a:pt x="458" y="1386"/>
                </a:lnTo>
                <a:lnTo>
                  <a:pt x="465" y="1378"/>
                </a:lnTo>
                <a:lnTo>
                  <a:pt x="466" y="1346"/>
                </a:lnTo>
                <a:lnTo>
                  <a:pt x="465" y="1317"/>
                </a:lnTo>
                <a:lnTo>
                  <a:pt x="463" y="1289"/>
                </a:lnTo>
                <a:lnTo>
                  <a:pt x="462" y="1254"/>
                </a:lnTo>
                <a:lnTo>
                  <a:pt x="471" y="1225"/>
                </a:lnTo>
                <a:lnTo>
                  <a:pt x="480" y="1196"/>
                </a:lnTo>
                <a:lnTo>
                  <a:pt x="489" y="1168"/>
                </a:lnTo>
                <a:lnTo>
                  <a:pt x="499" y="1139"/>
                </a:lnTo>
                <a:lnTo>
                  <a:pt x="530" y="1139"/>
                </a:lnTo>
                <a:lnTo>
                  <a:pt x="561" y="1139"/>
                </a:lnTo>
                <a:lnTo>
                  <a:pt x="592" y="1140"/>
                </a:lnTo>
                <a:lnTo>
                  <a:pt x="622" y="1143"/>
                </a:lnTo>
                <a:lnTo>
                  <a:pt x="653" y="1147"/>
                </a:lnTo>
                <a:lnTo>
                  <a:pt x="683" y="1152"/>
                </a:lnTo>
                <a:lnTo>
                  <a:pt x="698" y="1156"/>
                </a:lnTo>
                <a:lnTo>
                  <a:pt x="712" y="1161"/>
                </a:lnTo>
                <a:lnTo>
                  <a:pt x="728" y="1166"/>
                </a:lnTo>
                <a:lnTo>
                  <a:pt x="741" y="1173"/>
                </a:lnTo>
                <a:lnTo>
                  <a:pt x="802" y="1176"/>
                </a:lnTo>
                <a:lnTo>
                  <a:pt x="850" y="1178"/>
                </a:lnTo>
                <a:lnTo>
                  <a:pt x="888" y="1181"/>
                </a:lnTo>
                <a:lnTo>
                  <a:pt x="915" y="1182"/>
                </a:lnTo>
                <a:lnTo>
                  <a:pt x="937" y="1183"/>
                </a:lnTo>
                <a:lnTo>
                  <a:pt x="953" y="1183"/>
                </a:lnTo>
                <a:lnTo>
                  <a:pt x="964" y="1183"/>
                </a:lnTo>
                <a:lnTo>
                  <a:pt x="976" y="1183"/>
                </a:lnTo>
                <a:lnTo>
                  <a:pt x="986" y="1178"/>
                </a:lnTo>
                <a:lnTo>
                  <a:pt x="998" y="1174"/>
                </a:lnTo>
                <a:lnTo>
                  <a:pt x="1009" y="1172"/>
                </a:lnTo>
                <a:lnTo>
                  <a:pt x="1020" y="1170"/>
                </a:lnTo>
                <a:lnTo>
                  <a:pt x="1042" y="1170"/>
                </a:lnTo>
                <a:lnTo>
                  <a:pt x="1065" y="1172"/>
                </a:lnTo>
                <a:lnTo>
                  <a:pt x="1087" y="1174"/>
                </a:lnTo>
                <a:lnTo>
                  <a:pt x="1109" y="1177"/>
                </a:lnTo>
                <a:lnTo>
                  <a:pt x="1131" y="1178"/>
                </a:lnTo>
                <a:lnTo>
                  <a:pt x="1153" y="1177"/>
                </a:lnTo>
                <a:lnTo>
                  <a:pt x="1149" y="1156"/>
                </a:lnTo>
                <a:lnTo>
                  <a:pt x="1144" y="1135"/>
                </a:lnTo>
                <a:lnTo>
                  <a:pt x="1139" y="1116"/>
                </a:lnTo>
                <a:lnTo>
                  <a:pt x="1132" y="1096"/>
                </a:lnTo>
                <a:lnTo>
                  <a:pt x="1118" y="1057"/>
                </a:lnTo>
                <a:lnTo>
                  <a:pt x="1106" y="1017"/>
                </a:lnTo>
                <a:lnTo>
                  <a:pt x="1100" y="1014"/>
                </a:lnTo>
                <a:lnTo>
                  <a:pt x="1093" y="1012"/>
                </a:lnTo>
                <a:lnTo>
                  <a:pt x="1091" y="1001"/>
                </a:lnTo>
                <a:lnTo>
                  <a:pt x="1088" y="992"/>
                </a:lnTo>
                <a:lnTo>
                  <a:pt x="1109" y="992"/>
                </a:lnTo>
                <a:lnTo>
                  <a:pt x="1132" y="992"/>
                </a:lnTo>
                <a:lnTo>
                  <a:pt x="1154" y="992"/>
                </a:lnTo>
                <a:lnTo>
                  <a:pt x="1178" y="992"/>
                </a:lnTo>
                <a:lnTo>
                  <a:pt x="1180" y="984"/>
                </a:lnTo>
                <a:lnTo>
                  <a:pt x="1183" y="979"/>
                </a:lnTo>
                <a:lnTo>
                  <a:pt x="1176" y="974"/>
                </a:lnTo>
                <a:lnTo>
                  <a:pt x="1169" y="969"/>
                </a:lnTo>
                <a:lnTo>
                  <a:pt x="1162" y="962"/>
                </a:lnTo>
                <a:lnTo>
                  <a:pt x="1157" y="957"/>
                </a:lnTo>
                <a:lnTo>
                  <a:pt x="1145" y="943"/>
                </a:lnTo>
                <a:lnTo>
                  <a:pt x="1136" y="930"/>
                </a:lnTo>
                <a:lnTo>
                  <a:pt x="1126" y="915"/>
                </a:lnTo>
                <a:lnTo>
                  <a:pt x="1115" y="901"/>
                </a:lnTo>
                <a:lnTo>
                  <a:pt x="1105" y="887"/>
                </a:lnTo>
                <a:lnTo>
                  <a:pt x="1091" y="875"/>
                </a:lnTo>
                <a:lnTo>
                  <a:pt x="1097" y="870"/>
                </a:lnTo>
                <a:lnTo>
                  <a:pt x="1102" y="866"/>
                </a:lnTo>
                <a:lnTo>
                  <a:pt x="1110" y="874"/>
                </a:lnTo>
                <a:lnTo>
                  <a:pt x="1118" y="882"/>
                </a:lnTo>
                <a:lnTo>
                  <a:pt x="1127" y="888"/>
                </a:lnTo>
                <a:lnTo>
                  <a:pt x="1136" y="893"/>
                </a:lnTo>
                <a:lnTo>
                  <a:pt x="1145" y="897"/>
                </a:lnTo>
                <a:lnTo>
                  <a:pt x="1156" y="900"/>
                </a:lnTo>
                <a:lnTo>
                  <a:pt x="1166" y="900"/>
                </a:lnTo>
                <a:lnTo>
                  <a:pt x="1178" y="896"/>
                </a:lnTo>
                <a:lnTo>
                  <a:pt x="1186" y="879"/>
                </a:lnTo>
                <a:lnTo>
                  <a:pt x="1195" y="862"/>
                </a:lnTo>
                <a:lnTo>
                  <a:pt x="1205" y="845"/>
                </a:lnTo>
                <a:lnTo>
                  <a:pt x="1215" y="830"/>
                </a:lnTo>
                <a:lnTo>
                  <a:pt x="1223" y="814"/>
                </a:lnTo>
                <a:lnTo>
                  <a:pt x="1230" y="797"/>
                </a:lnTo>
                <a:lnTo>
                  <a:pt x="1231" y="788"/>
                </a:lnTo>
                <a:lnTo>
                  <a:pt x="1232" y="780"/>
                </a:lnTo>
                <a:lnTo>
                  <a:pt x="1231" y="771"/>
                </a:lnTo>
                <a:lnTo>
                  <a:pt x="1230" y="762"/>
                </a:lnTo>
                <a:lnTo>
                  <a:pt x="1256" y="761"/>
                </a:lnTo>
                <a:lnTo>
                  <a:pt x="1283" y="759"/>
                </a:lnTo>
                <a:lnTo>
                  <a:pt x="1310" y="758"/>
                </a:lnTo>
                <a:lnTo>
                  <a:pt x="1338" y="758"/>
                </a:lnTo>
                <a:lnTo>
                  <a:pt x="1366" y="720"/>
                </a:lnTo>
                <a:lnTo>
                  <a:pt x="1383" y="699"/>
                </a:lnTo>
                <a:lnTo>
                  <a:pt x="1392" y="689"/>
                </a:lnTo>
                <a:lnTo>
                  <a:pt x="1401" y="682"/>
                </a:lnTo>
                <a:lnTo>
                  <a:pt x="1460" y="671"/>
                </a:lnTo>
                <a:lnTo>
                  <a:pt x="1519" y="658"/>
                </a:lnTo>
                <a:lnTo>
                  <a:pt x="1577" y="645"/>
                </a:lnTo>
                <a:lnTo>
                  <a:pt x="1634" y="632"/>
                </a:lnTo>
                <a:lnTo>
                  <a:pt x="1692" y="620"/>
                </a:lnTo>
                <a:lnTo>
                  <a:pt x="1750" y="611"/>
                </a:lnTo>
                <a:lnTo>
                  <a:pt x="1779" y="607"/>
                </a:lnTo>
                <a:lnTo>
                  <a:pt x="1809" y="603"/>
                </a:lnTo>
                <a:lnTo>
                  <a:pt x="1840" y="602"/>
                </a:lnTo>
                <a:lnTo>
                  <a:pt x="1870" y="601"/>
                </a:lnTo>
                <a:lnTo>
                  <a:pt x="1865" y="589"/>
                </a:lnTo>
                <a:lnTo>
                  <a:pt x="1858" y="581"/>
                </a:lnTo>
                <a:lnTo>
                  <a:pt x="1853" y="575"/>
                </a:lnTo>
                <a:lnTo>
                  <a:pt x="1845" y="568"/>
                </a:lnTo>
                <a:lnTo>
                  <a:pt x="1830" y="560"/>
                </a:lnTo>
                <a:lnTo>
                  <a:pt x="1806" y="550"/>
                </a:lnTo>
                <a:lnTo>
                  <a:pt x="1806" y="535"/>
                </a:lnTo>
                <a:lnTo>
                  <a:pt x="1806" y="522"/>
                </a:lnTo>
                <a:lnTo>
                  <a:pt x="1839" y="521"/>
                </a:lnTo>
                <a:lnTo>
                  <a:pt x="1870" y="519"/>
                </a:lnTo>
                <a:lnTo>
                  <a:pt x="1898" y="516"/>
                </a:lnTo>
                <a:lnTo>
                  <a:pt x="1926" y="516"/>
                </a:lnTo>
                <a:lnTo>
                  <a:pt x="1954" y="516"/>
                </a:lnTo>
                <a:lnTo>
                  <a:pt x="1983" y="519"/>
                </a:lnTo>
                <a:lnTo>
                  <a:pt x="2012" y="522"/>
                </a:lnTo>
                <a:lnTo>
                  <a:pt x="2043" y="530"/>
                </a:lnTo>
                <a:lnTo>
                  <a:pt x="2040" y="549"/>
                </a:lnTo>
                <a:lnTo>
                  <a:pt x="2038" y="565"/>
                </a:lnTo>
                <a:lnTo>
                  <a:pt x="2035" y="584"/>
                </a:lnTo>
                <a:lnTo>
                  <a:pt x="2034" y="602"/>
                </a:lnTo>
                <a:lnTo>
                  <a:pt x="2045" y="601"/>
                </a:lnTo>
                <a:lnTo>
                  <a:pt x="2057" y="601"/>
                </a:lnTo>
                <a:lnTo>
                  <a:pt x="2069" y="601"/>
                </a:lnTo>
                <a:lnTo>
                  <a:pt x="2082" y="601"/>
                </a:lnTo>
                <a:lnTo>
                  <a:pt x="2083" y="606"/>
                </a:lnTo>
                <a:lnTo>
                  <a:pt x="2086" y="611"/>
                </a:lnTo>
                <a:lnTo>
                  <a:pt x="2105" y="608"/>
                </a:lnTo>
                <a:lnTo>
                  <a:pt x="2129" y="602"/>
                </a:lnTo>
                <a:lnTo>
                  <a:pt x="2155" y="594"/>
                </a:lnTo>
                <a:lnTo>
                  <a:pt x="2181" y="584"/>
                </a:lnTo>
                <a:lnTo>
                  <a:pt x="2194" y="577"/>
                </a:lnTo>
                <a:lnTo>
                  <a:pt x="2205" y="572"/>
                </a:lnTo>
                <a:lnTo>
                  <a:pt x="2216" y="565"/>
                </a:lnTo>
                <a:lnTo>
                  <a:pt x="2226" y="558"/>
                </a:lnTo>
                <a:lnTo>
                  <a:pt x="2235" y="551"/>
                </a:lnTo>
                <a:lnTo>
                  <a:pt x="2243" y="543"/>
                </a:lnTo>
                <a:lnTo>
                  <a:pt x="2248" y="537"/>
                </a:lnTo>
                <a:lnTo>
                  <a:pt x="2252" y="529"/>
                </a:lnTo>
                <a:lnTo>
                  <a:pt x="2285" y="528"/>
                </a:lnTo>
                <a:lnTo>
                  <a:pt x="2312" y="528"/>
                </a:lnTo>
                <a:lnTo>
                  <a:pt x="2339" y="529"/>
                </a:lnTo>
                <a:lnTo>
                  <a:pt x="2371" y="530"/>
                </a:lnTo>
                <a:lnTo>
                  <a:pt x="2373" y="524"/>
                </a:lnTo>
                <a:lnTo>
                  <a:pt x="2375" y="517"/>
                </a:lnTo>
                <a:lnTo>
                  <a:pt x="2375" y="511"/>
                </a:lnTo>
                <a:lnTo>
                  <a:pt x="2373" y="503"/>
                </a:lnTo>
                <a:lnTo>
                  <a:pt x="2369" y="490"/>
                </a:lnTo>
                <a:lnTo>
                  <a:pt x="2362" y="477"/>
                </a:lnTo>
                <a:lnTo>
                  <a:pt x="2354" y="464"/>
                </a:lnTo>
                <a:lnTo>
                  <a:pt x="2346" y="450"/>
                </a:lnTo>
                <a:lnTo>
                  <a:pt x="2343" y="442"/>
                </a:lnTo>
                <a:lnTo>
                  <a:pt x="2342" y="433"/>
                </a:lnTo>
                <a:lnTo>
                  <a:pt x="2341" y="425"/>
                </a:lnTo>
                <a:lnTo>
                  <a:pt x="2341" y="416"/>
                </a:lnTo>
                <a:lnTo>
                  <a:pt x="2375" y="417"/>
                </a:lnTo>
                <a:lnTo>
                  <a:pt x="2403" y="420"/>
                </a:lnTo>
                <a:lnTo>
                  <a:pt x="2427" y="421"/>
                </a:lnTo>
                <a:lnTo>
                  <a:pt x="2446" y="418"/>
                </a:lnTo>
                <a:lnTo>
                  <a:pt x="2457" y="417"/>
                </a:lnTo>
                <a:lnTo>
                  <a:pt x="2464" y="415"/>
                </a:lnTo>
                <a:lnTo>
                  <a:pt x="2473" y="409"/>
                </a:lnTo>
                <a:lnTo>
                  <a:pt x="2483" y="404"/>
                </a:lnTo>
                <a:lnTo>
                  <a:pt x="2492" y="396"/>
                </a:lnTo>
                <a:lnTo>
                  <a:pt x="2501" y="387"/>
                </a:lnTo>
                <a:lnTo>
                  <a:pt x="2510" y="377"/>
                </a:lnTo>
                <a:lnTo>
                  <a:pt x="2520" y="364"/>
                </a:lnTo>
                <a:lnTo>
                  <a:pt x="2511" y="318"/>
                </a:lnTo>
                <a:lnTo>
                  <a:pt x="2506" y="288"/>
                </a:lnTo>
                <a:lnTo>
                  <a:pt x="2506" y="281"/>
                </a:lnTo>
                <a:lnTo>
                  <a:pt x="2507" y="274"/>
                </a:lnTo>
                <a:lnTo>
                  <a:pt x="2510" y="266"/>
                </a:lnTo>
                <a:lnTo>
                  <a:pt x="2513" y="258"/>
                </a:lnTo>
                <a:lnTo>
                  <a:pt x="2523" y="240"/>
                </a:lnTo>
                <a:lnTo>
                  <a:pt x="2540" y="215"/>
                </a:lnTo>
                <a:lnTo>
                  <a:pt x="2541" y="204"/>
                </a:lnTo>
                <a:lnTo>
                  <a:pt x="2542" y="192"/>
                </a:lnTo>
                <a:lnTo>
                  <a:pt x="2546" y="180"/>
                </a:lnTo>
                <a:lnTo>
                  <a:pt x="2549" y="169"/>
                </a:lnTo>
                <a:lnTo>
                  <a:pt x="2558" y="148"/>
                </a:lnTo>
                <a:lnTo>
                  <a:pt x="2570" y="127"/>
                </a:lnTo>
                <a:lnTo>
                  <a:pt x="2583" y="107"/>
                </a:lnTo>
                <a:lnTo>
                  <a:pt x="2598" y="88"/>
                </a:lnTo>
                <a:lnTo>
                  <a:pt x="2615" y="71"/>
                </a:lnTo>
                <a:lnTo>
                  <a:pt x="2634" y="55"/>
                </a:lnTo>
                <a:lnTo>
                  <a:pt x="2653" y="42"/>
                </a:lnTo>
                <a:lnTo>
                  <a:pt x="2674" y="29"/>
                </a:lnTo>
                <a:lnTo>
                  <a:pt x="2696" y="19"/>
                </a:lnTo>
                <a:lnTo>
                  <a:pt x="2719" y="11"/>
                </a:lnTo>
                <a:lnTo>
                  <a:pt x="2742" y="5"/>
                </a:lnTo>
                <a:lnTo>
                  <a:pt x="2765" y="1"/>
                </a:lnTo>
                <a:lnTo>
                  <a:pt x="2790" y="0"/>
                </a:lnTo>
                <a:lnTo>
                  <a:pt x="2813" y="0"/>
                </a:lnTo>
                <a:lnTo>
                  <a:pt x="2842" y="15"/>
                </a:lnTo>
                <a:lnTo>
                  <a:pt x="2860" y="24"/>
                </a:lnTo>
                <a:lnTo>
                  <a:pt x="2876" y="31"/>
                </a:lnTo>
                <a:lnTo>
                  <a:pt x="2895" y="36"/>
                </a:lnTo>
                <a:lnTo>
                  <a:pt x="2898" y="53"/>
                </a:lnTo>
                <a:lnTo>
                  <a:pt x="2896" y="67"/>
                </a:lnTo>
                <a:lnTo>
                  <a:pt x="2895" y="80"/>
                </a:lnTo>
                <a:lnTo>
                  <a:pt x="2891" y="91"/>
                </a:lnTo>
                <a:lnTo>
                  <a:pt x="2886" y="101"/>
                </a:lnTo>
                <a:lnTo>
                  <a:pt x="2879" y="110"/>
                </a:lnTo>
                <a:lnTo>
                  <a:pt x="2873" y="119"/>
                </a:lnTo>
                <a:lnTo>
                  <a:pt x="2865" y="127"/>
                </a:lnTo>
                <a:lnTo>
                  <a:pt x="2848" y="144"/>
                </a:lnTo>
                <a:lnTo>
                  <a:pt x="2831" y="161"/>
                </a:lnTo>
                <a:lnTo>
                  <a:pt x="2823" y="171"/>
                </a:lnTo>
                <a:lnTo>
                  <a:pt x="2816" y="183"/>
                </a:lnTo>
                <a:lnTo>
                  <a:pt x="2810" y="196"/>
                </a:lnTo>
                <a:lnTo>
                  <a:pt x="2805" y="209"/>
                </a:lnTo>
                <a:lnTo>
                  <a:pt x="2826" y="210"/>
                </a:lnTo>
                <a:lnTo>
                  <a:pt x="2847" y="210"/>
                </a:lnTo>
                <a:lnTo>
                  <a:pt x="2868" y="212"/>
                </a:lnTo>
                <a:lnTo>
                  <a:pt x="2890" y="213"/>
                </a:lnTo>
                <a:lnTo>
                  <a:pt x="2892" y="221"/>
                </a:lnTo>
                <a:lnTo>
                  <a:pt x="2895" y="228"/>
                </a:lnTo>
                <a:lnTo>
                  <a:pt x="2924" y="232"/>
                </a:lnTo>
                <a:lnTo>
                  <a:pt x="2954" y="235"/>
                </a:lnTo>
                <a:lnTo>
                  <a:pt x="2982" y="239"/>
                </a:lnTo>
                <a:lnTo>
                  <a:pt x="3011" y="243"/>
                </a:lnTo>
                <a:lnTo>
                  <a:pt x="3008" y="261"/>
                </a:lnTo>
                <a:lnTo>
                  <a:pt x="3006" y="281"/>
                </a:lnTo>
                <a:lnTo>
                  <a:pt x="3004" y="301"/>
                </a:lnTo>
                <a:lnTo>
                  <a:pt x="3003" y="321"/>
                </a:lnTo>
                <a:lnTo>
                  <a:pt x="2990" y="339"/>
                </a:lnTo>
                <a:lnTo>
                  <a:pt x="2980" y="353"/>
                </a:lnTo>
                <a:lnTo>
                  <a:pt x="2977" y="361"/>
                </a:lnTo>
                <a:lnTo>
                  <a:pt x="2974" y="368"/>
                </a:lnTo>
                <a:lnTo>
                  <a:pt x="2972" y="374"/>
                </a:lnTo>
                <a:lnTo>
                  <a:pt x="2972" y="381"/>
                </a:lnTo>
                <a:lnTo>
                  <a:pt x="2972" y="386"/>
                </a:lnTo>
                <a:lnTo>
                  <a:pt x="2973" y="392"/>
                </a:lnTo>
                <a:lnTo>
                  <a:pt x="2977" y="399"/>
                </a:lnTo>
                <a:lnTo>
                  <a:pt x="2981" y="404"/>
                </a:lnTo>
                <a:lnTo>
                  <a:pt x="2986" y="411"/>
                </a:lnTo>
                <a:lnTo>
                  <a:pt x="2993" y="417"/>
                </a:lnTo>
                <a:lnTo>
                  <a:pt x="3000" y="424"/>
                </a:lnTo>
                <a:lnTo>
                  <a:pt x="3011" y="431"/>
                </a:lnTo>
                <a:lnTo>
                  <a:pt x="3021" y="426"/>
                </a:lnTo>
                <a:lnTo>
                  <a:pt x="3032" y="422"/>
                </a:lnTo>
                <a:lnTo>
                  <a:pt x="3043" y="418"/>
                </a:lnTo>
                <a:lnTo>
                  <a:pt x="3055" y="416"/>
                </a:lnTo>
                <a:lnTo>
                  <a:pt x="3055" y="408"/>
                </a:lnTo>
                <a:lnTo>
                  <a:pt x="3055" y="402"/>
                </a:lnTo>
                <a:lnTo>
                  <a:pt x="3065" y="394"/>
                </a:lnTo>
                <a:lnTo>
                  <a:pt x="3072" y="386"/>
                </a:lnTo>
                <a:lnTo>
                  <a:pt x="3077" y="379"/>
                </a:lnTo>
                <a:lnTo>
                  <a:pt x="3081" y="372"/>
                </a:lnTo>
                <a:lnTo>
                  <a:pt x="3085" y="355"/>
                </a:lnTo>
                <a:lnTo>
                  <a:pt x="3088" y="331"/>
                </a:lnTo>
                <a:lnTo>
                  <a:pt x="3140" y="331"/>
                </a:lnTo>
                <a:lnTo>
                  <a:pt x="3185" y="329"/>
                </a:lnTo>
                <a:lnTo>
                  <a:pt x="3207" y="326"/>
                </a:lnTo>
                <a:lnTo>
                  <a:pt x="3231" y="322"/>
                </a:lnTo>
                <a:lnTo>
                  <a:pt x="3254" y="316"/>
                </a:lnTo>
                <a:lnTo>
                  <a:pt x="3280" y="308"/>
                </a:lnTo>
                <a:lnTo>
                  <a:pt x="3288" y="308"/>
                </a:lnTo>
                <a:lnTo>
                  <a:pt x="3294" y="309"/>
                </a:lnTo>
                <a:lnTo>
                  <a:pt x="3302" y="310"/>
                </a:lnTo>
                <a:lnTo>
                  <a:pt x="3310" y="313"/>
                </a:lnTo>
                <a:lnTo>
                  <a:pt x="3327" y="321"/>
                </a:lnTo>
                <a:lnTo>
                  <a:pt x="3343" y="330"/>
                </a:lnTo>
                <a:lnTo>
                  <a:pt x="3358" y="342"/>
                </a:lnTo>
                <a:lnTo>
                  <a:pt x="3374" y="353"/>
                </a:lnTo>
                <a:lnTo>
                  <a:pt x="3389" y="368"/>
                </a:lnTo>
                <a:lnTo>
                  <a:pt x="3405" y="383"/>
                </a:lnTo>
                <a:lnTo>
                  <a:pt x="3419" y="400"/>
                </a:lnTo>
                <a:lnTo>
                  <a:pt x="3432" y="417"/>
                </a:lnTo>
                <a:lnTo>
                  <a:pt x="3445" y="434"/>
                </a:lnTo>
                <a:lnTo>
                  <a:pt x="3457" y="451"/>
                </a:lnTo>
                <a:lnTo>
                  <a:pt x="3467" y="467"/>
                </a:lnTo>
                <a:lnTo>
                  <a:pt x="3478" y="483"/>
                </a:lnTo>
                <a:lnTo>
                  <a:pt x="3486" y="498"/>
                </a:lnTo>
                <a:lnTo>
                  <a:pt x="3492" y="512"/>
                </a:lnTo>
                <a:lnTo>
                  <a:pt x="3506" y="512"/>
                </a:lnTo>
                <a:lnTo>
                  <a:pt x="3521" y="513"/>
                </a:lnTo>
                <a:lnTo>
                  <a:pt x="3535" y="538"/>
                </a:lnTo>
                <a:lnTo>
                  <a:pt x="3548" y="560"/>
                </a:lnTo>
                <a:lnTo>
                  <a:pt x="3559" y="582"/>
                </a:lnTo>
                <a:lnTo>
                  <a:pt x="3568" y="603"/>
                </a:lnTo>
                <a:lnTo>
                  <a:pt x="3574" y="625"/>
                </a:lnTo>
                <a:lnTo>
                  <a:pt x="3579" y="647"/>
                </a:lnTo>
                <a:lnTo>
                  <a:pt x="3581" y="659"/>
                </a:lnTo>
                <a:lnTo>
                  <a:pt x="3581" y="672"/>
                </a:lnTo>
                <a:lnTo>
                  <a:pt x="3581" y="685"/>
                </a:lnTo>
                <a:lnTo>
                  <a:pt x="3581" y="699"/>
                </a:lnTo>
                <a:lnTo>
                  <a:pt x="3569" y="684"/>
                </a:lnTo>
                <a:lnTo>
                  <a:pt x="3557" y="669"/>
                </a:lnTo>
                <a:lnTo>
                  <a:pt x="3544" y="669"/>
                </a:lnTo>
                <a:lnTo>
                  <a:pt x="3534" y="671"/>
                </a:lnTo>
                <a:lnTo>
                  <a:pt x="3525" y="675"/>
                </a:lnTo>
                <a:lnTo>
                  <a:pt x="3513" y="682"/>
                </a:lnTo>
                <a:lnTo>
                  <a:pt x="3510" y="699"/>
                </a:lnTo>
                <a:lnTo>
                  <a:pt x="3509" y="718"/>
                </a:lnTo>
                <a:lnTo>
                  <a:pt x="3518" y="719"/>
                </a:lnTo>
                <a:lnTo>
                  <a:pt x="3523" y="718"/>
                </a:lnTo>
                <a:lnTo>
                  <a:pt x="3530" y="715"/>
                </a:lnTo>
                <a:lnTo>
                  <a:pt x="3538" y="710"/>
                </a:lnTo>
                <a:lnTo>
                  <a:pt x="3542" y="718"/>
                </a:lnTo>
                <a:lnTo>
                  <a:pt x="3546" y="724"/>
                </a:lnTo>
                <a:lnTo>
                  <a:pt x="3551" y="729"/>
                </a:lnTo>
                <a:lnTo>
                  <a:pt x="3555" y="735"/>
                </a:lnTo>
                <a:lnTo>
                  <a:pt x="3566" y="741"/>
                </a:lnTo>
                <a:lnTo>
                  <a:pt x="3582" y="748"/>
                </a:lnTo>
                <a:lnTo>
                  <a:pt x="3582" y="766"/>
                </a:lnTo>
                <a:lnTo>
                  <a:pt x="3582" y="783"/>
                </a:lnTo>
                <a:lnTo>
                  <a:pt x="3583" y="801"/>
                </a:lnTo>
                <a:lnTo>
                  <a:pt x="3583" y="819"/>
                </a:lnTo>
                <a:lnTo>
                  <a:pt x="3573" y="841"/>
                </a:lnTo>
                <a:lnTo>
                  <a:pt x="3560" y="863"/>
                </a:lnTo>
                <a:lnTo>
                  <a:pt x="3547" y="884"/>
                </a:lnTo>
                <a:lnTo>
                  <a:pt x="3533" y="904"/>
                </a:lnTo>
                <a:lnTo>
                  <a:pt x="3518" y="923"/>
                </a:lnTo>
                <a:lnTo>
                  <a:pt x="3503" y="943"/>
                </a:lnTo>
                <a:lnTo>
                  <a:pt x="3487" y="961"/>
                </a:lnTo>
                <a:lnTo>
                  <a:pt x="3470" y="979"/>
                </a:lnTo>
                <a:lnTo>
                  <a:pt x="3435" y="1014"/>
                </a:lnTo>
                <a:lnTo>
                  <a:pt x="3400" y="1048"/>
                </a:lnTo>
                <a:lnTo>
                  <a:pt x="3362" y="1081"/>
                </a:lnTo>
                <a:lnTo>
                  <a:pt x="3324" y="1113"/>
                </a:lnTo>
                <a:lnTo>
                  <a:pt x="3294" y="1152"/>
                </a:lnTo>
                <a:lnTo>
                  <a:pt x="3266" y="1194"/>
                </a:lnTo>
                <a:lnTo>
                  <a:pt x="3236" y="1235"/>
                </a:lnTo>
                <a:lnTo>
                  <a:pt x="3206" y="1277"/>
                </a:lnTo>
                <a:lnTo>
                  <a:pt x="3176" y="1319"/>
                </a:lnTo>
                <a:lnTo>
                  <a:pt x="3144" y="1358"/>
                </a:lnTo>
                <a:lnTo>
                  <a:pt x="3127" y="1376"/>
                </a:lnTo>
                <a:lnTo>
                  <a:pt x="3110" y="1393"/>
                </a:lnTo>
                <a:lnTo>
                  <a:pt x="3093" y="1410"/>
                </a:lnTo>
                <a:lnTo>
                  <a:pt x="3075" y="1425"/>
                </a:lnTo>
                <a:lnTo>
                  <a:pt x="3051" y="1424"/>
                </a:lnTo>
                <a:lnTo>
                  <a:pt x="3029" y="1423"/>
                </a:lnTo>
                <a:lnTo>
                  <a:pt x="3007" y="1421"/>
                </a:lnTo>
                <a:lnTo>
                  <a:pt x="2986" y="1421"/>
                </a:lnTo>
                <a:lnTo>
                  <a:pt x="2990" y="1453"/>
                </a:lnTo>
                <a:lnTo>
                  <a:pt x="2994" y="1477"/>
                </a:lnTo>
                <a:lnTo>
                  <a:pt x="2994" y="1489"/>
                </a:lnTo>
                <a:lnTo>
                  <a:pt x="2993" y="1502"/>
                </a:lnTo>
                <a:lnTo>
                  <a:pt x="2989" y="1516"/>
                </a:lnTo>
                <a:lnTo>
                  <a:pt x="2983" y="1533"/>
                </a:lnTo>
                <a:lnTo>
                  <a:pt x="2969" y="1541"/>
                </a:lnTo>
                <a:lnTo>
                  <a:pt x="2956" y="1550"/>
                </a:lnTo>
                <a:lnTo>
                  <a:pt x="2943" y="1559"/>
                </a:lnTo>
                <a:lnTo>
                  <a:pt x="2933" y="1568"/>
                </a:lnTo>
                <a:lnTo>
                  <a:pt x="2924" y="1579"/>
                </a:lnTo>
                <a:lnTo>
                  <a:pt x="2915" y="1589"/>
                </a:lnTo>
                <a:lnTo>
                  <a:pt x="2907" y="1600"/>
                </a:lnTo>
                <a:lnTo>
                  <a:pt x="2900" y="1610"/>
                </a:lnTo>
                <a:lnTo>
                  <a:pt x="2895" y="1623"/>
                </a:lnTo>
                <a:lnTo>
                  <a:pt x="2890" y="1635"/>
                </a:lnTo>
                <a:lnTo>
                  <a:pt x="2885" y="1648"/>
                </a:lnTo>
                <a:lnTo>
                  <a:pt x="2881" y="1662"/>
                </a:lnTo>
                <a:lnTo>
                  <a:pt x="2876" y="1691"/>
                </a:lnTo>
                <a:lnTo>
                  <a:pt x="2870" y="1723"/>
                </a:lnTo>
                <a:lnTo>
                  <a:pt x="2885" y="1726"/>
                </a:lnTo>
                <a:lnTo>
                  <a:pt x="2902" y="1728"/>
                </a:lnTo>
                <a:lnTo>
                  <a:pt x="2915" y="1699"/>
                </a:lnTo>
                <a:lnTo>
                  <a:pt x="2929" y="1670"/>
                </a:lnTo>
                <a:lnTo>
                  <a:pt x="2942" y="1640"/>
                </a:lnTo>
                <a:lnTo>
                  <a:pt x="2957" y="1611"/>
                </a:lnTo>
                <a:lnTo>
                  <a:pt x="3037" y="1596"/>
                </a:lnTo>
                <a:lnTo>
                  <a:pt x="3081" y="1588"/>
                </a:lnTo>
                <a:lnTo>
                  <a:pt x="3104" y="1585"/>
                </a:lnTo>
                <a:lnTo>
                  <a:pt x="3127" y="1585"/>
                </a:lnTo>
                <a:lnTo>
                  <a:pt x="3134" y="1588"/>
                </a:lnTo>
                <a:lnTo>
                  <a:pt x="3141" y="1589"/>
                </a:lnTo>
                <a:lnTo>
                  <a:pt x="3150" y="1587"/>
                </a:lnTo>
                <a:lnTo>
                  <a:pt x="3164" y="1583"/>
                </a:lnTo>
                <a:lnTo>
                  <a:pt x="3167" y="1572"/>
                </a:lnTo>
                <a:lnTo>
                  <a:pt x="3171" y="1563"/>
                </a:lnTo>
                <a:lnTo>
                  <a:pt x="3173" y="1553"/>
                </a:lnTo>
                <a:lnTo>
                  <a:pt x="3176" y="1542"/>
                </a:lnTo>
                <a:lnTo>
                  <a:pt x="3212" y="1527"/>
                </a:lnTo>
                <a:lnTo>
                  <a:pt x="3246" y="1511"/>
                </a:lnTo>
                <a:lnTo>
                  <a:pt x="3262" y="1503"/>
                </a:lnTo>
                <a:lnTo>
                  <a:pt x="3276" y="1496"/>
                </a:lnTo>
                <a:lnTo>
                  <a:pt x="3291" y="1488"/>
                </a:lnTo>
                <a:lnTo>
                  <a:pt x="3305" y="1479"/>
                </a:lnTo>
                <a:lnTo>
                  <a:pt x="3317" y="1468"/>
                </a:lnTo>
                <a:lnTo>
                  <a:pt x="3328" y="1458"/>
                </a:lnTo>
                <a:lnTo>
                  <a:pt x="3339" y="1446"/>
                </a:lnTo>
                <a:lnTo>
                  <a:pt x="3348" y="1432"/>
                </a:lnTo>
                <a:lnTo>
                  <a:pt x="3356" y="1418"/>
                </a:lnTo>
                <a:lnTo>
                  <a:pt x="3362" y="1402"/>
                </a:lnTo>
                <a:lnTo>
                  <a:pt x="3367" y="1384"/>
                </a:lnTo>
                <a:lnTo>
                  <a:pt x="3370" y="1364"/>
                </a:lnTo>
                <a:lnTo>
                  <a:pt x="3357" y="1364"/>
                </a:lnTo>
                <a:lnTo>
                  <a:pt x="3343" y="1367"/>
                </a:lnTo>
                <a:lnTo>
                  <a:pt x="3330" y="1369"/>
                </a:lnTo>
                <a:lnTo>
                  <a:pt x="3315" y="1372"/>
                </a:lnTo>
                <a:lnTo>
                  <a:pt x="3302" y="1375"/>
                </a:lnTo>
                <a:lnTo>
                  <a:pt x="3287" y="1377"/>
                </a:lnTo>
                <a:lnTo>
                  <a:pt x="3271" y="1377"/>
                </a:lnTo>
                <a:lnTo>
                  <a:pt x="3255" y="1377"/>
                </a:lnTo>
                <a:lnTo>
                  <a:pt x="3255" y="1367"/>
                </a:lnTo>
                <a:lnTo>
                  <a:pt x="3258" y="1356"/>
                </a:lnTo>
                <a:lnTo>
                  <a:pt x="3261" y="1349"/>
                </a:lnTo>
                <a:lnTo>
                  <a:pt x="3265" y="1339"/>
                </a:lnTo>
                <a:lnTo>
                  <a:pt x="3270" y="1332"/>
                </a:lnTo>
                <a:lnTo>
                  <a:pt x="3276" y="1325"/>
                </a:lnTo>
                <a:lnTo>
                  <a:pt x="3283" y="1319"/>
                </a:lnTo>
                <a:lnTo>
                  <a:pt x="3291" y="1313"/>
                </a:lnTo>
                <a:lnTo>
                  <a:pt x="3298" y="1308"/>
                </a:lnTo>
                <a:lnTo>
                  <a:pt x="3307" y="1304"/>
                </a:lnTo>
                <a:lnTo>
                  <a:pt x="3317" y="1300"/>
                </a:lnTo>
                <a:lnTo>
                  <a:pt x="3326" y="1297"/>
                </a:lnTo>
                <a:lnTo>
                  <a:pt x="3344" y="1291"/>
                </a:lnTo>
                <a:lnTo>
                  <a:pt x="3362" y="1289"/>
                </a:lnTo>
                <a:lnTo>
                  <a:pt x="3369" y="1293"/>
                </a:lnTo>
                <a:lnTo>
                  <a:pt x="3374" y="1295"/>
                </a:lnTo>
                <a:lnTo>
                  <a:pt x="3380" y="1298"/>
                </a:lnTo>
                <a:lnTo>
                  <a:pt x="3387" y="1299"/>
                </a:lnTo>
                <a:lnTo>
                  <a:pt x="3400" y="1299"/>
                </a:lnTo>
                <a:lnTo>
                  <a:pt x="3414" y="1300"/>
                </a:lnTo>
                <a:lnTo>
                  <a:pt x="3415" y="1291"/>
                </a:lnTo>
                <a:lnTo>
                  <a:pt x="3418" y="1285"/>
                </a:lnTo>
                <a:lnTo>
                  <a:pt x="3426" y="1285"/>
                </a:lnTo>
                <a:lnTo>
                  <a:pt x="3434" y="1285"/>
                </a:lnTo>
                <a:lnTo>
                  <a:pt x="3436" y="1298"/>
                </a:lnTo>
                <a:lnTo>
                  <a:pt x="3440" y="1312"/>
                </a:lnTo>
                <a:lnTo>
                  <a:pt x="3422" y="1317"/>
                </a:lnTo>
                <a:lnTo>
                  <a:pt x="3406" y="1323"/>
                </a:lnTo>
                <a:lnTo>
                  <a:pt x="3405" y="1341"/>
                </a:lnTo>
                <a:lnTo>
                  <a:pt x="3404" y="1358"/>
                </a:lnTo>
                <a:lnTo>
                  <a:pt x="3400" y="1373"/>
                </a:lnTo>
                <a:lnTo>
                  <a:pt x="3396" y="1388"/>
                </a:lnTo>
                <a:lnTo>
                  <a:pt x="3389" y="1402"/>
                </a:lnTo>
                <a:lnTo>
                  <a:pt x="3380" y="1415"/>
                </a:lnTo>
                <a:lnTo>
                  <a:pt x="3369" y="1427"/>
                </a:lnTo>
                <a:lnTo>
                  <a:pt x="3356" y="1438"/>
                </a:lnTo>
                <a:lnTo>
                  <a:pt x="3357" y="1477"/>
                </a:lnTo>
                <a:lnTo>
                  <a:pt x="3359" y="1515"/>
                </a:lnTo>
                <a:lnTo>
                  <a:pt x="3365" y="1554"/>
                </a:lnTo>
                <a:lnTo>
                  <a:pt x="3370" y="1593"/>
                </a:lnTo>
                <a:lnTo>
                  <a:pt x="3376" y="1631"/>
                </a:lnTo>
                <a:lnTo>
                  <a:pt x="3382" y="1670"/>
                </a:lnTo>
                <a:lnTo>
                  <a:pt x="3384" y="1709"/>
                </a:lnTo>
                <a:lnTo>
                  <a:pt x="3386" y="1748"/>
                </a:lnTo>
                <a:lnTo>
                  <a:pt x="3391" y="1754"/>
                </a:lnTo>
                <a:lnTo>
                  <a:pt x="3395" y="1761"/>
                </a:lnTo>
                <a:lnTo>
                  <a:pt x="3399" y="1765"/>
                </a:lnTo>
                <a:lnTo>
                  <a:pt x="3404" y="1769"/>
                </a:lnTo>
                <a:lnTo>
                  <a:pt x="3415" y="1777"/>
                </a:lnTo>
                <a:lnTo>
                  <a:pt x="3428" y="1784"/>
                </a:lnTo>
                <a:lnTo>
                  <a:pt x="3430" y="1799"/>
                </a:lnTo>
                <a:lnTo>
                  <a:pt x="3431" y="1814"/>
                </a:lnTo>
                <a:lnTo>
                  <a:pt x="3434" y="1829"/>
                </a:lnTo>
                <a:lnTo>
                  <a:pt x="3436" y="1844"/>
                </a:lnTo>
                <a:lnTo>
                  <a:pt x="3457" y="1859"/>
                </a:lnTo>
                <a:lnTo>
                  <a:pt x="3479" y="1873"/>
                </a:lnTo>
                <a:lnTo>
                  <a:pt x="3501" y="1887"/>
                </a:lnTo>
                <a:lnTo>
                  <a:pt x="3525" y="1901"/>
                </a:lnTo>
                <a:lnTo>
                  <a:pt x="3530" y="1931"/>
                </a:lnTo>
                <a:lnTo>
                  <a:pt x="3535" y="1968"/>
                </a:lnTo>
                <a:lnTo>
                  <a:pt x="3539" y="2008"/>
                </a:lnTo>
                <a:lnTo>
                  <a:pt x="3544" y="2051"/>
                </a:lnTo>
                <a:lnTo>
                  <a:pt x="3548" y="2072"/>
                </a:lnTo>
                <a:lnTo>
                  <a:pt x="3551" y="2091"/>
                </a:lnTo>
                <a:lnTo>
                  <a:pt x="3555" y="2110"/>
                </a:lnTo>
                <a:lnTo>
                  <a:pt x="3560" y="2127"/>
                </a:lnTo>
                <a:lnTo>
                  <a:pt x="3565" y="2141"/>
                </a:lnTo>
                <a:lnTo>
                  <a:pt x="3572" y="2151"/>
                </a:lnTo>
                <a:lnTo>
                  <a:pt x="3575" y="2156"/>
                </a:lnTo>
                <a:lnTo>
                  <a:pt x="3579" y="2160"/>
                </a:lnTo>
                <a:lnTo>
                  <a:pt x="3583" y="2163"/>
                </a:lnTo>
                <a:lnTo>
                  <a:pt x="3587" y="2166"/>
                </a:lnTo>
                <a:lnTo>
                  <a:pt x="3588" y="2197"/>
                </a:lnTo>
                <a:lnTo>
                  <a:pt x="3587" y="2221"/>
                </a:lnTo>
                <a:lnTo>
                  <a:pt x="3585" y="2233"/>
                </a:lnTo>
                <a:lnTo>
                  <a:pt x="3581" y="2245"/>
                </a:lnTo>
                <a:lnTo>
                  <a:pt x="3574" y="2258"/>
                </a:lnTo>
                <a:lnTo>
                  <a:pt x="3566" y="2271"/>
                </a:lnTo>
                <a:lnTo>
                  <a:pt x="3527" y="2305"/>
                </a:lnTo>
                <a:lnTo>
                  <a:pt x="3497" y="2332"/>
                </a:lnTo>
                <a:lnTo>
                  <a:pt x="3471" y="2357"/>
                </a:lnTo>
                <a:lnTo>
                  <a:pt x="3445" y="2381"/>
                </a:lnTo>
                <a:lnTo>
                  <a:pt x="3440" y="2402"/>
                </a:lnTo>
                <a:lnTo>
                  <a:pt x="3436" y="2421"/>
                </a:lnTo>
                <a:lnTo>
                  <a:pt x="3432" y="2445"/>
                </a:lnTo>
                <a:lnTo>
                  <a:pt x="3428" y="2487"/>
                </a:lnTo>
                <a:lnTo>
                  <a:pt x="3406" y="2504"/>
                </a:lnTo>
                <a:lnTo>
                  <a:pt x="3389" y="2518"/>
                </a:lnTo>
                <a:lnTo>
                  <a:pt x="3383" y="2526"/>
                </a:lnTo>
                <a:lnTo>
                  <a:pt x="3378" y="2532"/>
                </a:lnTo>
                <a:lnTo>
                  <a:pt x="3372" y="2539"/>
                </a:lnTo>
                <a:lnTo>
                  <a:pt x="3369" y="2547"/>
                </a:lnTo>
                <a:lnTo>
                  <a:pt x="3362" y="2562"/>
                </a:lnTo>
                <a:lnTo>
                  <a:pt x="3357" y="2582"/>
                </a:lnTo>
                <a:lnTo>
                  <a:pt x="3352" y="2605"/>
                </a:lnTo>
                <a:lnTo>
                  <a:pt x="3345" y="2635"/>
                </a:lnTo>
                <a:lnTo>
                  <a:pt x="3315" y="2639"/>
                </a:lnTo>
                <a:lnTo>
                  <a:pt x="3287" y="2642"/>
                </a:lnTo>
                <a:lnTo>
                  <a:pt x="3261" y="2642"/>
                </a:lnTo>
                <a:lnTo>
                  <a:pt x="3237" y="2643"/>
                </a:lnTo>
                <a:lnTo>
                  <a:pt x="3225" y="2646"/>
                </a:lnTo>
                <a:lnTo>
                  <a:pt x="3214" y="2648"/>
                </a:lnTo>
                <a:lnTo>
                  <a:pt x="3202" y="2651"/>
                </a:lnTo>
                <a:lnTo>
                  <a:pt x="3190" y="2656"/>
                </a:lnTo>
                <a:lnTo>
                  <a:pt x="3180" y="2662"/>
                </a:lnTo>
                <a:lnTo>
                  <a:pt x="3168" y="2670"/>
                </a:lnTo>
                <a:lnTo>
                  <a:pt x="3157" y="2681"/>
                </a:lnTo>
                <a:lnTo>
                  <a:pt x="3145" y="2692"/>
                </a:lnTo>
                <a:lnTo>
                  <a:pt x="3117" y="2691"/>
                </a:lnTo>
                <a:lnTo>
                  <a:pt x="3090" y="2688"/>
                </a:lnTo>
                <a:lnTo>
                  <a:pt x="3063" y="2687"/>
                </a:lnTo>
                <a:lnTo>
                  <a:pt x="3036" y="2688"/>
                </a:lnTo>
                <a:lnTo>
                  <a:pt x="3023" y="2690"/>
                </a:lnTo>
                <a:lnTo>
                  <a:pt x="3011" y="2692"/>
                </a:lnTo>
                <a:lnTo>
                  <a:pt x="2998" y="2695"/>
                </a:lnTo>
                <a:lnTo>
                  <a:pt x="2986" y="2700"/>
                </a:lnTo>
                <a:lnTo>
                  <a:pt x="2976" y="2705"/>
                </a:lnTo>
                <a:lnTo>
                  <a:pt x="2965" y="2713"/>
                </a:lnTo>
                <a:lnTo>
                  <a:pt x="2955" y="2722"/>
                </a:lnTo>
                <a:lnTo>
                  <a:pt x="2946" y="2733"/>
                </a:lnTo>
                <a:lnTo>
                  <a:pt x="2928" y="2739"/>
                </a:lnTo>
                <a:lnTo>
                  <a:pt x="2911" y="2748"/>
                </a:lnTo>
                <a:lnTo>
                  <a:pt x="2909" y="2763"/>
                </a:lnTo>
                <a:lnTo>
                  <a:pt x="2908" y="2777"/>
                </a:lnTo>
                <a:lnTo>
                  <a:pt x="2907" y="2791"/>
                </a:lnTo>
                <a:lnTo>
                  <a:pt x="2905" y="2806"/>
                </a:lnTo>
                <a:lnTo>
                  <a:pt x="2898" y="2811"/>
                </a:lnTo>
                <a:lnTo>
                  <a:pt x="2891" y="2813"/>
                </a:lnTo>
                <a:lnTo>
                  <a:pt x="2883" y="2815"/>
                </a:lnTo>
                <a:lnTo>
                  <a:pt x="2877" y="2813"/>
                </a:lnTo>
                <a:lnTo>
                  <a:pt x="2869" y="2812"/>
                </a:lnTo>
                <a:lnTo>
                  <a:pt x="2861" y="2811"/>
                </a:lnTo>
                <a:lnTo>
                  <a:pt x="2853" y="2807"/>
                </a:lnTo>
                <a:lnTo>
                  <a:pt x="2847" y="2803"/>
                </a:lnTo>
                <a:lnTo>
                  <a:pt x="2830" y="2795"/>
                </a:lnTo>
                <a:lnTo>
                  <a:pt x="2814" y="2787"/>
                </a:lnTo>
                <a:lnTo>
                  <a:pt x="2807" y="2783"/>
                </a:lnTo>
                <a:lnTo>
                  <a:pt x="2799" y="2781"/>
                </a:lnTo>
                <a:lnTo>
                  <a:pt x="2790" y="2780"/>
                </a:lnTo>
                <a:lnTo>
                  <a:pt x="2782" y="2780"/>
                </a:lnTo>
                <a:lnTo>
                  <a:pt x="2777" y="2789"/>
                </a:lnTo>
                <a:lnTo>
                  <a:pt x="2774" y="2800"/>
                </a:lnTo>
                <a:lnTo>
                  <a:pt x="2745" y="2798"/>
                </a:lnTo>
                <a:lnTo>
                  <a:pt x="2717" y="2795"/>
                </a:lnTo>
                <a:lnTo>
                  <a:pt x="2688" y="2793"/>
                </a:lnTo>
                <a:lnTo>
                  <a:pt x="2658" y="2790"/>
                </a:lnTo>
                <a:lnTo>
                  <a:pt x="2626" y="2793"/>
                </a:lnTo>
                <a:lnTo>
                  <a:pt x="2600" y="2793"/>
                </a:lnTo>
                <a:lnTo>
                  <a:pt x="2588" y="2791"/>
                </a:lnTo>
                <a:lnTo>
                  <a:pt x="2578" y="2790"/>
                </a:lnTo>
                <a:lnTo>
                  <a:pt x="2568" y="2787"/>
                </a:lnTo>
                <a:lnTo>
                  <a:pt x="2561" y="2785"/>
                </a:lnTo>
                <a:lnTo>
                  <a:pt x="2553" y="2781"/>
                </a:lnTo>
                <a:lnTo>
                  <a:pt x="2545" y="2776"/>
                </a:lnTo>
                <a:lnTo>
                  <a:pt x="2539" y="2769"/>
                </a:lnTo>
                <a:lnTo>
                  <a:pt x="2532" y="2761"/>
                </a:lnTo>
                <a:lnTo>
                  <a:pt x="2526" y="2752"/>
                </a:lnTo>
                <a:lnTo>
                  <a:pt x="2519" y="2742"/>
                </a:lnTo>
                <a:lnTo>
                  <a:pt x="2511" y="2730"/>
                </a:lnTo>
                <a:lnTo>
                  <a:pt x="2505" y="2716"/>
                </a:lnTo>
                <a:lnTo>
                  <a:pt x="2458" y="2711"/>
                </a:lnTo>
                <a:lnTo>
                  <a:pt x="2408" y="2705"/>
                </a:lnTo>
                <a:lnTo>
                  <a:pt x="2359" y="2700"/>
                </a:lnTo>
                <a:lnTo>
                  <a:pt x="2312" y="2692"/>
                </a:lnTo>
                <a:lnTo>
                  <a:pt x="2316" y="2685"/>
                </a:lnTo>
                <a:lnTo>
                  <a:pt x="2319" y="2677"/>
                </a:lnTo>
                <a:lnTo>
                  <a:pt x="2320" y="2670"/>
                </a:lnTo>
                <a:lnTo>
                  <a:pt x="2320" y="2665"/>
                </a:lnTo>
                <a:lnTo>
                  <a:pt x="2319" y="2660"/>
                </a:lnTo>
                <a:lnTo>
                  <a:pt x="2316" y="2656"/>
                </a:lnTo>
                <a:lnTo>
                  <a:pt x="2313" y="2653"/>
                </a:lnTo>
                <a:lnTo>
                  <a:pt x="2310" y="2651"/>
                </a:lnTo>
                <a:lnTo>
                  <a:pt x="2304" y="2648"/>
                </a:lnTo>
                <a:lnTo>
                  <a:pt x="2299" y="2647"/>
                </a:lnTo>
                <a:lnTo>
                  <a:pt x="2293" y="2647"/>
                </a:lnTo>
                <a:lnTo>
                  <a:pt x="2286" y="2647"/>
                </a:lnTo>
                <a:lnTo>
                  <a:pt x="2271" y="2647"/>
                </a:lnTo>
                <a:lnTo>
                  <a:pt x="2255" y="2649"/>
                </a:lnTo>
                <a:lnTo>
                  <a:pt x="2220" y="2659"/>
                </a:lnTo>
                <a:lnTo>
                  <a:pt x="2187" y="2668"/>
                </a:lnTo>
                <a:lnTo>
                  <a:pt x="2161" y="2677"/>
                </a:lnTo>
                <a:lnTo>
                  <a:pt x="2146" y="2681"/>
                </a:lnTo>
                <a:lnTo>
                  <a:pt x="2127" y="2675"/>
                </a:lnTo>
                <a:lnTo>
                  <a:pt x="2112" y="2672"/>
                </a:lnTo>
                <a:lnTo>
                  <a:pt x="2098" y="2669"/>
                </a:lnTo>
                <a:lnTo>
                  <a:pt x="2083" y="2666"/>
                </a:lnTo>
                <a:lnTo>
                  <a:pt x="2071" y="2666"/>
                </a:lnTo>
                <a:lnTo>
                  <a:pt x="2060" y="2668"/>
                </a:lnTo>
                <a:lnTo>
                  <a:pt x="2048" y="2669"/>
                </a:lnTo>
                <a:lnTo>
                  <a:pt x="2038" y="2672"/>
                </a:lnTo>
                <a:lnTo>
                  <a:pt x="2026" y="2675"/>
                </a:lnTo>
                <a:lnTo>
                  <a:pt x="2016" y="2681"/>
                </a:lnTo>
                <a:lnTo>
                  <a:pt x="2004" y="2687"/>
                </a:lnTo>
                <a:lnTo>
                  <a:pt x="1992" y="2694"/>
                </a:lnTo>
                <a:lnTo>
                  <a:pt x="1965" y="2709"/>
                </a:lnTo>
                <a:lnTo>
                  <a:pt x="1934" y="2729"/>
                </a:lnTo>
                <a:lnTo>
                  <a:pt x="1934" y="2735"/>
                </a:lnTo>
                <a:lnTo>
                  <a:pt x="1934" y="2743"/>
                </a:lnTo>
                <a:lnTo>
                  <a:pt x="1914" y="2750"/>
                </a:lnTo>
                <a:lnTo>
                  <a:pt x="1896" y="2755"/>
                </a:lnTo>
                <a:lnTo>
                  <a:pt x="1876" y="2759"/>
                </a:lnTo>
                <a:lnTo>
                  <a:pt x="1857" y="2764"/>
                </a:lnTo>
                <a:lnTo>
                  <a:pt x="1837" y="2769"/>
                </a:lnTo>
                <a:lnTo>
                  <a:pt x="1818" y="2773"/>
                </a:lnTo>
                <a:lnTo>
                  <a:pt x="1798" y="2780"/>
                </a:lnTo>
                <a:lnTo>
                  <a:pt x="1780" y="2787"/>
                </a:lnTo>
                <a:lnTo>
                  <a:pt x="1780" y="2793"/>
                </a:lnTo>
                <a:lnTo>
                  <a:pt x="1780" y="2800"/>
                </a:lnTo>
                <a:lnTo>
                  <a:pt x="1758" y="2809"/>
                </a:lnTo>
                <a:lnTo>
                  <a:pt x="1737" y="2819"/>
                </a:lnTo>
                <a:lnTo>
                  <a:pt x="1718" y="2829"/>
                </a:lnTo>
                <a:lnTo>
                  <a:pt x="1697" y="2838"/>
                </a:lnTo>
                <a:lnTo>
                  <a:pt x="1694" y="2850"/>
                </a:lnTo>
                <a:lnTo>
                  <a:pt x="1690" y="2860"/>
                </a:lnTo>
                <a:lnTo>
                  <a:pt x="1688" y="2869"/>
                </a:lnTo>
                <a:lnTo>
                  <a:pt x="1682" y="2878"/>
                </a:lnTo>
                <a:lnTo>
                  <a:pt x="1679" y="2885"/>
                </a:lnTo>
                <a:lnTo>
                  <a:pt x="1673" y="2893"/>
                </a:lnTo>
                <a:lnTo>
                  <a:pt x="1667" y="2898"/>
                </a:lnTo>
                <a:lnTo>
                  <a:pt x="1660" y="2904"/>
                </a:lnTo>
                <a:lnTo>
                  <a:pt x="1633" y="2925"/>
                </a:lnTo>
                <a:lnTo>
                  <a:pt x="1599" y="2953"/>
                </a:lnTo>
                <a:lnTo>
                  <a:pt x="1594" y="2966"/>
                </a:lnTo>
                <a:lnTo>
                  <a:pt x="1593" y="2980"/>
                </a:lnTo>
                <a:lnTo>
                  <a:pt x="1591" y="3003"/>
                </a:lnTo>
                <a:lnTo>
                  <a:pt x="1591" y="3045"/>
                </a:lnTo>
                <a:lnTo>
                  <a:pt x="1582" y="3055"/>
                </a:lnTo>
                <a:lnTo>
                  <a:pt x="1573" y="3063"/>
                </a:lnTo>
                <a:lnTo>
                  <a:pt x="1563" y="3068"/>
                </a:lnTo>
                <a:lnTo>
                  <a:pt x="1552" y="3072"/>
                </a:lnTo>
                <a:lnTo>
                  <a:pt x="1542" y="3075"/>
                </a:lnTo>
                <a:lnTo>
                  <a:pt x="1530" y="3075"/>
                </a:lnTo>
                <a:lnTo>
                  <a:pt x="1519" y="3075"/>
                </a:lnTo>
                <a:lnTo>
                  <a:pt x="1506" y="3075"/>
                </a:lnTo>
                <a:lnTo>
                  <a:pt x="1481" y="3074"/>
                </a:lnTo>
                <a:lnTo>
                  <a:pt x="1456" y="3075"/>
                </a:lnTo>
                <a:lnTo>
                  <a:pt x="1443" y="3076"/>
                </a:lnTo>
                <a:lnTo>
                  <a:pt x="1431" y="3080"/>
                </a:lnTo>
                <a:lnTo>
                  <a:pt x="1418" y="3085"/>
                </a:lnTo>
                <a:lnTo>
                  <a:pt x="1407" y="3093"/>
                </a:lnTo>
                <a:lnTo>
                  <a:pt x="1403" y="3107"/>
                </a:lnTo>
                <a:lnTo>
                  <a:pt x="1399" y="3120"/>
                </a:lnTo>
                <a:lnTo>
                  <a:pt x="1394" y="3132"/>
                </a:lnTo>
                <a:lnTo>
                  <a:pt x="1390" y="3143"/>
                </a:lnTo>
                <a:lnTo>
                  <a:pt x="1385" y="3153"/>
                </a:lnTo>
                <a:lnTo>
                  <a:pt x="1379" y="3161"/>
                </a:lnTo>
                <a:lnTo>
                  <a:pt x="1374" y="3169"/>
                </a:lnTo>
                <a:lnTo>
                  <a:pt x="1368" y="3175"/>
                </a:lnTo>
                <a:lnTo>
                  <a:pt x="1352" y="3187"/>
                </a:lnTo>
                <a:lnTo>
                  <a:pt x="1335" y="3198"/>
                </a:lnTo>
                <a:lnTo>
                  <a:pt x="1313" y="3211"/>
                </a:lnTo>
                <a:lnTo>
                  <a:pt x="1287" y="3226"/>
                </a:lnTo>
                <a:lnTo>
                  <a:pt x="1261" y="3262"/>
                </a:lnTo>
                <a:lnTo>
                  <a:pt x="1243" y="3290"/>
                </a:lnTo>
                <a:lnTo>
                  <a:pt x="1238" y="3293"/>
                </a:lnTo>
                <a:lnTo>
                  <a:pt x="1232" y="3299"/>
                </a:lnTo>
                <a:lnTo>
                  <a:pt x="1226" y="3303"/>
                </a:lnTo>
                <a:lnTo>
                  <a:pt x="1218" y="3305"/>
                </a:lnTo>
                <a:lnTo>
                  <a:pt x="1209" y="3308"/>
                </a:lnTo>
                <a:lnTo>
                  <a:pt x="1199" y="3310"/>
                </a:lnTo>
                <a:lnTo>
                  <a:pt x="1186" y="3313"/>
                </a:lnTo>
                <a:lnTo>
                  <a:pt x="1172" y="3314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79" name="Freeform 44"/>
          <p:cNvSpPr>
            <a:spLocks/>
          </p:cNvSpPr>
          <p:nvPr/>
        </p:nvSpPr>
        <p:spPr bwMode="auto">
          <a:xfrm>
            <a:off x="8537575" y="2782888"/>
            <a:ext cx="33338" cy="98425"/>
          </a:xfrm>
          <a:custGeom>
            <a:avLst/>
            <a:gdLst>
              <a:gd name="T0" fmla="*/ 2147483647 w 83"/>
              <a:gd name="T1" fmla="*/ 2147483647 h 250"/>
              <a:gd name="T2" fmla="*/ 2147483647 w 83"/>
              <a:gd name="T3" fmla="*/ 2147483647 h 250"/>
              <a:gd name="T4" fmla="*/ 2147483647 w 83"/>
              <a:gd name="T5" fmla="*/ 2147483647 h 250"/>
              <a:gd name="T6" fmla="*/ 2147483647 w 83"/>
              <a:gd name="T7" fmla="*/ 2147483647 h 250"/>
              <a:gd name="T8" fmla="*/ 2147483647 w 83"/>
              <a:gd name="T9" fmla="*/ 2147483647 h 250"/>
              <a:gd name="T10" fmla="*/ 2147483647 w 83"/>
              <a:gd name="T11" fmla="*/ 2147483647 h 250"/>
              <a:gd name="T12" fmla="*/ 0 w 83"/>
              <a:gd name="T13" fmla="*/ 2147483647 h 250"/>
              <a:gd name="T14" fmla="*/ 0 w 83"/>
              <a:gd name="T15" fmla="*/ 2147483647 h 250"/>
              <a:gd name="T16" fmla="*/ 0 w 83"/>
              <a:gd name="T17" fmla="*/ 2147483647 h 250"/>
              <a:gd name="T18" fmla="*/ 2147483647 w 83"/>
              <a:gd name="T19" fmla="*/ 2147483647 h 250"/>
              <a:gd name="T20" fmla="*/ 2147483647 w 83"/>
              <a:gd name="T21" fmla="*/ 2147483647 h 250"/>
              <a:gd name="T22" fmla="*/ 2147483647 w 83"/>
              <a:gd name="T23" fmla="*/ 2147483647 h 250"/>
              <a:gd name="T24" fmla="*/ 2147483647 w 83"/>
              <a:gd name="T25" fmla="*/ 0 h 250"/>
              <a:gd name="T26" fmla="*/ 2147483647 w 83"/>
              <a:gd name="T27" fmla="*/ 2147483647 h 250"/>
              <a:gd name="T28" fmla="*/ 2147483647 w 83"/>
              <a:gd name="T29" fmla="*/ 2147483647 h 250"/>
              <a:gd name="T30" fmla="*/ 2147483647 w 83"/>
              <a:gd name="T31" fmla="*/ 2147483647 h 250"/>
              <a:gd name="T32" fmla="*/ 2147483647 w 83"/>
              <a:gd name="T33" fmla="*/ 2147483647 h 250"/>
              <a:gd name="T34" fmla="*/ 2147483647 w 83"/>
              <a:gd name="T35" fmla="*/ 2147483647 h 250"/>
              <a:gd name="T36" fmla="*/ 2147483647 w 83"/>
              <a:gd name="T37" fmla="*/ 2147483647 h 250"/>
              <a:gd name="T38" fmla="*/ 2147483647 w 83"/>
              <a:gd name="T39" fmla="*/ 2147483647 h 250"/>
              <a:gd name="T40" fmla="*/ 2147483647 w 83"/>
              <a:gd name="T41" fmla="*/ 2147483647 h 250"/>
              <a:gd name="T42" fmla="*/ 2147483647 w 83"/>
              <a:gd name="T43" fmla="*/ 2147483647 h 250"/>
              <a:gd name="T44" fmla="*/ 2147483647 w 83"/>
              <a:gd name="T45" fmla="*/ 2147483647 h 250"/>
              <a:gd name="T46" fmla="*/ 2147483647 w 83"/>
              <a:gd name="T47" fmla="*/ 2147483647 h 250"/>
              <a:gd name="T48" fmla="*/ 2147483647 w 83"/>
              <a:gd name="T49" fmla="*/ 2147483647 h 250"/>
              <a:gd name="T50" fmla="*/ 2147483647 w 83"/>
              <a:gd name="T51" fmla="*/ 2147483647 h 250"/>
              <a:gd name="T52" fmla="*/ 2147483647 w 83"/>
              <a:gd name="T53" fmla="*/ 2147483647 h 250"/>
              <a:gd name="T54" fmla="*/ 2147483647 w 83"/>
              <a:gd name="T55" fmla="*/ 2147483647 h 250"/>
              <a:gd name="T56" fmla="*/ 2147483647 w 83"/>
              <a:gd name="T57" fmla="*/ 2147483647 h 250"/>
              <a:gd name="T58" fmla="*/ 2147483647 w 83"/>
              <a:gd name="T59" fmla="*/ 2147483647 h 250"/>
              <a:gd name="T60" fmla="*/ 2147483647 w 83"/>
              <a:gd name="T61" fmla="*/ 2147483647 h 25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83"/>
              <a:gd name="T94" fmla="*/ 0 h 250"/>
              <a:gd name="T95" fmla="*/ 83 w 83"/>
              <a:gd name="T96" fmla="*/ 250 h 250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83" h="250">
                <a:moveTo>
                  <a:pt x="25" y="250"/>
                </a:moveTo>
                <a:lnTo>
                  <a:pt x="18" y="234"/>
                </a:lnTo>
                <a:lnTo>
                  <a:pt x="12" y="218"/>
                </a:lnTo>
                <a:lnTo>
                  <a:pt x="8" y="203"/>
                </a:lnTo>
                <a:lnTo>
                  <a:pt x="4" y="187"/>
                </a:lnTo>
                <a:lnTo>
                  <a:pt x="1" y="172"/>
                </a:lnTo>
                <a:lnTo>
                  <a:pt x="0" y="156"/>
                </a:lnTo>
                <a:lnTo>
                  <a:pt x="0" y="139"/>
                </a:lnTo>
                <a:lnTo>
                  <a:pt x="0" y="123"/>
                </a:lnTo>
                <a:lnTo>
                  <a:pt x="3" y="92"/>
                </a:lnTo>
                <a:lnTo>
                  <a:pt x="9" y="61"/>
                </a:lnTo>
                <a:lnTo>
                  <a:pt x="16" y="30"/>
                </a:lnTo>
                <a:lnTo>
                  <a:pt x="25" y="0"/>
                </a:lnTo>
                <a:lnTo>
                  <a:pt x="41" y="5"/>
                </a:lnTo>
                <a:lnTo>
                  <a:pt x="55" y="12"/>
                </a:lnTo>
                <a:lnTo>
                  <a:pt x="65" y="19"/>
                </a:lnTo>
                <a:lnTo>
                  <a:pt x="73" y="27"/>
                </a:lnTo>
                <a:lnTo>
                  <a:pt x="78" y="36"/>
                </a:lnTo>
                <a:lnTo>
                  <a:pt x="81" y="47"/>
                </a:lnTo>
                <a:lnTo>
                  <a:pt x="83" y="57"/>
                </a:lnTo>
                <a:lnTo>
                  <a:pt x="82" y="68"/>
                </a:lnTo>
                <a:lnTo>
                  <a:pt x="81" y="79"/>
                </a:lnTo>
                <a:lnTo>
                  <a:pt x="77" y="91"/>
                </a:lnTo>
                <a:lnTo>
                  <a:pt x="73" y="104"/>
                </a:lnTo>
                <a:lnTo>
                  <a:pt x="68" y="116"/>
                </a:lnTo>
                <a:lnTo>
                  <a:pt x="55" y="142"/>
                </a:lnTo>
                <a:lnTo>
                  <a:pt x="41" y="166"/>
                </a:lnTo>
                <a:lnTo>
                  <a:pt x="37" y="187"/>
                </a:lnTo>
                <a:lnTo>
                  <a:pt x="31" y="208"/>
                </a:lnTo>
                <a:lnTo>
                  <a:pt x="29" y="229"/>
                </a:lnTo>
                <a:lnTo>
                  <a:pt x="25" y="250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80" name="Freeform 45"/>
          <p:cNvSpPr>
            <a:spLocks/>
          </p:cNvSpPr>
          <p:nvPr/>
        </p:nvSpPr>
        <p:spPr bwMode="auto">
          <a:xfrm>
            <a:off x="1247775" y="2695575"/>
            <a:ext cx="252413" cy="171450"/>
          </a:xfrm>
          <a:custGeom>
            <a:avLst/>
            <a:gdLst>
              <a:gd name="T0" fmla="*/ 2147483647 w 635"/>
              <a:gd name="T1" fmla="*/ 2147483647 h 431"/>
              <a:gd name="T2" fmla="*/ 2147483647 w 635"/>
              <a:gd name="T3" fmla="*/ 2147483647 h 431"/>
              <a:gd name="T4" fmla="*/ 2147483647 w 635"/>
              <a:gd name="T5" fmla="*/ 2147483647 h 431"/>
              <a:gd name="T6" fmla="*/ 2147483647 w 635"/>
              <a:gd name="T7" fmla="*/ 2147483647 h 431"/>
              <a:gd name="T8" fmla="*/ 2147483647 w 635"/>
              <a:gd name="T9" fmla="*/ 2147483647 h 431"/>
              <a:gd name="T10" fmla="*/ 2147483647 w 635"/>
              <a:gd name="T11" fmla="*/ 2147483647 h 431"/>
              <a:gd name="T12" fmla="*/ 2147483647 w 635"/>
              <a:gd name="T13" fmla="*/ 2147483647 h 431"/>
              <a:gd name="T14" fmla="*/ 2147483647 w 635"/>
              <a:gd name="T15" fmla="*/ 2147483647 h 431"/>
              <a:gd name="T16" fmla="*/ 0 w 635"/>
              <a:gd name="T17" fmla="*/ 2147483647 h 431"/>
              <a:gd name="T18" fmla="*/ 2147483647 w 635"/>
              <a:gd name="T19" fmla="*/ 2147483647 h 431"/>
              <a:gd name="T20" fmla="*/ 2147483647 w 635"/>
              <a:gd name="T21" fmla="*/ 2147483647 h 431"/>
              <a:gd name="T22" fmla="*/ 2147483647 w 635"/>
              <a:gd name="T23" fmla="*/ 2147483647 h 431"/>
              <a:gd name="T24" fmla="*/ 2147483647 w 635"/>
              <a:gd name="T25" fmla="*/ 2147483647 h 431"/>
              <a:gd name="T26" fmla="*/ 2147483647 w 635"/>
              <a:gd name="T27" fmla="*/ 2147483647 h 431"/>
              <a:gd name="T28" fmla="*/ 2147483647 w 635"/>
              <a:gd name="T29" fmla="*/ 2147483647 h 431"/>
              <a:gd name="T30" fmla="*/ 2147483647 w 635"/>
              <a:gd name="T31" fmla="*/ 2147483647 h 431"/>
              <a:gd name="T32" fmla="*/ 2147483647 w 635"/>
              <a:gd name="T33" fmla="*/ 2147483647 h 431"/>
              <a:gd name="T34" fmla="*/ 2147483647 w 635"/>
              <a:gd name="T35" fmla="*/ 2147483647 h 431"/>
              <a:gd name="T36" fmla="*/ 2147483647 w 635"/>
              <a:gd name="T37" fmla="*/ 2147483647 h 431"/>
              <a:gd name="T38" fmla="*/ 2147483647 w 635"/>
              <a:gd name="T39" fmla="*/ 2147483647 h 431"/>
              <a:gd name="T40" fmla="*/ 2147483647 w 635"/>
              <a:gd name="T41" fmla="*/ 2147483647 h 431"/>
              <a:gd name="T42" fmla="*/ 2147483647 w 635"/>
              <a:gd name="T43" fmla="*/ 2147483647 h 431"/>
              <a:gd name="T44" fmla="*/ 2147483647 w 635"/>
              <a:gd name="T45" fmla="*/ 0 h 431"/>
              <a:gd name="T46" fmla="*/ 2147483647 w 635"/>
              <a:gd name="T47" fmla="*/ 2147483647 h 431"/>
              <a:gd name="T48" fmla="*/ 2147483647 w 635"/>
              <a:gd name="T49" fmla="*/ 2147483647 h 431"/>
              <a:gd name="T50" fmla="*/ 2147483647 w 635"/>
              <a:gd name="T51" fmla="*/ 2147483647 h 431"/>
              <a:gd name="T52" fmla="*/ 2147483647 w 635"/>
              <a:gd name="T53" fmla="*/ 2147483647 h 431"/>
              <a:gd name="T54" fmla="*/ 2147483647 w 635"/>
              <a:gd name="T55" fmla="*/ 2147483647 h 431"/>
              <a:gd name="T56" fmla="*/ 2147483647 w 635"/>
              <a:gd name="T57" fmla="*/ 2147483647 h 431"/>
              <a:gd name="T58" fmla="*/ 2147483647 w 635"/>
              <a:gd name="T59" fmla="*/ 2147483647 h 431"/>
              <a:gd name="T60" fmla="*/ 2147483647 w 635"/>
              <a:gd name="T61" fmla="*/ 2147483647 h 431"/>
              <a:gd name="T62" fmla="*/ 2147483647 w 635"/>
              <a:gd name="T63" fmla="*/ 2147483647 h 431"/>
              <a:gd name="T64" fmla="*/ 2147483647 w 635"/>
              <a:gd name="T65" fmla="*/ 2147483647 h 431"/>
              <a:gd name="T66" fmla="*/ 2147483647 w 635"/>
              <a:gd name="T67" fmla="*/ 2147483647 h 431"/>
              <a:gd name="T68" fmla="*/ 2147483647 w 635"/>
              <a:gd name="T69" fmla="*/ 2147483647 h 431"/>
              <a:gd name="T70" fmla="*/ 2147483647 w 635"/>
              <a:gd name="T71" fmla="*/ 2147483647 h 431"/>
              <a:gd name="T72" fmla="*/ 2147483647 w 635"/>
              <a:gd name="T73" fmla="*/ 2147483647 h 431"/>
              <a:gd name="T74" fmla="*/ 2147483647 w 635"/>
              <a:gd name="T75" fmla="*/ 2147483647 h 431"/>
              <a:gd name="T76" fmla="*/ 2147483647 w 635"/>
              <a:gd name="T77" fmla="*/ 2147483647 h 431"/>
              <a:gd name="T78" fmla="*/ 2147483647 w 635"/>
              <a:gd name="T79" fmla="*/ 2147483647 h 431"/>
              <a:gd name="T80" fmla="*/ 2147483647 w 635"/>
              <a:gd name="T81" fmla="*/ 2147483647 h 431"/>
              <a:gd name="T82" fmla="*/ 2147483647 w 635"/>
              <a:gd name="T83" fmla="*/ 2147483647 h 431"/>
              <a:gd name="T84" fmla="*/ 2147483647 w 635"/>
              <a:gd name="T85" fmla="*/ 2147483647 h 431"/>
              <a:gd name="T86" fmla="*/ 2147483647 w 635"/>
              <a:gd name="T87" fmla="*/ 2147483647 h 431"/>
              <a:gd name="T88" fmla="*/ 2147483647 w 635"/>
              <a:gd name="T89" fmla="*/ 2147483647 h 431"/>
              <a:gd name="T90" fmla="*/ 2147483647 w 635"/>
              <a:gd name="T91" fmla="*/ 2147483647 h 431"/>
              <a:gd name="T92" fmla="*/ 2147483647 w 635"/>
              <a:gd name="T93" fmla="*/ 2147483647 h 431"/>
              <a:gd name="T94" fmla="*/ 2147483647 w 635"/>
              <a:gd name="T95" fmla="*/ 2147483647 h 431"/>
              <a:gd name="T96" fmla="*/ 2147483647 w 635"/>
              <a:gd name="T97" fmla="*/ 2147483647 h 431"/>
              <a:gd name="T98" fmla="*/ 2147483647 w 635"/>
              <a:gd name="T99" fmla="*/ 2147483647 h 431"/>
              <a:gd name="T100" fmla="*/ 2147483647 w 635"/>
              <a:gd name="T101" fmla="*/ 2147483647 h 431"/>
              <a:gd name="T102" fmla="*/ 2147483647 w 635"/>
              <a:gd name="T103" fmla="*/ 2147483647 h 431"/>
              <a:gd name="T104" fmla="*/ 2147483647 w 635"/>
              <a:gd name="T105" fmla="*/ 2147483647 h 431"/>
              <a:gd name="T106" fmla="*/ 2147483647 w 635"/>
              <a:gd name="T107" fmla="*/ 2147483647 h 431"/>
              <a:gd name="T108" fmla="*/ 2147483647 w 635"/>
              <a:gd name="T109" fmla="*/ 2147483647 h 431"/>
              <a:gd name="T110" fmla="*/ 2147483647 w 635"/>
              <a:gd name="T111" fmla="*/ 2147483647 h 431"/>
              <a:gd name="T112" fmla="*/ 2147483647 w 635"/>
              <a:gd name="T113" fmla="*/ 2147483647 h 431"/>
              <a:gd name="T114" fmla="*/ 2147483647 w 635"/>
              <a:gd name="T115" fmla="*/ 2147483647 h 431"/>
              <a:gd name="T116" fmla="*/ 2147483647 w 635"/>
              <a:gd name="T117" fmla="*/ 2147483647 h 431"/>
              <a:gd name="T118" fmla="*/ 2147483647 w 635"/>
              <a:gd name="T119" fmla="*/ 2147483647 h 431"/>
              <a:gd name="T120" fmla="*/ 2147483647 w 635"/>
              <a:gd name="T121" fmla="*/ 2147483647 h 431"/>
              <a:gd name="T122" fmla="*/ 2147483647 w 635"/>
              <a:gd name="T123" fmla="*/ 2147483647 h 431"/>
              <a:gd name="T124" fmla="*/ 2147483647 w 635"/>
              <a:gd name="T125" fmla="*/ 2147483647 h 43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635"/>
              <a:gd name="T190" fmla="*/ 0 h 431"/>
              <a:gd name="T191" fmla="*/ 635 w 635"/>
              <a:gd name="T192" fmla="*/ 431 h 431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635" h="431">
                <a:moveTo>
                  <a:pt x="162" y="431"/>
                </a:moveTo>
                <a:lnTo>
                  <a:pt x="150" y="423"/>
                </a:lnTo>
                <a:lnTo>
                  <a:pt x="137" y="418"/>
                </a:lnTo>
                <a:lnTo>
                  <a:pt x="123" y="412"/>
                </a:lnTo>
                <a:lnTo>
                  <a:pt x="110" y="409"/>
                </a:lnTo>
                <a:lnTo>
                  <a:pt x="81" y="403"/>
                </a:lnTo>
                <a:lnTo>
                  <a:pt x="52" y="398"/>
                </a:lnTo>
                <a:lnTo>
                  <a:pt x="52" y="393"/>
                </a:lnTo>
                <a:lnTo>
                  <a:pt x="52" y="386"/>
                </a:lnTo>
                <a:lnTo>
                  <a:pt x="41" y="386"/>
                </a:lnTo>
                <a:lnTo>
                  <a:pt x="32" y="386"/>
                </a:lnTo>
                <a:lnTo>
                  <a:pt x="24" y="373"/>
                </a:lnTo>
                <a:lnTo>
                  <a:pt x="17" y="362"/>
                </a:lnTo>
                <a:lnTo>
                  <a:pt x="12" y="351"/>
                </a:lnTo>
                <a:lnTo>
                  <a:pt x="7" y="341"/>
                </a:lnTo>
                <a:lnTo>
                  <a:pt x="4" y="330"/>
                </a:lnTo>
                <a:lnTo>
                  <a:pt x="2" y="319"/>
                </a:lnTo>
                <a:lnTo>
                  <a:pt x="0" y="304"/>
                </a:lnTo>
                <a:lnTo>
                  <a:pt x="0" y="289"/>
                </a:lnTo>
                <a:lnTo>
                  <a:pt x="12" y="281"/>
                </a:lnTo>
                <a:lnTo>
                  <a:pt x="22" y="273"/>
                </a:lnTo>
                <a:lnTo>
                  <a:pt x="32" y="265"/>
                </a:lnTo>
                <a:lnTo>
                  <a:pt x="38" y="256"/>
                </a:lnTo>
                <a:lnTo>
                  <a:pt x="45" y="249"/>
                </a:lnTo>
                <a:lnTo>
                  <a:pt x="48" y="239"/>
                </a:lnTo>
                <a:lnTo>
                  <a:pt x="51" y="230"/>
                </a:lnTo>
                <a:lnTo>
                  <a:pt x="54" y="221"/>
                </a:lnTo>
                <a:lnTo>
                  <a:pt x="54" y="212"/>
                </a:lnTo>
                <a:lnTo>
                  <a:pt x="52" y="203"/>
                </a:lnTo>
                <a:lnTo>
                  <a:pt x="51" y="193"/>
                </a:lnTo>
                <a:lnTo>
                  <a:pt x="47" y="183"/>
                </a:lnTo>
                <a:lnTo>
                  <a:pt x="43" y="173"/>
                </a:lnTo>
                <a:lnTo>
                  <a:pt x="38" y="163"/>
                </a:lnTo>
                <a:lnTo>
                  <a:pt x="32" y="154"/>
                </a:lnTo>
                <a:lnTo>
                  <a:pt x="24" y="143"/>
                </a:lnTo>
                <a:lnTo>
                  <a:pt x="22" y="121"/>
                </a:lnTo>
                <a:lnTo>
                  <a:pt x="22" y="100"/>
                </a:lnTo>
                <a:lnTo>
                  <a:pt x="21" y="81"/>
                </a:lnTo>
                <a:lnTo>
                  <a:pt x="21" y="60"/>
                </a:lnTo>
                <a:lnTo>
                  <a:pt x="38" y="57"/>
                </a:lnTo>
                <a:lnTo>
                  <a:pt x="51" y="53"/>
                </a:lnTo>
                <a:lnTo>
                  <a:pt x="61" y="48"/>
                </a:lnTo>
                <a:lnTo>
                  <a:pt x="71" y="43"/>
                </a:lnTo>
                <a:lnTo>
                  <a:pt x="85" y="25"/>
                </a:lnTo>
                <a:lnTo>
                  <a:pt x="103" y="0"/>
                </a:lnTo>
                <a:lnTo>
                  <a:pt x="120" y="0"/>
                </a:lnTo>
                <a:lnTo>
                  <a:pt x="140" y="0"/>
                </a:lnTo>
                <a:lnTo>
                  <a:pt x="149" y="16"/>
                </a:lnTo>
                <a:lnTo>
                  <a:pt x="159" y="30"/>
                </a:lnTo>
                <a:lnTo>
                  <a:pt x="169" y="46"/>
                </a:lnTo>
                <a:lnTo>
                  <a:pt x="180" y="61"/>
                </a:lnTo>
                <a:lnTo>
                  <a:pt x="205" y="64"/>
                </a:lnTo>
                <a:lnTo>
                  <a:pt x="228" y="66"/>
                </a:lnTo>
                <a:lnTo>
                  <a:pt x="240" y="69"/>
                </a:lnTo>
                <a:lnTo>
                  <a:pt x="250" y="73"/>
                </a:lnTo>
                <a:lnTo>
                  <a:pt x="261" y="79"/>
                </a:lnTo>
                <a:lnTo>
                  <a:pt x="272" y="87"/>
                </a:lnTo>
                <a:lnTo>
                  <a:pt x="298" y="83"/>
                </a:lnTo>
                <a:lnTo>
                  <a:pt x="324" y="78"/>
                </a:lnTo>
                <a:lnTo>
                  <a:pt x="350" y="73"/>
                </a:lnTo>
                <a:lnTo>
                  <a:pt x="376" y="68"/>
                </a:lnTo>
                <a:lnTo>
                  <a:pt x="404" y="65"/>
                </a:lnTo>
                <a:lnTo>
                  <a:pt x="430" y="64"/>
                </a:lnTo>
                <a:lnTo>
                  <a:pt x="443" y="64"/>
                </a:lnTo>
                <a:lnTo>
                  <a:pt x="456" y="65"/>
                </a:lnTo>
                <a:lnTo>
                  <a:pt x="470" y="68"/>
                </a:lnTo>
                <a:lnTo>
                  <a:pt x="483" y="72"/>
                </a:lnTo>
                <a:lnTo>
                  <a:pt x="490" y="87"/>
                </a:lnTo>
                <a:lnTo>
                  <a:pt x="496" y="100"/>
                </a:lnTo>
                <a:lnTo>
                  <a:pt x="503" y="112"/>
                </a:lnTo>
                <a:lnTo>
                  <a:pt x="509" y="121"/>
                </a:lnTo>
                <a:lnTo>
                  <a:pt x="516" y="129"/>
                </a:lnTo>
                <a:lnTo>
                  <a:pt x="523" y="135"/>
                </a:lnTo>
                <a:lnTo>
                  <a:pt x="531" y="142"/>
                </a:lnTo>
                <a:lnTo>
                  <a:pt x="539" y="146"/>
                </a:lnTo>
                <a:lnTo>
                  <a:pt x="575" y="163"/>
                </a:lnTo>
                <a:lnTo>
                  <a:pt x="624" y="185"/>
                </a:lnTo>
                <a:lnTo>
                  <a:pt x="630" y="199"/>
                </a:lnTo>
                <a:lnTo>
                  <a:pt x="634" y="212"/>
                </a:lnTo>
                <a:lnTo>
                  <a:pt x="635" y="225"/>
                </a:lnTo>
                <a:lnTo>
                  <a:pt x="634" y="238"/>
                </a:lnTo>
                <a:lnTo>
                  <a:pt x="633" y="250"/>
                </a:lnTo>
                <a:lnTo>
                  <a:pt x="629" y="262"/>
                </a:lnTo>
                <a:lnTo>
                  <a:pt x="624" y="273"/>
                </a:lnTo>
                <a:lnTo>
                  <a:pt x="618" y="284"/>
                </a:lnTo>
                <a:lnTo>
                  <a:pt x="604" y="304"/>
                </a:lnTo>
                <a:lnTo>
                  <a:pt x="587" y="324"/>
                </a:lnTo>
                <a:lnTo>
                  <a:pt x="570" y="343"/>
                </a:lnTo>
                <a:lnTo>
                  <a:pt x="555" y="362"/>
                </a:lnTo>
                <a:lnTo>
                  <a:pt x="538" y="363"/>
                </a:lnTo>
                <a:lnTo>
                  <a:pt x="519" y="366"/>
                </a:lnTo>
                <a:lnTo>
                  <a:pt x="503" y="368"/>
                </a:lnTo>
                <a:lnTo>
                  <a:pt x="486" y="371"/>
                </a:lnTo>
                <a:lnTo>
                  <a:pt x="477" y="386"/>
                </a:lnTo>
                <a:lnTo>
                  <a:pt x="470" y="401"/>
                </a:lnTo>
                <a:lnTo>
                  <a:pt x="458" y="399"/>
                </a:lnTo>
                <a:lnTo>
                  <a:pt x="448" y="396"/>
                </a:lnTo>
                <a:lnTo>
                  <a:pt x="437" y="390"/>
                </a:lnTo>
                <a:lnTo>
                  <a:pt x="426" y="385"/>
                </a:lnTo>
                <a:lnTo>
                  <a:pt x="405" y="370"/>
                </a:lnTo>
                <a:lnTo>
                  <a:pt x="384" y="355"/>
                </a:lnTo>
                <a:lnTo>
                  <a:pt x="374" y="349"/>
                </a:lnTo>
                <a:lnTo>
                  <a:pt x="363" y="343"/>
                </a:lnTo>
                <a:lnTo>
                  <a:pt x="354" y="340"/>
                </a:lnTo>
                <a:lnTo>
                  <a:pt x="344" y="338"/>
                </a:lnTo>
                <a:lnTo>
                  <a:pt x="339" y="338"/>
                </a:lnTo>
                <a:lnTo>
                  <a:pt x="333" y="340"/>
                </a:lnTo>
                <a:lnTo>
                  <a:pt x="330" y="341"/>
                </a:lnTo>
                <a:lnTo>
                  <a:pt x="324" y="343"/>
                </a:lnTo>
                <a:lnTo>
                  <a:pt x="319" y="347"/>
                </a:lnTo>
                <a:lnTo>
                  <a:pt x="314" y="351"/>
                </a:lnTo>
                <a:lnTo>
                  <a:pt x="309" y="357"/>
                </a:lnTo>
                <a:lnTo>
                  <a:pt x="305" y="362"/>
                </a:lnTo>
                <a:lnTo>
                  <a:pt x="292" y="367"/>
                </a:lnTo>
                <a:lnTo>
                  <a:pt x="280" y="370"/>
                </a:lnTo>
                <a:lnTo>
                  <a:pt x="264" y="371"/>
                </a:lnTo>
                <a:lnTo>
                  <a:pt x="238" y="373"/>
                </a:lnTo>
                <a:lnTo>
                  <a:pt x="236" y="393"/>
                </a:lnTo>
                <a:lnTo>
                  <a:pt x="232" y="407"/>
                </a:lnTo>
                <a:lnTo>
                  <a:pt x="228" y="412"/>
                </a:lnTo>
                <a:lnTo>
                  <a:pt x="225" y="418"/>
                </a:lnTo>
                <a:lnTo>
                  <a:pt x="222" y="420"/>
                </a:lnTo>
                <a:lnTo>
                  <a:pt x="218" y="423"/>
                </a:lnTo>
                <a:lnTo>
                  <a:pt x="209" y="427"/>
                </a:lnTo>
                <a:lnTo>
                  <a:pt x="196" y="428"/>
                </a:lnTo>
                <a:lnTo>
                  <a:pt x="181" y="429"/>
                </a:lnTo>
                <a:lnTo>
                  <a:pt x="162" y="431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81" name="Freeform 46"/>
          <p:cNvSpPr>
            <a:spLocks/>
          </p:cNvSpPr>
          <p:nvPr/>
        </p:nvSpPr>
        <p:spPr bwMode="auto">
          <a:xfrm>
            <a:off x="1681163" y="2552700"/>
            <a:ext cx="246062" cy="217488"/>
          </a:xfrm>
          <a:custGeom>
            <a:avLst/>
            <a:gdLst>
              <a:gd name="T0" fmla="*/ 2147483647 w 621"/>
              <a:gd name="T1" fmla="*/ 2147483647 h 546"/>
              <a:gd name="T2" fmla="*/ 2147483647 w 621"/>
              <a:gd name="T3" fmla="*/ 2147483647 h 546"/>
              <a:gd name="T4" fmla="*/ 2147483647 w 621"/>
              <a:gd name="T5" fmla="*/ 2147483647 h 546"/>
              <a:gd name="T6" fmla="*/ 0 w 621"/>
              <a:gd name="T7" fmla="*/ 2147483647 h 546"/>
              <a:gd name="T8" fmla="*/ 2147483647 w 621"/>
              <a:gd name="T9" fmla="*/ 2147483647 h 546"/>
              <a:gd name="T10" fmla="*/ 2147483647 w 621"/>
              <a:gd name="T11" fmla="*/ 2147483647 h 546"/>
              <a:gd name="T12" fmla="*/ 2147483647 w 621"/>
              <a:gd name="T13" fmla="*/ 2147483647 h 546"/>
              <a:gd name="T14" fmla="*/ 2147483647 w 621"/>
              <a:gd name="T15" fmla="*/ 2147483647 h 546"/>
              <a:gd name="T16" fmla="*/ 2147483647 w 621"/>
              <a:gd name="T17" fmla="*/ 2147483647 h 546"/>
              <a:gd name="T18" fmla="*/ 2147483647 w 621"/>
              <a:gd name="T19" fmla="*/ 2147483647 h 546"/>
              <a:gd name="T20" fmla="*/ 2147483647 w 621"/>
              <a:gd name="T21" fmla="*/ 2147483647 h 546"/>
              <a:gd name="T22" fmla="*/ 2147483647 w 621"/>
              <a:gd name="T23" fmla="*/ 2147483647 h 546"/>
              <a:gd name="T24" fmla="*/ 2147483647 w 621"/>
              <a:gd name="T25" fmla="*/ 2147483647 h 546"/>
              <a:gd name="T26" fmla="*/ 2147483647 w 621"/>
              <a:gd name="T27" fmla="*/ 2147483647 h 546"/>
              <a:gd name="T28" fmla="*/ 2147483647 w 621"/>
              <a:gd name="T29" fmla="*/ 2147483647 h 546"/>
              <a:gd name="T30" fmla="*/ 2147483647 w 621"/>
              <a:gd name="T31" fmla="*/ 2147483647 h 546"/>
              <a:gd name="T32" fmla="*/ 2147483647 w 621"/>
              <a:gd name="T33" fmla="*/ 2147483647 h 546"/>
              <a:gd name="T34" fmla="*/ 2147483647 w 621"/>
              <a:gd name="T35" fmla="*/ 2147483647 h 546"/>
              <a:gd name="T36" fmla="*/ 2147483647 w 621"/>
              <a:gd name="T37" fmla="*/ 2147483647 h 546"/>
              <a:gd name="T38" fmla="*/ 2147483647 w 621"/>
              <a:gd name="T39" fmla="*/ 2147483647 h 546"/>
              <a:gd name="T40" fmla="*/ 2147483647 w 621"/>
              <a:gd name="T41" fmla="*/ 2147483647 h 546"/>
              <a:gd name="T42" fmla="*/ 2147483647 w 621"/>
              <a:gd name="T43" fmla="*/ 2147483647 h 546"/>
              <a:gd name="T44" fmla="*/ 2147483647 w 621"/>
              <a:gd name="T45" fmla="*/ 2147483647 h 546"/>
              <a:gd name="T46" fmla="*/ 2147483647 w 621"/>
              <a:gd name="T47" fmla="*/ 2147483647 h 546"/>
              <a:gd name="T48" fmla="*/ 2147483647 w 621"/>
              <a:gd name="T49" fmla="*/ 2147483647 h 546"/>
              <a:gd name="T50" fmla="*/ 2147483647 w 621"/>
              <a:gd name="T51" fmla="*/ 2147483647 h 546"/>
              <a:gd name="T52" fmla="*/ 2147483647 w 621"/>
              <a:gd name="T53" fmla="*/ 2147483647 h 546"/>
              <a:gd name="T54" fmla="*/ 2147483647 w 621"/>
              <a:gd name="T55" fmla="*/ 2147483647 h 546"/>
              <a:gd name="T56" fmla="*/ 2147483647 w 621"/>
              <a:gd name="T57" fmla="*/ 2147483647 h 546"/>
              <a:gd name="T58" fmla="*/ 2147483647 w 621"/>
              <a:gd name="T59" fmla="*/ 2147483647 h 546"/>
              <a:gd name="T60" fmla="*/ 2147483647 w 621"/>
              <a:gd name="T61" fmla="*/ 2147483647 h 546"/>
              <a:gd name="T62" fmla="*/ 2147483647 w 621"/>
              <a:gd name="T63" fmla="*/ 2147483647 h 546"/>
              <a:gd name="T64" fmla="*/ 2147483647 w 621"/>
              <a:gd name="T65" fmla="*/ 2147483647 h 546"/>
              <a:gd name="T66" fmla="*/ 2147483647 w 621"/>
              <a:gd name="T67" fmla="*/ 2147483647 h 546"/>
              <a:gd name="T68" fmla="*/ 2147483647 w 621"/>
              <a:gd name="T69" fmla="*/ 2147483647 h 546"/>
              <a:gd name="T70" fmla="*/ 2147483647 w 621"/>
              <a:gd name="T71" fmla="*/ 2147483647 h 546"/>
              <a:gd name="T72" fmla="*/ 2147483647 w 621"/>
              <a:gd name="T73" fmla="*/ 2147483647 h 546"/>
              <a:gd name="T74" fmla="*/ 2147483647 w 621"/>
              <a:gd name="T75" fmla="*/ 2147483647 h 546"/>
              <a:gd name="T76" fmla="*/ 2147483647 w 621"/>
              <a:gd name="T77" fmla="*/ 2147483647 h 546"/>
              <a:gd name="T78" fmla="*/ 2147483647 w 621"/>
              <a:gd name="T79" fmla="*/ 2147483647 h 546"/>
              <a:gd name="T80" fmla="*/ 2147483647 w 621"/>
              <a:gd name="T81" fmla="*/ 2147483647 h 546"/>
              <a:gd name="T82" fmla="*/ 2147483647 w 621"/>
              <a:gd name="T83" fmla="*/ 2147483647 h 546"/>
              <a:gd name="T84" fmla="*/ 2147483647 w 621"/>
              <a:gd name="T85" fmla="*/ 2147483647 h 546"/>
              <a:gd name="T86" fmla="*/ 2147483647 w 621"/>
              <a:gd name="T87" fmla="*/ 2147483647 h 546"/>
              <a:gd name="T88" fmla="*/ 2147483647 w 621"/>
              <a:gd name="T89" fmla="*/ 2147483647 h 546"/>
              <a:gd name="T90" fmla="*/ 2147483647 w 621"/>
              <a:gd name="T91" fmla="*/ 2147483647 h 546"/>
              <a:gd name="T92" fmla="*/ 2147483647 w 621"/>
              <a:gd name="T93" fmla="*/ 2147483647 h 546"/>
              <a:gd name="T94" fmla="*/ 2147483647 w 621"/>
              <a:gd name="T95" fmla="*/ 2147483647 h 546"/>
              <a:gd name="T96" fmla="*/ 2147483647 w 621"/>
              <a:gd name="T97" fmla="*/ 2147483647 h 546"/>
              <a:gd name="T98" fmla="*/ 2147483647 w 621"/>
              <a:gd name="T99" fmla="*/ 2147483647 h 546"/>
              <a:gd name="T100" fmla="*/ 2147483647 w 621"/>
              <a:gd name="T101" fmla="*/ 2147483647 h 546"/>
              <a:gd name="T102" fmla="*/ 2147483647 w 621"/>
              <a:gd name="T103" fmla="*/ 2147483647 h 546"/>
              <a:gd name="T104" fmla="*/ 2147483647 w 621"/>
              <a:gd name="T105" fmla="*/ 2147483647 h 546"/>
              <a:gd name="T106" fmla="*/ 2147483647 w 621"/>
              <a:gd name="T107" fmla="*/ 2147483647 h 546"/>
              <a:gd name="T108" fmla="*/ 2147483647 w 621"/>
              <a:gd name="T109" fmla="*/ 2147483647 h 546"/>
              <a:gd name="T110" fmla="*/ 2147483647 w 621"/>
              <a:gd name="T111" fmla="*/ 2147483647 h 546"/>
              <a:gd name="T112" fmla="*/ 2147483647 w 621"/>
              <a:gd name="T113" fmla="*/ 2147483647 h 546"/>
              <a:gd name="T114" fmla="*/ 2147483647 w 621"/>
              <a:gd name="T115" fmla="*/ 2147483647 h 54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621"/>
              <a:gd name="T175" fmla="*/ 0 h 546"/>
              <a:gd name="T176" fmla="*/ 621 w 621"/>
              <a:gd name="T177" fmla="*/ 546 h 54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621" h="546">
                <a:moveTo>
                  <a:pt x="50" y="546"/>
                </a:moveTo>
                <a:lnTo>
                  <a:pt x="35" y="528"/>
                </a:lnTo>
                <a:lnTo>
                  <a:pt x="24" y="513"/>
                </a:lnTo>
                <a:lnTo>
                  <a:pt x="15" y="498"/>
                </a:lnTo>
                <a:lnTo>
                  <a:pt x="7" y="487"/>
                </a:lnTo>
                <a:lnTo>
                  <a:pt x="3" y="475"/>
                </a:lnTo>
                <a:lnTo>
                  <a:pt x="0" y="464"/>
                </a:lnTo>
                <a:lnTo>
                  <a:pt x="0" y="454"/>
                </a:lnTo>
                <a:lnTo>
                  <a:pt x="1" y="445"/>
                </a:lnTo>
                <a:lnTo>
                  <a:pt x="4" y="435"/>
                </a:lnTo>
                <a:lnTo>
                  <a:pt x="9" y="425"/>
                </a:lnTo>
                <a:lnTo>
                  <a:pt x="16" y="414"/>
                </a:lnTo>
                <a:lnTo>
                  <a:pt x="24" y="403"/>
                </a:lnTo>
                <a:lnTo>
                  <a:pt x="42" y="376"/>
                </a:lnTo>
                <a:lnTo>
                  <a:pt x="64" y="342"/>
                </a:lnTo>
                <a:lnTo>
                  <a:pt x="69" y="342"/>
                </a:lnTo>
                <a:lnTo>
                  <a:pt x="76" y="342"/>
                </a:lnTo>
                <a:lnTo>
                  <a:pt x="82" y="329"/>
                </a:lnTo>
                <a:lnTo>
                  <a:pt x="87" y="323"/>
                </a:lnTo>
                <a:lnTo>
                  <a:pt x="93" y="319"/>
                </a:lnTo>
                <a:lnTo>
                  <a:pt x="102" y="315"/>
                </a:lnTo>
                <a:lnTo>
                  <a:pt x="100" y="288"/>
                </a:lnTo>
                <a:lnTo>
                  <a:pt x="96" y="265"/>
                </a:lnTo>
                <a:lnTo>
                  <a:pt x="94" y="247"/>
                </a:lnTo>
                <a:lnTo>
                  <a:pt x="91" y="232"/>
                </a:lnTo>
                <a:lnTo>
                  <a:pt x="91" y="224"/>
                </a:lnTo>
                <a:lnTo>
                  <a:pt x="91" y="216"/>
                </a:lnTo>
                <a:lnTo>
                  <a:pt x="94" y="207"/>
                </a:lnTo>
                <a:lnTo>
                  <a:pt x="98" y="198"/>
                </a:lnTo>
                <a:lnTo>
                  <a:pt x="102" y="187"/>
                </a:lnTo>
                <a:lnTo>
                  <a:pt x="109" y="177"/>
                </a:lnTo>
                <a:lnTo>
                  <a:pt x="117" y="164"/>
                </a:lnTo>
                <a:lnTo>
                  <a:pt x="129" y="150"/>
                </a:lnTo>
                <a:lnTo>
                  <a:pt x="132" y="131"/>
                </a:lnTo>
                <a:lnTo>
                  <a:pt x="134" y="117"/>
                </a:lnTo>
                <a:lnTo>
                  <a:pt x="137" y="107"/>
                </a:lnTo>
                <a:lnTo>
                  <a:pt x="142" y="98"/>
                </a:lnTo>
                <a:lnTo>
                  <a:pt x="149" y="91"/>
                </a:lnTo>
                <a:lnTo>
                  <a:pt x="156" y="86"/>
                </a:lnTo>
                <a:lnTo>
                  <a:pt x="169" y="79"/>
                </a:lnTo>
                <a:lnTo>
                  <a:pt x="185" y="73"/>
                </a:lnTo>
                <a:lnTo>
                  <a:pt x="188" y="53"/>
                </a:lnTo>
                <a:lnTo>
                  <a:pt x="190" y="34"/>
                </a:lnTo>
                <a:lnTo>
                  <a:pt x="228" y="21"/>
                </a:lnTo>
                <a:lnTo>
                  <a:pt x="260" y="12"/>
                </a:lnTo>
                <a:lnTo>
                  <a:pt x="276" y="8"/>
                </a:lnTo>
                <a:lnTo>
                  <a:pt x="293" y="4"/>
                </a:lnTo>
                <a:lnTo>
                  <a:pt x="312" y="1"/>
                </a:lnTo>
                <a:lnTo>
                  <a:pt x="335" y="0"/>
                </a:lnTo>
                <a:lnTo>
                  <a:pt x="364" y="22"/>
                </a:lnTo>
                <a:lnTo>
                  <a:pt x="396" y="44"/>
                </a:lnTo>
                <a:lnTo>
                  <a:pt x="410" y="55"/>
                </a:lnTo>
                <a:lnTo>
                  <a:pt x="427" y="65"/>
                </a:lnTo>
                <a:lnTo>
                  <a:pt x="443" y="73"/>
                </a:lnTo>
                <a:lnTo>
                  <a:pt x="459" y="81"/>
                </a:lnTo>
                <a:lnTo>
                  <a:pt x="469" y="72"/>
                </a:lnTo>
                <a:lnTo>
                  <a:pt x="478" y="64"/>
                </a:lnTo>
                <a:lnTo>
                  <a:pt x="483" y="61"/>
                </a:lnTo>
                <a:lnTo>
                  <a:pt x="488" y="59"/>
                </a:lnTo>
                <a:lnTo>
                  <a:pt x="495" y="57"/>
                </a:lnTo>
                <a:lnTo>
                  <a:pt x="502" y="57"/>
                </a:lnTo>
                <a:lnTo>
                  <a:pt x="517" y="75"/>
                </a:lnTo>
                <a:lnTo>
                  <a:pt x="531" y="94"/>
                </a:lnTo>
                <a:lnTo>
                  <a:pt x="545" y="112"/>
                </a:lnTo>
                <a:lnTo>
                  <a:pt x="560" y="130"/>
                </a:lnTo>
                <a:lnTo>
                  <a:pt x="553" y="170"/>
                </a:lnTo>
                <a:lnTo>
                  <a:pt x="545" y="212"/>
                </a:lnTo>
                <a:lnTo>
                  <a:pt x="545" y="222"/>
                </a:lnTo>
                <a:lnTo>
                  <a:pt x="545" y="232"/>
                </a:lnTo>
                <a:lnTo>
                  <a:pt x="547" y="241"/>
                </a:lnTo>
                <a:lnTo>
                  <a:pt x="551" y="248"/>
                </a:lnTo>
                <a:lnTo>
                  <a:pt x="554" y="255"/>
                </a:lnTo>
                <a:lnTo>
                  <a:pt x="562" y="261"/>
                </a:lnTo>
                <a:lnTo>
                  <a:pt x="571" y="267"/>
                </a:lnTo>
                <a:lnTo>
                  <a:pt x="583" y="271"/>
                </a:lnTo>
                <a:lnTo>
                  <a:pt x="588" y="284"/>
                </a:lnTo>
                <a:lnTo>
                  <a:pt x="595" y="297"/>
                </a:lnTo>
                <a:lnTo>
                  <a:pt x="601" y="310"/>
                </a:lnTo>
                <a:lnTo>
                  <a:pt x="608" y="323"/>
                </a:lnTo>
                <a:lnTo>
                  <a:pt x="614" y="324"/>
                </a:lnTo>
                <a:lnTo>
                  <a:pt x="621" y="327"/>
                </a:lnTo>
                <a:lnTo>
                  <a:pt x="619" y="340"/>
                </a:lnTo>
                <a:lnTo>
                  <a:pt x="617" y="351"/>
                </a:lnTo>
                <a:lnTo>
                  <a:pt x="612" y="362"/>
                </a:lnTo>
                <a:lnTo>
                  <a:pt x="604" y="372"/>
                </a:lnTo>
                <a:lnTo>
                  <a:pt x="595" y="380"/>
                </a:lnTo>
                <a:lnTo>
                  <a:pt x="584" y="388"/>
                </a:lnTo>
                <a:lnTo>
                  <a:pt x="574" y="395"/>
                </a:lnTo>
                <a:lnTo>
                  <a:pt x="561" y="401"/>
                </a:lnTo>
                <a:lnTo>
                  <a:pt x="509" y="421"/>
                </a:lnTo>
                <a:lnTo>
                  <a:pt x="459" y="438"/>
                </a:lnTo>
                <a:lnTo>
                  <a:pt x="459" y="444"/>
                </a:lnTo>
                <a:lnTo>
                  <a:pt x="459" y="450"/>
                </a:lnTo>
                <a:lnTo>
                  <a:pt x="440" y="457"/>
                </a:lnTo>
                <a:lnTo>
                  <a:pt x="424" y="463"/>
                </a:lnTo>
                <a:lnTo>
                  <a:pt x="411" y="470"/>
                </a:lnTo>
                <a:lnTo>
                  <a:pt x="401" y="476"/>
                </a:lnTo>
                <a:lnTo>
                  <a:pt x="392" y="484"/>
                </a:lnTo>
                <a:lnTo>
                  <a:pt x="383" y="494"/>
                </a:lnTo>
                <a:lnTo>
                  <a:pt x="374" y="509"/>
                </a:lnTo>
                <a:lnTo>
                  <a:pt x="363" y="527"/>
                </a:lnTo>
                <a:lnTo>
                  <a:pt x="348" y="526"/>
                </a:lnTo>
                <a:lnTo>
                  <a:pt x="331" y="522"/>
                </a:lnTo>
                <a:lnTo>
                  <a:pt x="314" y="515"/>
                </a:lnTo>
                <a:lnTo>
                  <a:pt x="296" y="509"/>
                </a:lnTo>
                <a:lnTo>
                  <a:pt x="277" y="502"/>
                </a:lnTo>
                <a:lnTo>
                  <a:pt x="259" y="494"/>
                </a:lnTo>
                <a:lnTo>
                  <a:pt x="241" y="489"/>
                </a:lnTo>
                <a:lnTo>
                  <a:pt x="223" y="484"/>
                </a:lnTo>
                <a:lnTo>
                  <a:pt x="189" y="493"/>
                </a:lnTo>
                <a:lnTo>
                  <a:pt x="164" y="500"/>
                </a:lnTo>
                <a:lnTo>
                  <a:pt x="137" y="510"/>
                </a:lnTo>
                <a:lnTo>
                  <a:pt x="94" y="527"/>
                </a:lnTo>
                <a:lnTo>
                  <a:pt x="91" y="532"/>
                </a:lnTo>
                <a:lnTo>
                  <a:pt x="89" y="540"/>
                </a:lnTo>
                <a:lnTo>
                  <a:pt x="69" y="542"/>
                </a:lnTo>
                <a:lnTo>
                  <a:pt x="50" y="546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82" name="Freeform 47"/>
          <p:cNvSpPr>
            <a:spLocks/>
          </p:cNvSpPr>
          <p:nvPr/>
        </p:nvSpPr>
        <p:spPr bwMode="auto">
          <a:xfrm>
            <a:off x="1568450" y="2725738"/>
            <a:ext cx="30163" cy="28575"/>
          </a:xfrm>
          <a:custGeom>
            <a:avLst/>
            <a:gdLst>
              <a:gd name="T0" fmla="*/ 2147483647 w 74"/>
              <a:gd name="T1" fmla="*/ 2147483647 h 71"/>
              <a:gd name="T2" fmla="*/ 2147483647 w 74"/>
              <a:gd name="T3" fmla="*/ 2147483647 h 71"/>
              <a:gd name="T4" fmla="*/ 2147483647 w 74"/>
              <a:gd name="T5" fmla="*/ 2147483647 h 71"/>
              <a:gd name="T6" fmla="*/ 2147483647 w 74"/>
              <a:gd name="T7" fmla="*/ 2147483647 h 71"/>
              <a:gd name="T8" fmla="*/ 2147483647 w 74"/>
              <a:gd name="T9" fmla="*/ 2147483647 h 71"/>
              <a:gd name="T10" fmla="*/ 0 w 74"/>
              <a:gd name="T11" fmla="*/ 2147483647 h 71"/>
              <a:gd name="T12" fmla="*/ 2147483647 w 74"/>
              <a:gd name="T13" fmla="*/ 2147483647 h 71"/>
              <a:gd name="T14" fmla="*/ 2147483647 w 74"/>
              <a:gd name="T15" fmla="*/ 2147483647 h 71"/>
              <a:gd name="T16" fmla="*/ 2147483647 w 74"/>
              <a:gd name="T17" fmla="*/ 2147483647 h 71"/>
              <a:gd name="T18" fmla="*/ 2147483647 w 74"/>
              <a:gd name="T19" fmla="*/ 0 h 71"/>
              <a:gd name="T20" fmla="*/ 2147483647 w 74"/>
              <a:gd name="T21" fmla="*/ 0 h 71"/>
              <a:gd name="T22" fmla="*/ 2147483647 w 74"/>
              <a:gd name="T23" fmla="*/ 2147483647 h 71"/>
              <a:gd name="T24" fmla="*/ 2147483647 w 74"/>
              <a:gd name="T25" fmla="*/ 2147483647 h 71"/>
              <a:gd name="T26" fmla="*/ 2147483647 w 74"/>
              <a:gd name="T27" fmla="*/ 2147483647 h 71"/>
              <a:gd name="T28" fmla="*/ 2147483647 w 74"/>
              <a:gd name="T29" fmla="*/ 2147483647 h 71"/>
              <a:gd name="T30" fmla="*/ 2147483647 w 74"/>
              <a:gd name="T31" fmla="*/ 2147483647 h 71"/>
              <a:gd name="T32" fmla="*/ 2147483647 w 74"/>
              <a:gd name="T33" fmla="*/ 2147483647 h 71"/>
              <a:gd name="T34" fmla="*/ 2147483647 w 74"/>
              <a:gd name="T35" fmla="*/ 2147483647 h 71"/>
              <a:gd name="T36" fmla="*/ 2147483647 w 74"/>
              <a:gd name="T37" fmla="*/ 2147483647 h 71"/>
              <a:gd name="T38" fmla="*/ 2147483647 w 74"/>
              <a:gd name="T39" fmla="*/ 2147483647 h 71"/>
              <a:gd name="T40" fmla="*/ 2147483647 w 74"/>
              <a:gd name="T41" fmla="*/ 2147483647 h 71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74"/>
              <a:gd name="T64" fmla="*/ 0 h 71"/>
              <a:gd name="T65" fmla="*/ 74 w 74"/>
              <a:gd name="T66" fmla="*/ 71 h 71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74" h="71">
                <a:moveTo>
                  <a:pt x="26" y="71"/>
                </a:moveTo>
                <a:lnTo>
                  <a:pt x="16" y="64"/>
                </a:lnTo>
                <a:lnTo>
                  <a:pt x="9" y="56"/>
                </a:lnTo>
                <a:lnTo>
                  <a:pt x="5" y="48"/>
                </a:lnTo>
                <a:lnTo>
                  <a:pt x="1" y="40"/>
                </a:lnTo>
                <a:lnTo>
                  <a:pt x="0" y="31"/>
                </a:lnTo>
                <a:lnTo>
                  <a:pt x="1" y="22"/>
                </a:lnTo>
                <a:lnTo>
                  <a:pt x="2" y="13"/>
                </a:lnTo>
                <a:lnTo>
                  <a:pt x="6" y="2"/>
                </a:lnTo>
                <a:lnTo>
                  <a:pt x="32" y="0"/>
                </a:lnTo>
                <a:lnTo>
                  <a:pt x="46" y="0"/>
                </a:lnTo>
                <a:lnTo>
                  <a:pt x="56" y="1"/>
                </a:lnTo>
                <a:lnTo>
                  <a:pt x="63" y="6"/>
                </a:lnTo>
                <a:lnTo>
                  <a:pt x="67" y="23"/>
                </a:lnTo>
                <a:lnTo>
                  <a:pt x="74" y="40"/>
                </a:lnTo>
                <a:lnTo>
                  <a:pt x="69" y="47"/>
                </a:lnTo>
                <a:lnTo>
                  <a:pt x="63" y="52"/>
                </a:lnTo>
                <a:lnTo>
                  <a:pt x="58" y="57"/>
                </a:lnTo>
                <a:lnTo>
                  <a:pt x="52" y="61"/>
                </a:lnTo>
                <a:lnTo>
                  <a:pt x="40" y="66"/>
                </a:lnTo>
                <a:lnTo>
                  <a:pt x="26" y="71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83" name="Freeform 48"/>
          <p:cNvSpPr>
            <a:spLocks/>
          </p:cNvSpPr>
          <p:nvPr/>
        </p:nvSpPr>
        <p:spPr bwMode="auto">
          <a:xfrm>
            <a:off x="3255963" y="3636963"/>
            <a:ext cx="407987" cy="592137"/>
          </a:xfrm>
          <a:custGeom>
            <a:avLst/>
            <a:gdLst>
              <a:gd name="T0" fmla="*/ 2147483647 w 1029"/>
              <a:gd name="T1" fmla="*/ 2147483647 h 1490"/>
              <a:gd name="T2" fmla="*/ 2147483647 w 1029"/>
              <a:gd name="T3" fmla="*/ 2147483647 h 1490"/>
              <a:gd name="T4" fmla="*/ 2147483647 w 1029"/>
              <a:gd name="T5" fmla="*/ 2147483647 h 1490"/>
              <a:gd name="T6" fmla="*/ 2147483647 w 1029"/>
              <a:gd name="T7" fmla="*/ 2147483647 h 1490"/>
              <a:gd name="T8" fmla="*/ 2147483647 w 1029"/>
              <a:gd name="T9" fmla="*/ 2147483647 h 1490"/>
              <a:gd name="T10" fmla="*/ 2147483647 w 1029"/>
              <a:gd name="T11" fmla="*/ 2147483647 h 1490"/>
              <a:gd name="T12" fmla="*/ 2147483647 w 1029"/>
              <a:gd name="T13" fmla="*/ 2147483647 h 1490"/>
              <a:gd name="T14" fmla="*/ 2147483647 w 1029"/>
              <a:gd name="T15" fmla="*/ 2147483647 h 1490"/>
              <a:gd name="T16" fmla="*/ 2147483647 w 1029"/>
              <a:gd name="T17" fmla="*/ 2147483647 h 1490"/>
              <a:gd name="T18" fmla="*/ 2147483647 w 1029"/>
              <a:gd name="T19" fmla="*/ 2147483647 h 1490"/>
              <a:gd name="T20" fmla="*/ 2147483647 w 1029"/>
              <a:gd name="T21" fmla="*/ 2147483647 h 1490"/>
              <a:gd name="T22" fmla="*/ 2147483647 w 1029"/>
              <a:gd name="T23" fmla="*/ 2147483647 h 1490"/>
              <a:gd name="T24" fmla="*/ 0 w 1029"/>
              <a:gd name="T25" fmla="*/ 2147483647 h 1490"/>
              <a:gd name="T26" fmla="*/ 2147483647 w 1029"/>
              <a:gd name="T27" fmla="*/ 2147483647 h 1490"/>
              <a:gd name="T28" fmla="*/ 2147483647 w 1029"/>
              <a:gd name="T29" fmla="*/ 2147483647 h 1490"/>
              <a:gd name="T30" fmla="*/ 2147483647 w 1029"/>
              <a:gd name="T31" fmla="*/ 2147483647 h 1490"/>
              <a:gd name="T32" fmla="*/ 2147483647 w 1029"/>
              <a:gd name="T33" fmla="*/ 2147483647 h 1490"/>
              <a:gd name="T34" fmla="*/ 2147483647 w 1029"/>
              <a:gd name="T35" fmla="*/ 2147483647 h 1490"/>
              <a:gd name="T36" fmla="*/ 2147483647 w 1029"/>
              <a:gd name="T37" fmla="*/ 2147483647 h 1490"/>
              <a:gd name="T38" fmla="*/ 2147483647 w 1029"/>
              <a:gd name="T39" fmla="*/ 2147483647 h 1490"/>
              <a:gd name="T40" fmla="*/ 2147483647 w 1029"/>
              <a:gd name="T41" fmla="*/ 2147483647 h 1490"/>
              <a:gd name="T42" fmla="*/ 2147483647 w 1029"/>
              <a:gd name="T43" fmla="*/ 2147483647 h 1490"/>
              <a:gd name="T44" fmla="*/ 2147483647 w 1029"/>
              <a:gd name="T45" fmla="*/ 2147483647 h 1490"/>
              <a:gd name="T46" fmla="*/ 2147483647 w 1029"/>
              <a:gd name="T47" fmla="*/ 2147483647 h 1490"/>
              <a:gd name="T48" fmla="*/ 2147483647 w 1029"/>
              <a:gd name="T49" fmla="*/ 2147483647 h 1490"/>
              <a:gd name="T50" fmla="*/ 2147483647 w 1029"/>
              <a:gd name="T51" fmla="*/ 2147483647 h 1490"/>
              <a:gd name="T52" fmla="*/ 2147483647 w 1029"/>
              <a:gd name="T53" fmla="*/ 2147483647 h 1490"/>
              <a:gd name="T54" fmla="*/ 2147483647 w 1029"/>
              <a:gd name="T55" fmla="*/ 2147483647 h 1490"/>
              <a:gd name="T56" fmla="*/ 2147483647 w 1029"/>
              <a:gd name="T57" fmla="*/ 0 h 1490"/>
              <a:gd name="T58" fmla="*/ 2147483647 w 1029"/>
              <a:gd name="T59" fmla="*/ 2147483647 h 1490"/>
              <a:gd name="T60" fmla="*/ 2147483647 w 1029"/>
              <a:gd name="T61" fmla="*/ 2147483647 h 1490"/>
              <a:gd name="T62" fmla="*/ 2147483647 w 1029"/>
              <a:gd name="T63" fmla="*/ 2147483647 h 1490"/>
              <a:gd name="T64" fmla="*/ 2147483647 w 1029"/>
              <a:gd name="T65" fmla="*/ 2147483647 h 1490"/>
              <a:gd name="T66" fmla="*/ 2147483647 w 1029"/>
              <a:gd name="T67" fmla="*/ 2147483647 h 1490"/>
              <a:gd name="T68" fmla="*/ 2147483647 w 1029"/>
              <a:gd name="T69" fmla="*/ 2147483647 h 1490"/>
              <a:gd name="T70" fmla="*/ 2147483647 w 1029"/>
              <a:gd name="T71" fmla="*/ 2147483647 h 1490"/>
              <a:gd name="T72" fmla="*/ 2147483647 w 1029"/>
              <a:gd name="T73" fmla="*/ 2147483647 h 1490"/>
              <a:gd name="T74" fmla="*/ 2147483647 w 1029"/>
              <a:gd name="T75" fmla="*/ 2147483647 h 1490"/>
              <a:gd name="T76" fmla="*/ 2147483647 w 1029"/>
              <a:gd name="T77" fmla="*/ 2147483647 h 1490"/>
              <a:gd name="T78" fmla="*/ 2147483647 w 1029"/>
              <a:gd name="T79" fmla="*/ 2147483647 h 1490"/>
              <a:gd name="T80" fmla="*/ 2147483647 w 1029"/>
              <a:gd name="T81" fmla="*/ 2147483647 h 1490"/>
              <a:gd name="T82" fmla="*/ 2147483647 w 1029"/>
              <a:gd name="T83" fmla="*/ 2147483647 h 1490"/>
              <a:gd name="T84" fmla="*/ 2147483647 w 1029"/>
              <a:gd name="T85" fmla="*/ 2147483647 h 1490"/>
              <a:gd name="T86" fmla="*/ 2147483647 w 1029"/>
              <a:gd name="T87" fmla="*/ 2147483647 h 1490"/>
              <a:gd name="T88" fmla="*/ 2147483647 w 1029"/>
              <a:gd name="T89" fmla="*/ 2147483647 h 1490"/>
              <a:gd name="T90" fmla="*/ 2147483647 w 1029"/>
              <a:gd name="T91" fmla="*/ 2147483647 h 1490"/>
              <a:gd name="T92" fmla="*/ 2147483647 w 1029"/>
              <a:gd name="T93" fmla="*/ 2147483647 h 1490"/>
              <a:gd name="T94" fmla="*/ 2147483647 w 1029"/>
              <a:gd name="T95" fmla="*/ 2147483647 h 1490"/>
              <a:gd name="T96" fmla="*/ 2147483647 w 1029"/>
              <a:gd name="T97" fmla="*/ 2147483647 h 1490"/>
              <a:gd name="T98" fmla="*/ 2147483647 w 1029"/>
              <a:gd name="T99" fmla="*/ 2147483647 h 1490"/>
              <a:gd name="T100" fmla="*/ 2147483647 w 1029"/>
              <a:gd name="T101" fmla="*/ 2147483647 h 1490"/>
              <a:gd name="T102" fmla="*/ 2147483647 w 1029"/>
              <a:gd name="T103" fmla="*/ 2147483647 h 1490"/>
              <a:gd name="T104" fmla="*/ 2147483647 w 1029"/>
              <a:gd name="T105" fmla="*/ 2147483647 h 1490"/>
              <a:gd name="T106" fmla="*/ 2147483647 w 1029"/>
              <a:gd name="T107" fmla="*/ 2147483647 h 1490"/>
              <a:gd name="T108" fmla="*/ 2147483647 w 1029"/>
              <a:gd name="T109" fmla="*/ 2147483647 h 1490"/>
              <a:gd name="T110" fmla="*/ 2147483647 w 1029"/>
              <a:gd name="T111" fmla="*/ 2147483647 h 1490"/>
              <a:gd name="T112" fmla="*/ 2147483647 w 1029"/>
              <a:gd name="T113" fmla="*/ 2147483647 h 149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029"/>
              <a:gd name="T172" fmla="*/ 0 h 1490"/>
              <a:gd name="T173" fmla="*/ 1029 w 1029"/>
              <a:gd name="T174" fmla="*/ 1490 h 1490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029" h="1490">
                <a:moveTo>
                  <a:pt x="402" y="1490"/>
                </a:moveTo>
                <a:lnTo>
                  <a:pt x="398" y="1479"/>
                </a:lnTo>
                <a:lnTo>
                  <a:pt x="393" y="1470"/>
                </a:lnTo>
                <a:lnTo>
                  <a:pt x="388" y="1462"/>
                </a:lnTo>
                <a:lnTo>
                  <a:pt x="383" y="1455"/>
                </a:lnTo>
                <a:lnTo>
                  <a:pt x="376" y="1450"/>
                </a:lnTo>
                <a:lnTo>
                  <a:pt x="370" y="1445"/>
                </a:lnTo>
                <a:lnTo>
                  <a:pt x="363" y="1441"/>
                </a:lnTo>
                <a:lnTo>
                  <a:pt x="357" y="1438"/>
                </a:lnTo>
                <a:lnTo>
                  <a:pt x="340" y="1433"/>
                </a:lnTo>
                <a:lnTo>
                  <a:pt x="323" y="1431"/>
                </a:lnTo>
                <a:lnTo>
                  <a:pt x="303" y="1428"/>
                </a:lnTo>
                <a:lnTo>
                  <a:pt x="283" y="1424"/>
                </a:lnTo>
                <a:lnTo>
                  <a:pt x="276" y="1410"/>
                </a:lnTo>
                <a:lnTo>
                  <a:pt x="273" y="1401"/>
                </a:lnTo>
                <a:lnTo>
                  <a:pt x="272" y="1394"/>
                </a:lnTo>
                <a:lnTo>
                  <a:pt x="273" y="1384"/>
                </a:lnTo>
                <a:lnTo>
                  <a:pt x="309" y="1360"/>
                </a:lnTo>
                <a:lnTo>
                  <a:pt x="328" y="1349"/>
                </a:lnTo>
                <a:lnTo>
                  <a:pt x="342" y="1341"/>
                </a:lnTo>
                <a:lnTo>
                  <a:pt x="358" y="1336"/>
                </a:lnTo>
                <a:lnTo>
                  <a:pt x="358" y="1323"/>
                </a:lnTo>
                <a:lnTo>
                  <a:pt x="358" y="1310"/>
                </a:lnTo>
                <a:lnTo>
                  <a:pt x="341" y="1302"/>
                </a:lnTo>
                <a:lnTo>
                  <a:pt x="325" y="1293"/>
                </a:lnTo>
                <a:lnTo>
                  <a:pt x="310" y="1284"/>
                </a:lnTo>
                <a:lnTo>
                  <a:pt x="296" y="1274"/>
                </a:lnTo>
                <a:lnTo>
                  <a:pt x="280" y="1265"/>
                </a:lnTo>
                <a:lnTo>
                  <a:pt x="266" y="1256"/>
                </a:lnTo>
                <a:lnTo>
                  <a:pt x="251" y="1248"/>
                </a:lnTo>
                <a:lnTo>
                  <a:pt x="237" y="1242"/>
                </a:lnTo>
                <a:lnTo>
                  <a:pt x="228" y="1247"/>
                </a:lnTo>
                <a:lnTo>
                  <a:pt x="221" y="1251"/>
                </a:lnTo>
                <a:lnTo>
                  <a:pt x="216" y="1255"/>
                </a:lnTo>
                <a:lnTo>
                  <a:pt x="212" y="1260"/>
                </a:lnTo>
                <a:lnTo>
                  <a:pt x="206" y="1269"/>
                </a:lnTo>
                <a:lnTo>
                  <a:pt x="198" y="1285"/>
                </a:lnTo>
                <a:lnTo>
                  <a:pt x="188" y="1285"/>
                </a:lnTo>
                <a:lnTo>
                  <a:pt x="178" y="1285"/>
                </a:lnTo>
                <a:lnTo>
                  <a:pt x="180" y="1274"/>
                </a:lnTo>
                <a:lnTo>
                  <a:pt x="181" y="1265"/>
                </a:lnTo>
                <a:lnTo>
                  <a:pt x="182" y="1256"/>
                </a:lnTo>
                <a:lnTo>
                  <a:pt x="185" y="1247"/>
                </a:lnTo>
                <a:lnTo>
                  <a:pt x="189" y="1232"/>
                </a:lnTo>
                <a:lnTo>
                  <a:pt x="194" y="1216"/>
                </a:lnTo>
                <a:lnTo>
                  <a:pt x="195" y="1208"/>
                </a:lnTo>
                <a:lnTo>
                  <a:pt x="197" y="1200"/>
                </a:lnTo>
                <a:lnTo>
                  <a:pt x="198" y="1193"/>
                </a:lnTo>
                <a:lnTo>
                  <a:pt x="198" y="1185"/>
                </a:lnTo>
                <a:lnTo>
                  <a:pt x="197" y="1177"/>
                </a:lnTo>
                <a:lnTo>
                  <a:pt x="194" y="1168"/>
                </a:lnTo>
                <a:lnTo>
                  <a:pt x="190" y="1157"/>
                </a:lnTo>
                <a:lnTo>
                  <a:pt x="185" y="1148"/>
                </a:lnTo>
                <a:lnTo>
                  <a:pt x="154" y="1151"/>
                </a:lnTo>
                <a:lnTo>
                  <a:pt x="130" y="1154"/>
                </a:lnTo>
                <a:lnTo>
                  <a:pt x="106" y="1160"/>
                </a:lnTo>
                <a:lnTo>
                  <a:pt x="65" y="1170"/>
                </a:lnTo>
                <a:lnTo>
                  <a:pt x="39" y="1146"/>
                </a:lnTo>
                <a:lnTo>
                  <a:pt x="20" y="1126"/>
                </a:lnTo>
                <a:lnTo>
                  <a:pt x="13" y="1118"/>
                </a:lnTo>
                <a:lnTo>
                  <a:pt x="7" y="1111"/>
                </a:lnTo>
                <a:lnTo>
                  <a:pt x="3" y="1103"/>
                </a:lnTo>
                <a:lnTo>
                  <a:pt x="0" y="1096"/>
                </a:lnTo>
                <a:lnTo>
                  <a:pt x="0" y="1088"/>
                </a:lnTo>
                <a:lnTo>
                  <a:pt x="0" y="1082"/>
                </a:lnTo>
                <a:lnTo>
                  <a:pt x="3" y="1074"/>
                </a:lnTo>
                <a:lnTo>
                  <a:pt x="8" y="1065"/>
                </a:lnTo>
                <a:lnTo>
                  <a:pt x="21" y="1044"/>
                </a:lnTo>
                <a:lnTo>
                  <a:pt x="42" y="1017"/>
                </a:lnTo>
                <a:lnTo>
                  <a:pt x="47" y="970"/>
                </a:lnTo>
                <a:lnTo>
                  <a:pt x="54" y="923"/>
                </a:lnTo>
                <a:lnTo>
                  <a:pt x="56" y="900"/>
                </a:lnTo>
                <a:lnTo>
                  <a:pt x="57" y="876"/>
                </a:lnTo>
                <a:lnTo>
                  <a:pt x="59" y="852"/>
                </a:lnTo>
                <a:lnTo>
                  <a:pt x="60" y="828"/>
                </a:lnTo>
                <a:lnTo>
                  <a:pt x="46" y="815"/>
                </a:lnTo>
                <a:lnTo>
                  <a:pt x="38" y="807"/>
                </a:lnTo>
                <a:lnTo>
                  <a:pt x="31" y="805"/>
                </a:lnTo>
                <a:lnTo>
                  <a:pt x="25" y="804"/>
                </a:lnTo>
                <a:lnTo>
                  <a:pt x="28" y="789"/>
                </a:lnTo>
                <a:lnTo>
                  <a:pt x="30" y="775"/>
                </a:lnTo>
                <a:lnTo>
                  <a:pt x="34" y="761"/>
                </a:lnTo>
                <a:lnTo>
                  <a:pt x="37" y="746"/>
                </a:lnTo>
                <a:lnTo>
                  <a:pt x="52" y="739"/>
                </a:lnTo>
                <a:lnTo>
                  <a:pt x="69" y="732"/>
                </a:lnTo>
                <a:lnTo>
                  <a:pt x="69" y="715"/>
                </a:lnTo>
                <a:lnTo>
                  <a:pt x="69" y="699"/>
                </a:lnTo>
                <a:lnTo>
                  <a:pt x="85" y="688"/>
                </a:lnTo>
                <a:lnTo>
                  <a:pt x="102" y="676"/>
                </a:lnTo>
                <a:lnTo>
                  <a:pt x="99" y="663"/>
                </a:lnTo>
                <a:lnTo>
                  <a:pt x="98" y="650"/>
                </a:lnTo>
                <a:lnTo>
                  <a:pt x="95" y="637"/>
                </a:lnTo>
                <a:lnTo>
                  <a:pt x="94" y="624"/>
                </a:lnTo>
                <a:lnTo>
                  <a:pt x="108" y="619"/>
                </a:lnTo>
                <a:lnTo>
                  <a:pt x="121" y="612"/>
                </a:lnTo>
                <a:lnTo>
                  <a:pt x="134" y="605"/>
                </a:lnTo>
                <a:lnTo>
                  <a:pt x="147" y="595"/>
                </a:lnTo>
                <a:lnTo>
                  <a:pt x="159" y="585"/>
                </a:lnTo>
                <a:lnTo>
                  <a:pt x="171" y="575"/>
                </a:lnTo>
                <a:lnTo>
                  <a:pt x="181" y="564"/>
                </a:lnTo>
                <a:lnTo>
                  <a:pt x="190" y="552"/>
                </a:lnTo>
                <a:lnTo>
                  <a:pt x="201" y="539"/>
                </a:lnTo>
                <a:lnTo>
                  <a:pt x="208" y="528"/>
                </a:lnTo>
                <a:lnTo>
                  <a:pt x="216" y="515"/>
                </a:lnTo>
                <a:lnTo>
                  <a:pt x="223" y="500"/>
                </a:lnTo>
                <a:lnTo>
                  <a:pt x="229" y="486"/>
                </a:lnTo>
                <a:lnTo>
                  <a:pt x="234" y="473"/>
                </a:lnTo>
                <a:lnTo>
                  <a:pt x="240" y="459"/>
                </a:lnTo>
                <a:lnTo>
                  <a:pt x="242" y="445"/>
                </a:lnTo>
                <a:lnTo>
                  <a:pt x="264" y="446"/>
                </a:lnTo>
                <a:lnTo>
                  <a:pt x="286" y="447"/>
                </a:lnTo>
                <a:lnTo>
                  <a:pt x="310" y="448"/>
                </a:lnTo>
                <a:lnTo>
                  <a:pt x="333" y="451"/>
                </a:lnTo>
                <a:lnTo>
                  <a:pt x="333" y="429"/>
                </a:lnTo>
                <a:lnTo>
                  <a:pt x="333" y="405"/>
                </a:lnTo>
                <a:lnTo>
                  <a:pt x="332" y="381"/>
                </a:lnTo>
                <a:lnTo>
                  <a:pt x="328" y="356"/>
                </a:lnTo>
                <a:lnTo>
                  <a:pt x="324" y="333"/>
                </a:lnTo>
                <a:lnTo>
                  <a:pt x="316" y="309"/>
                </a:lnTo>
                <a:lnTo>
                  <a:pt x="311" y="299"/>
                </a:lnTo>
                <a:lnTo>
                  <a:pt x="306" y="288"/>
                </a:lnTo>
                <a:lnTo>
                  <a:pt x="301" y="278"/>
                </a:lnTo>
                <a:lnTo>
                  <a:pt x="294" y="269"/>
                </a:lnTo>
                <a:lnTo>
                  <a:pt x="275" y="266"/>
                </a:lnTo>
                <a:lnTo>
                  <a:pt x="255" y="265"/>
                </a:lnTo>
                <a:lnTo>
                  <a:pt x="255" y="252"/>
                </a:lnTo>
                <a:lnTo>
                  <a:pt x="255" y="240"/>
                </a:lnTo>
                <a:lnTo>
                  <a:pt x="266" y="234"/>
                </a:lnTo>
                <a:lnTo>
                  <a:pt x="277" y="227"/>
                </a:lnTo>
                <a:lnTo>
                  <a:pt x="289" y="221"/>
                </a:lnTo>
                <a:lnTo>
                  <a:pt x="299" y="216"/>
                </a:lnTo>
                <a:lnTo>
                  <a:pt x="301" y="158"/>
                </a:lnTo>
                <a:lnTo>
                  <a:pt x="301" y="124"/>
                </a:lnTo>
                <a:lnTo>
                  <a:pt x="299" y="104"/>
                </a:lnTo>
                <a:lnTo>
                  <a:pt x="297" y="83"/>
                </a:lnTo>
                <a:lnTo>
                  <a:pt x="306" y="71"/>
                </a:lnTo>
                <a:lnTo>
                  <a:pt x="316" y="61"/>
                </a:lnTo>
                <a:lnTo>
                  <a:pt x="329" y="50"/>
                </a:lnTo>
                <a:lnTo>
                  <a:pt x="344" y="41"/>
                </a:lnTo>
                <a:lnTo>
                  <a:pt x="357" y="32"/>
                </a:lnTo>
                <a:lnTo>
                  <a:pt x="371" y="23"/>
                </a:lnTo>
                <a:lnTo>
                  <a:pt x="383" y="11"/>
                </a:lnTo>
                <a:lnTo>
                  <a:pt x="394" y="0"/>
                </a:lnTo>
                <a:lnTo>
                  <a:pt x="406" y="0"/>
                </a:lnTo>
                <a:lnTo>
                  <a:pt x="418" y="0"/>
                </a:lnTo>
                <a:lnTo>
                  <a:pt x="430" y="1"/>
                </a:lnTo>
                <a:lnTo>
                  <a:pt x="440" y="1"/>
                </a:lnTo>
                <a:lnTo>
                  <a:pt x="446" y="28"/>
                </a:lnTo>
                <a:lnTo>
                  <a:pt x="450" y="58"/>
                </a:lnTo>
                <a:lnTo>
                  <a:pt x="452" y="71"/>
                </a:lnTo>
                <a:lnTo>
                  <a:pt x="453" y="83"/>
                </a:lnTo>
                <a:lnTo>
                  <a:pt x="456" y="93"/>
                </a:lnTo>
                <a:lnTo>
                  <a:pt x="458" y="100"/>
                </a:lnTo>
                <a:lnTo>
                  <a:pt x="491" y="117"/>
                </a:lnTo>
                <a:lnTo>
                  <a:pt x="521" y="136"/>
                </a:lnTo>
                <a:lnTo>
                  <a:pt x="551" y="157"/>
                </a:lnTo>
                <a:lnTo>
                  <a:pt x="579" y="180"/>
                </a:lnTo>
                <a:lnTo>
                  <a:pt x="618" y="182"/>
                </a:lnTo>
                <a:lnTo>
                  <a:pt x="656" y="184"/>
                </a:lnTo>
                <a:lnTo>
                  <a:pt x="694" y="188"/>
                </a:lnTo>
                <a:lnTo>
                  <a:pt x="730" y="195"/>
                </a:lnTo>
                <a:lnTo>
                  <a:pt x="765" y="201"/>
                </a:lnTo>
                <a:lnTo>
                  <a:pt x="802" y="209"/>
                </a:lnTo>
                <a:lnTo>
                  <a:pt x="839" y="218"/>
                </a:lnTo>
                <a:lnTo>
                  <a:pt x="877" y="229"/>
                </a:lnTo>
                <a:lnTo>
                  <a:pt x="942" y="197"/>
                </a:lnTo>
                <a:lnTo>
                  <a:pt x="976" y="179"/>
                </a:lnTo>
                <a:lnTo>
                  <a:pt x="986" y="174"/>
                </a:lnTo>
                <a:lnTo>
                  <a:pt x="993" y="170"/>
                </a:lnTo>
                <a:lnTo>
                  <a:pt x="997" y="166"/>
                </a:lnTo>
                <a:lnTo>
                  <a:pt x="1002" y="161"/>
                </a:lnTo>
                <a:lnTo>
                  <a:pt x="1011" y="164"/>
                </a:lnTo>
                <a:lnTo>
                  <a:pt x="1019" y="167"/>
                </a:lnTo>
                <a:lnTo>
                  <a:pt x="1019" y="177"/>
                </a:lnTo>
                <a:lnTo>
                  <a:pt x="1019" y="188"/>
                </a:lnTo>
                <a:lnTo>
                  <a:pt x="1014" y="193"/>
                </a:lnTo>
                <a:lnTo>
                  <a:pt x="1009" y="199"/>
                </a:lnTo>
                <a:lnTo>
                  <a:pt x="1003" y="205"/>
                </a:lnTo>
                <a:lnTo>
                  <a:pt x="999" y="212"/>
                </a:lnTo>
                <a:lnTo>
                  <a:pt x="990" y="227"/>
                </a:lnTo>
                <a:lnTo>
                  <a:pt x="984" y="245"/>
                </a:lnTo>
                <a:lnTo>
                  <a:pt x="979" y="262"/>
                </a:lnTo>
                <a:lnTo>
                  <a:pt x="975" y="281"/>
                </a:lnTo>
                <a:lnTo>
                  <a:pt x="972" y="298"/>
                </a:lnTo>
                <a:lnTo>
                  <a:pt x="971" y="313"/>
                </a:lnTo>
                <a:lnTo>
                  <a:pt x="982" y="330"/>
                </a:lnTo>
                <a:lnTo>
                  <a:pt x="990" y="343"/>
                </a:lnTo>
                <a:lnTo>
                  <a:pt x="993" y="355"/>
                </a:lnTo>
                <a:lnTo>
                  <a:pt x="994" y="364"/>
                </a:lnTo>
                <a:lnTo>
                  <a:pt x="993" y="386"/>
                </a:lnTo>
                <a:lnTo>
                  <a:pt x="990" y="421"/>
                </a:lnTo>
                <a:lnTo>
                  <a:pt x="997" y="428"/>
                </a:lnTo>
                <a:lnTo>
                  <a:pt x="1001" y="435"/>
                </a:lnTo>
                <a:lnTo>
                  <a:pt x="1005" y="443"/>
                </a:lnTo>
                <a:lnTo>
                  <a:pt x="1006" y="451"/>
                </a:lnTo>
                <a:lnTo>
                  <a:pt x="1007" y="469"/>
                </a:lnTo>
                <a:lnTo>
                  <a:pt x="1007" y="487"/>
                </a:lnTo>
                <a:lnTo>
                  <a:pt x="1009" y="506"/>
                </a:lnTo>
                <a:lnTo>
                  <a:pt x="1010" y="525"/>
                </a:lnTo>
                <a:lnTo>
                  <a:pt x="1012" y="534"/>
                </a:lnTo>
                <a:lnTo>
                  <a:pt x="1016" y="545"/>
                </a:lnTo>
                <a:lnTo>
                  <a:pt x="1022" y="554"/>
                </a:lnTo>
                <a:lnTo>
                  <a:pt x="1029" y="563"/>
                </a:lnTo>
                <a:lnTo>
                  <a:pt x="1028" y="576"/>
                </a:lnTo>
                <a:lnTo>
                  <a:pt x="1025" y="586"/>
                </a:lnTo>
                <a:lnTo>
                  <a:pt x="1022" y="597"/>
                </a:lnTo>
                <a:lnTo>
                  <a:pt x="1016" y="605"/>
                </a:lnTo>
                <a:lnTo>
                  <a:pt x="1006" y="623"/>
                </a:lnTo>
                <a:lnTo>
                  <a:pt x="994" y="644"/>
                </a:lnTo>
                <a:lnTo>
                  <a:pt x="994" y="668"/>
                </a:lnTo>
                <a:lnTo>
                  <a:pt x="992" y="688"/>
                </a:lnTo>
                <a:lnTo>
                  <a:pt x="989" y="697"/>
                </a:lnTo>
                <a:lnTo>
                  <a:pt x="986" y="705"/>
                </a:lnTo>
                <a:lnTo>
                  <a:pt x="984" y="711"/>
                </a:lnTo>
                <a:lnTo>
                  <a:pt x="980" y="718"/>
                </a:lnTo>
                <a:lnTo>
                  <a:pt x="971" y="729"/>
                </a:lnTo>
                <a:lnTo>
                  <a:pt x="959" y="742"/>
                </a:lnTo>
                <a:lnTo>
                  <a:pt x="945" y="754"/>
                </a:lnTo>
                <a:lnTo>
                  <a:pt x="927" y="768"/>
                </a:lnTo>
                <a:lnTo>
                  <a:pt x="928" y="785"/>
                </a:lnTo>
                <a:lnTo>
                  <a:pt x="932" y="800"/>
                </a:lnTo>
                <a:lnTo>
                  <a:pt x="936" y="813"/>
                </a:lnTo>
                <a:lnTo>
                  <a:pt x="941" y="826"/>
                </a:lnTo>
                <a:lnTo>
                  <a:pt x="946" y="839"/>
                </a:lnTo>
                <a:lnTo>
                  <a:pt x="953" y="852"/>
                </a:lnTo>
                <a:lnTo>
                  <a:pt x="958" y="866"/>
                </a:lnTo>
                <a:lnTo>
                  <a:pt x="962" y="880"/>
                </a:lnTo>
                <a:lnTo>
                  <a:pt x="955" y="880"/>
                </a:lnTo>
                <a:lnTo>
                  <a:pt x="947" y="879"/>
                </a:lnTo>
                <a:lnTo>
                  <a:pt x="938" y="876"/>
                </a:lnTo>
                <a:lnTo>
                  <a:pt x="927" y="873"/>
                </a:lnTo>
                <a:lnTo>
                  <a:pt x="915" y="869"/>
                </a:lnTo>
                <a:lnTo>
                  <a:pt x="902" y="866"/>
                </a:lnTo>
                <a:lnTo>
                  <a:pt x="890" y="863"/>
                </a:lnTo>
                <a:lnTo>
                  <a:pt x="877" y="863"/>
                </a:lnTo>
                <a:lnTo>
                  <a:pt x="859" y="870"/>
                </a:lnTo>
                <a:lnTo>
                  <a:pt x="839" y="878"/>
                </a:lnTo>
                <a:lnTo>
                  <a:pt x="821" y="884"/>
                </a:lnTo>
                <a:lnTo>
                  <a:pt x="802" y="892"/>
                </a:lnTo>
                <a:lnTo>
                  <a:pt x="798" y="902"/>
                </a:lnTo>
                <a:lnTo>
                  <a:pt x="794" y="913"/>
                </a:lnTo>
                <a:lnTo>
                  <a:pt x="777" y="921"/>
                </a:lnTo>
                <a:lnTo>
                  <a:pt x="763" y="930"/>
                </a:lnTo>
                <a:lnTo>
                  <a:pt x="757" y="935"/>
                </a:lnTo>
                <a:lnTo>
                  <a:pt x="752" y="939"/>
                </a:lnTo>
                <a:lnTo>
                  <a:pt x="748" y="945"/>
                </a:lnTo>
                <a:lnTo>
                  <a:pt x="746" y="951"/>
                </a:lnTo>
                <a:lnTo>
                  <a:pt x="741" y="964"/>
                </a:lnTo>
                <a:lnTo>
                  <a:pt x="738" y="978"/>
                </a:lnTo>
                <a:lnTo>
                  <a:pt x="735" y="995"/>
                </a:lnTo>
                <a:lnTo>
                  <a:pt x="733" y="1016"/>
                </a:lnTo>
                <a:lnTo>
                  <a:pt x="726" y="1027"/>
                </a:lnTo>
                <a:lnTo>
                  <a:pt x="721" y="1040"/>
                </a:lnTo>
                <a:lnTo>
                  <a:pt x="717" y="1055"/>
                </a:lnTo>
                <a:lnTo>
                  <a:pt x="713" y="1068"/>
                </a:lnTo>
                <a:lnTo>
                  <a:pt x="712" y="1082"/>
                </a:lnTo>
                <a:lnTo>
                  <a:pt x="712" y="1095"/>
                </a:lnTo>
                <a:lnTo>
                  <a:pt x="712" y="1109"/>
                </a:lnTo>
                <a:lnTo>
                  <a:pt x="713" y="1124"/>
                </a:lnTo>
                <a:lnTo>
                  <a:pt x="718" y="1151"/>
                </a:lnTo>
                <a:lnTo>
                  <a:pt x="725" y="1178"/>
                </a:lnTo>
                <a:lnTo>
                  <a:pt x="734" y="1206"/>
                </a:lnTo>
                <a:lnTo>
                  <a:pt x="744" y="1233"/>
                </a:lnTo>
                <a:lnTo>
                  <a:pt x="744" y="1242"/>
                </a:lnTo>
                <a:lnTo>
                  <a:pt x="742" y="1251"/>
                </a:lnTo>
                <a:lnTo>
                  <a:pt x="741" y="1260"/>
                </a:lnTo>
                <a:lnTo>
                  <a:pt x="737" y="1271"/>
                </a:lnTo>
                <a:lnTo>
                  <a:pt x="729" y="1293"/>
                </a:lnTo>
                <a:lnTo>
                  <a:pt x="718" y="1314"/>
                </a:lnTo>
                <a:lnTo>
                  <a:pt x="698" y="1355"/>
                </a:lnTo>
                <a:lnTo>
                  <a:pt x="679" y="1392"/>
                </a:lnTo>
                <a:lnTo>
                  <a:pt x="668" y="1386"/>
                </a:lnTo>
                <a:lnTo>
                  <a:pt x="656" y="1382"/>
                </a:lnTo>
                <a:lnTo>
                  <a:pt x="640" y="1392"/>
                </a:lnTo>
                <a:lnTo>
                  <a:pt x="630" y="1401"/>
                </a:lnTo>
                <a:lnTo>
                  <a:pt x="617" y="1415"/>
                </a:lnTo>
                <a:lnTo>
                  <a:pt x="596" y="1438"/>
                </a:lnTo>
                <a:lnTo>
                  <a:pt x="557" y="1440"/>
                </a:lnTo>
                <a:lnTo>
                  <a:pt x="522" y="1440"/>
                </a:lnTo>
                <a:lnTo>
                  <a:pt x="504" y="1441"/>
                </a:lnTo>
                <a:lnTo>
                  <a:pt x="487" y="1442"/>
                </a:lnTo>
                <a:lnTo>
                  <a:pt x="467" y="1446"/>
                </a:lnTo>
                <a:lnTo>
                  <a:pt x="448" y="1451"/>
                </a:lnTo>
                <a:lnTo>
                  <a:pt x="441" y="1470"/>
                </a:lnTo>
                <a:lnTo>
                  <a:pt x="435" y="1490"/>
                </a:lnTo>
                <a:lnTo>
                  <a:pt x="418" y="1490"/>
                </a:lnTo>
                <a:lnTo>
                  <a:pt x="402" y="1490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84" name="Freeform 49"/>
          <p:cNvSpPr>
            <a:spLocks/>
          </p:cNvSpPr>
          <p:nvPr/>
        </p:nvSpPr>
        <p:spPr bwMode="auto">
          <a:xfrm>
            <a:off x="950913" y="3740150"/>
            <a:ext cx="258762" cy="355600"/>
          </a:xfrm>
          <a:custGeom>
            <a:avLst/>
            <a:gdLst>
              <a:gd name="T0" fmla="*/ 2147483647 w 650"/>
              <a:gd name="T1" fmla="*/ 2147483647 h 896"/>
              <a:gd name="T2" fmla="*/ 2147483647 w 650"/>
              <a:gd name="T3" fmla="*/ 2147483647 h 896"/>
              <a:gd name="T4" fmla="*/ 2147483647 w 650"/>
              <a:gd name="T5" fmla="*/ 2147483647 h 896"/>
              <a:gd name="T6" fmla="*/ 2147483647 w 650"/>
              <a:gd name="T7" fmla="*/ 2147483647 h 896"/>
              <a:gd name="T8" fmla="*/ 2147483647 w 650"/>
              <a:gd name="T9" fmla="*/ 2147483647 h 896"/>
              <a:gd name="T10" fmla="*/ 2147483647 w 650"/>
              <a:gd name="T11" fmla="*/ 2147483647 h 896"/>
              <a:gd name="T12" fmla="*/ 2147483647 w 650"/>
              <a:gd name="T13" fmla="*/ 2147483647 h 896"/>
              <a:gd name="T14" fmla="*/ 2147483647 w 650"/>
              <a:gd name="T15" fmla="*/ 2147483647 h 896"/>
              <a:gd name="T16" fmla="*/ 2147483647 w 650"/>
              <a:gd name="T17" fmla="*/ 2147483647 h 896"/>
              <a:gd name="T18" fmla="*/ 2147483647 w 650"/>
              <a:gd name="T19" fmla="*/ 2147483647 h 896"/>
              <a:gd name="T20" fmla="*/ 2147483647 w 650"/>
              <a:gd name="T21" fmla="*/ 2147483647 h 896"/>
              <a:gd name="T22" fmla="*/ 2147483647 w 650"/>
              <a:gd name="T23" fmla="*/ 2147483647 h 896"/>
              <a:gd name="T24" fmla="*/ 2147483647 w 650"/>
              <a:gd name="T25" fmla="*/ 2147483647 h 896"/>
              <a:gd name="T26" fmla="*/ 2147483647 w 650"/>
              <a:gd name="T27" fmla="*/ 2147483647 h 896"/>
              <a:gd name="T28" fmla="*/ 2147483647 w 650"/>
              <a:gd name="T29" fmla="*/ 2147483647 h 896"/>
              <a:gd name="T30" fmla="*/ 2147483647 w 650"/>
              <a:gd name="T31" fmla="*/ 2147483647 h 896"/>
              <a:gd name="T32" fmla="*/ 2147483647 w 650"/>
              <a:gd name="T33" fmla="*/ 2147483647 h 896"/>
              <a:gd name="T34" fmla="*/ 2147483647 w 650"/>
              <a:gd name="T35" fmla="*/ 2147483647 h 896"/>
              <a:gd name="T36" fmla="*/ 2147483647 w 650"/>
              <a:gd name="T37" fmla="*/ 2147483647 h 896"/>
              <a:gd name="T38" fmla="*/ 2147483647 w 650"/>
              <a:gd name="T39" fmla="*/ 2147483647 h 896"/>
              <a:gd name="T40" fmla="*/ 2147483647 w 650"/>
              <a:gd name="T41" fmla="*/ 2147483647 h 896"/>
              <a:gd name="T42" fmla="*/ 2147483647 w 650"/>
              <a:gd name="T43" fmla="*/ 2147483647 h 896"/>
              <a:gd name="T44" fmla="*/ 2147483647 w 650"/>
              <a:gd name="T45" fmla="*/ 2147483647 h 896"/>
              <a:gd name="T46" fmla="*/ 2147483647 w 650"/>
              <a:gd name="T47" fmla="*/ 2147483647 h 896"/>
              <a:gd name="T48" fmla="*/ 2147483647 w 650"/>
              <a:gd name="T49" fmla="*/ 2147483647 h 896"/>
              <a:gd name="T50" fmla="*/ 2147483647 w 650"/>
              <a:gd name="T51" fmla="*/ 2147483647 h 896"/>
              <a:gd name="T52" fmla="*/ 2147483647 w 650"/>
              <a:gd name="T53" fmla="*/ 2147483647 h 896"/>
              <a:gd name="T54" fmla="*/ 2147483647 w 650"/>
              <a:gd name="T55" fmla="*/ 2147483647 h 896"/>
              <a:gd name="T56" fmla="*/ 2147483647 w 650"/>
              <a:gd name="T57" fmla="*/ 2147483647 h 896"/>
              <a:gd name="T58" fmla="*/ 2147483647 w 650"/>
              <a:gd name="T59" fmla="*/ 2147483647 h 896"/>
              <a:gd name="T60" fmla="*/ 2147483647 w 650"/>
              <a:gd name="T61" fmla="*/ 2147483647 h 896"/>
              <a:gd name="T62" fmla="*/ 2147483647 w 650"/>
              <a:gd name="T63" fmla="*/ 2147483647 h 896"/>
              <a:gd name="T64" fmla="*/ 2147483647 w 650"/>
              <a:gd name="T65" fmla="*/ 2147483647 h 896"/>
              <a:gd name="T66" fmla="*/ 2147483647 w 650"/>
              <a:gd name="T67" fmla="*/ 2147483647 h 896"/>
              <a:gd name="T68" fmla="*/ 2147483647 w 650"/>
              <a:gd name="T69" fmla="*/ 2147483647 h 896"/>
              <a:gd name="T70" fmla="*/ 2147483647 w 650"/>
              <a:gd name="T71" fmla="*/ 2147483647 h 896"/>
              <a:gd name="T72" fmla="*/ 2147483647 w 650"/>
              <a:gd name="T73" fmla="*/ 2147483647 h 896"/>
              <a:gd name="T74" fmla="*/ 2147483647 w 650"/>
              <a:gd name="T75" fmla="*/ 2147483647 h 896"/>
              <a:gd name="T76" fmla="*/ 2147483647 w 650"/>
              <a:gd name="T77" fmla="*/ 2147483647 h 896"/>
              <a:gd name="T78" fmla="*/ 2147483647 w 650"/>
              <a:gd name="T79" fmla="*/ 2147483647 h 896"/>
              <a:gd name="T80" fmla="*/ 2147483647 w 650"/>
              <a:gd name="T81" fmla="*/ 2147483647 h 896"/>
              <a:gd name="T82" fmla="*/ 2147483647 w 650"/>
              <a:gd name="T83" fmla="*/ 2147483647 h 896"/>
              <a:gd name="T84" fmla="*/ 2147483647 w 650"/>
              <a:gd name="T85" fmla="*/ 2147483647 h 896"/>
              <a:gd name="T86" fmla="*/ 2147483647 w 650"/>
              <a:gd name="T87" fmla="*/ 2147483647 h 896"/>
              <a:gd name="T88" fmla="*/ 2147483647 w 650"/>
              <a:gd name="T89" fmla="*/ 2147483647 h 896"/>
              <a:gd name="T90" fmla="*/ 2147483647 w 650"/>
              <a:gd name="T91" fmla="*/ 2147483647 h 896"/>
              <a:gd name="T92" fmla="*/ 2147483647 w 650"/>
              <a:gd name="T93" fmla="*/ 2147483647 h 896"/>
              <a:gd name="T94" fmla="*/ 2147483647 w 650"/>
              <a:gd name="T95" fmla="*/ 2147483647 h 896"/>
              <a:gd name="T96" fmla="*/ 2147483647 w 650"/>
              <a:gd name="T97" fmla="*/ 2147483647 h 896"/>
              <a:gd name="T98" fmla="*/ 2147483647 w 650"/>
              <a:gd name="T99" fmla="*/ 2147483647 h 896"/>
              <a:gd name="T100" fmla="*/ 2147483647 w 650"/>
              <a:gd name="T101" fmla="*/ 2147483647 h 896"/>
              <a:gd name="T102" fmla="*/ 2147483647 w 650"/>
              <a:gd name="T103" fmla="*/ 2147483647 h 896"/>
              <a:gd name="T104" fmla="*/ 2147483647 w 650"/>
              <a:gd name="T105" fmla="*/ 2147483647 h 896"/>
              <a:gd name="T106" fmla="*/ 2147483647 w 650"/>
              <a:gd name="T107" fmla="*/ 2147483647 h 896"/>
              <a:gd name="T108" fmla="*/ 2147483647 w 650"/>
              <a:gd name="T109" fmla="*/ 2147483647 h 896"/>
              <a:gd name="T110" fmla="*/ 2147483647 w 650"/>
              <a:gd name="T111" fmla="*/ 2147483647 h 896"/>
              <a:gd name="T112" fmla="*/ 2147483647 w 650"/>
              <a:gd name="T113" fmla="*/ 2147483647 h 896"/>
              <a:gd name="T114" fmla="*/ 2147483647 w 650"/>
              <a:gd name="T115" fmla="*/ 2147483647 h 896"/>
              <a:gd name="T116" fmla="*/ 2147483647 w 650"/>
              <a:gd name="T117" fmla="*/ 2147483647 h 896"/>
              <a:gd name="T118" fmla="*/ 2147483647 w 650"/>
              <a:gd name="T119" fmla="*/ 2147483647 h 896"/>
              <a:gd name="T120" fmla="*/ 2147483647 w 650"/>
              <a:gd name="T121" fmla="*/ 2147483647 h 896"/>
              <a:gd name="T122" fmla="*/ 2147483647 w 650"/>
              <a:gd name="T123" fmla="*/ 2147483647 h 896"/>
              <a:gd name="T124" fmla="*/ 2147483647 w 650"/>
              <a:gd name="T125" fmla="*/ 2147483647 h 89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650"/>
              <a:gd name="T190" fmla="*/ 0 h 896"/>
              <a:gd name="T191" fmla="*/ 650 w 650"/>
              <a:gd name="T192" fmla="*/ 896 h 89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650" h="896">
                <a:moveTo>
                  <a:pt x="432" y="896"/>
                </a:moveTo>
                <a:lnTo>
                  <a:pt x="432" y="890"/>
                </a:lnTo>
                <a:lnTo>
                  <a:pt x="432" y="884"/>
                </a:lnTo>
                <a:lnTo>
                  <a:pt x="420" y="879"/>
                </a:lnTo>
                <a:lnTo>
                  <a:pt x="407" y="877"/>
                </a:lnTo>
                <a:lnTo>
                  <a:pt x="395" y="874"/>
                </a:lnTo>
                <a:lnTo>
                  <a:pt x="382" y="874"/>
                </a:lnTo>
                <a:lnTo>
                  <a:pt x="356" y="874"/>
                </a:lnTo>
                <a:lnTo>
                  <a:pt x="330" y="877"/>
                </a:lnTo>
                <a:lnTo>
                  <a:pt x="317" y="854"/>
                </a:lnTo>
                <a:lnTo>
                  <a:pt x="303" y="835"/>
                </a:lnTo>
                <a:lnTo>
                  <a:pt x="295" y="826"/>
                </a:lnTo>
                <a:lnTo>
                  <a:pt x="286" y="817"/>
                </a:lnTo>
                <a:lnTo>
                  <a:pt x="277" y="809"/>
                </a:lnTo>
                <a:lnTo>
                  <a:pt x="267" y="801"/>
                </a:lnTo>
                <a:lnTo>
                  <a:pt x="270" y="795"/>
                </a:lnTo>
                <a:lnTo>
                  <a:pt x="273" y="788"/>
                </a:lnTo>
                <a:lnTo>
                  <a:pt x="274" y="782"/>
                </a:lnTo>
                <a:lnTo>
                  <a:pt x="276" y="775"/>
                </a:lnTo>
                <a:lnTo>
                  <a:pt x="276" y="770"/>
                </a:lnTo>
                <a:lnTo>
                  <a:pt x="274" y="765"/>
                </a:lnTo>
                <a:lnTo>
                  <a:pt x="273" y="760"/>
                </a:lnTo>
                <a:lnTo>
                  <a:pt x="272" y="754"/>
                </a:lnTo>
                <a:lnTo>
                  <a:pt x="265" y="747"/>
                </a:lnTo>
                <a:lnTo>
                  <a:pt x="257" y="739"/>
                </a:lnTo>
                <a:lnTo>
                  <a:pt x="248" y="732"/>
                </a:lnTo>
                <a:lnTo>
                  <a:pt x="237" y="726"/>
                </a:lnTo>
                <a:lnTo>
                  <a:pt x="225" y="720"/>
                </a:lnTo>
                <a:lnTo>
                  <a:pt x="212" y="717"/>
                </a:lnTo>
                <a:lnTo>
                  <a:pt x="199" y="714"/>
                </a:lnTo>
                <a:lnTo>
                  <a:pt x="186" y="711"/>
                </a:lnTo>
                <a:lnTo>
                  <a:pt x="163" y="707"/>
                </a:lnTo>
                <a:lnTo>
                  <a:pt x="143" y="707"/>
                </a:lnTo>
                <a:lnTo>
                  <a:pt x="126" y="693"/>
                </a:lnTo>
                <a:lnTo>
                  <a:pt x="117" y="684"/>
                </a:lnTo>
                <a:lnTo>
                  <a:pt x="109" y="675"/>
                </a:lnTo>
                <a:lnTo>
                  <a:pt x="99" y="663"/>
                </a:lnTo>
                <a:lnTo>
                  <a:pt x="87" y="659"/>
                </a:lnTo>
                <a:lnTo>
                  <a:pt x="77" y="655"/>
                </a:lnTo>
                <a:lnTo>
                  <a:pt x="68" y="649"/>
                </a:lnTo>
                <a:lnTo>
                  <a:pt x="58" y="642"/>
                </a:lnTo>
                <a:lnTo>
                  <a:pt x="49" y="636"/>
                </a:lnTo>
                <a:lnTo>
                  <a:pt x="43" y="628"/>
                </a:lnTo>
                <a:lnTo>
                  <a:pt x="36" y="619"/>
                </a:lnTo>
                <a:lnTo>
                  <a:pt x="30" y="610"/>
                </a:lnTo>
                <a:lnTo>
                  <a:pt x="25" y="601"/>
                </a:lnTo>
                <a:lnTo>
                  <a:pt x="21" y="590"/>
                </a:lnTo>
                <a:lnTo>
                  <a:pt x="17" y="580"/>
                </a:lnTo>
                <a:lnTo>
                  <a:pt x="13" y="568"/>
                </a:lnTo>
                <a:lnTo>
                  <a:pt x="8" y="546"/>
                </a:lnTo>
                <a:lnTo>
                  <a:pt x="4" y="524"/>
                </a:lnTo>
                <a:lnTo>
                  <a:pt x="34" y="527"/>
                </a:lnTo>
                <a:lnTo>
                  <a:pt x="60" y="527"/>
                </a:lnTo>
                <a:lnTo>
                  <a:pt x="74" y="527"/>
                </a:lnTo>
                <a:lnTo>
                  <a:pt x="87" y="525"/>
                </a:lnTo>
                <a:lnTo>
                  <a:pt x="103" y="523"/>
                </a:lnTo>
                <a:lnTo>
                  <a:pt x="118" y="519"/>
                </a:lnTo>
                <a:lnTo>
                  <a:pt x="118" y="501"/>
                </a:lnTo>
                <a:lnTo>
                  <a:pt x="116" y="488"/>
                </a:lnTo>
                <a:lnTo>
                  <a:pt x="113" y="484"/>
                </a:lnTo>
                <a:lnTo>
                  <a:pt x="110" y="479"/>
                </a:lnTo>
                <a:lnTo>
                  <a:pt x="108" y="476"/>
                </a:lnTo>
                <a:lnTo>
                  <a:pt x="104" y="473"/>
                </a:lnTo>
                <a:lnTo>
                  <a:pt x="96" y="469"/>
                </a:lnTo>
                <a:lnTo>
                  <a:pt x="84" y="467"/>
                </a:lnTo>
                <a:lnTo>
                  <a:pt x="70" y="464"/>
                </a:lnTo>
                <a:lnTo>
                  <a:pt x="53" y="460"/>
                </a:lnTo>
                <a:lnTo>
                  <a:pt x="31" y="415"/>
                </a:lnTo>
                <a:lnTo>
                  <a:pt x="13" y="372"/>
                </a:lnTo>
                <a:lnTo>
                  <a:pt x="6" y="351"/>
                </a:lnTo>
                <a:lnTo>
                  <a:pt x="2" y="328"/>
                </a:lnTo>
                <a:lnTo>
                  <a:pt x="1" y="316"/>
                </a:lnTo>
                <a:lnTo>
                  <a:pt x="0" y="303"/>
                </a:lnTo>
                <a:lnTo>
                  <a:pt x="0" y="290"/>
                </a:lnTo>
                <a:lnTo>
                  <a:pt x="1" y="276"/>
                </a:lnTo>
                <a:lnTo>
                  <a:pt x="14" y="274"/>
                </a:lnTo>
                <a:lnTo>
                  <a:pt x="27" y="272"/>
                </a:lnTo>
                <a:lnTo>
                  <a:pt x="42" y="270"/>
                </a:lnTo>
                <a:lnTo>
                  <a:pt x="55" y="269"/>
                </a:lnTo>
                <a:lnTo>
                  <a:pt x="58" y="217"/>
                </a:lnTo>
                <a:lnTo>
                  <a:pt x="64" y="174"/>
                </a:lnTo>
                <a:lnTo>
                  <a:pt x="65" y="164"/>
                </a:lnTo>
                <a:lnTo>
                  <a:pt x="64" y="155"/>
                </a:lnTo>
                <a:lnTo>
                  <a:pt x="62" y="144"/>
                </a:lnTo>
                <a:lnTo>
                  <a:pt x="61" y="134"/>
                </a:lnTo>
                <a:lnTo>
                  <a:pt x="57" y="123"/>
                </a:lnTo>
                <a:lnTo>
                  <a:pt x="53" y="113"/>
                </a:lnTo>
                <a:lnTo>
                  <a:pt x="47" y="103"/>
                </a:lnTo>
                <a:lnTo>
                  <a:pt x="40" y="92"/>
                </a:lnTo>
                <a:lnTo>
                  <a:pt x="39" y="66"/>
                </a:lnTo>
                <a:lnTo>
                  <a:pt x="39" y="51"/>
                </a:lnTo>
                <a:lnTo>
                  <a:pt x="42" y="38"/>
                </a:lnTo>
                <a:lnTo>
                  <a:pt x="48" y="18"/>
                </a:lnTo>
                <a:lnTo>
                  <a:pt x="66" y="13"/>
                </a:lnTo>
                <a:lnTo>
                  <a:pt x="86" y="8"/>
                </a:lnTo>
                <a:lnTo>
                  <a:pt x="100" y="18"/>
                </a:lnTo>
                <a:lnTo>
                  <a:pt x="113" y="26"/>
                </a:lnTo>
                <a:lnTo>
                  <a:pt x="126" y="31"/>
                </a:lnTo>
                <a:lnTo>
                  <a:pt x="143" y="34"/>
                </a:lnTo>
                <a:lnTo>
                  <a:pt x="159" y="15"/>
                </a:lnTo>
                <a:lnTo>
                  <a:pt x="168" y="6"/>
                </a:lnTo>
                <a:lnTo>
                  <a:pt x="174" y="2"/>
                </a:lnTo>
                <a:lnTo>
                  <a:pt x="182" y="0"/>
                </a:lnTo>
                <a:lnTo>
                  <a:pt x="185" y="5"/>
                </a:lnTo>
                <a:lnTo>
                  <a:pt x="187" y="13"/>
                </a:lnTo>
                <a:lnTo>
                  <a:pt x="203" y="17"/>
                </a:lnTo>
                <a:lnTo>
                  <a:pt x="217" y="22"/>
                </a:lnTo>
                <a:lnTo>
                  <a:pt x="231" y="26"/>
                </a:lnTo>
                <a:lnTo>
                  <a:pt x="247" y="30"/>
                </a:lnTo>
                <a:lnTo>
                  <a:pt x="248" y="43"/>
                </a:lnTo>
                <a:lnTo>
                  <a:pt x="251" y="57"/>
                </a:lnTo>
                <a:lnTo>
                  <a:pt x="257" y="61"/>
                </a:lnTo>
                <a:lnTo>
                  <a:pt x="261" y="65"/>
                </a:lnTo>
                <a:lnTo>
                  <a:pt x="265" y="70"/>
                </a:lnTo>
                <a:lnTo>
                  <a:pt x="269" y="75"/>
                </a:lnTo>
                <a:lnTo>
                  <a:pt x="274" y="88"/>
                </a:lnTo>
                <a:lnTo>
                  <a:pt x="278" y="101"/>
                </a:lnTo>
                <a:lnTo>
                  <a:pt x="295" y="100"/>
                </a:lnTo>
                <a:lnTo>
                  <a:pt x="312" y="99"/>
                </a:lnTo>
                <a:lnTo>
                  <a:pt x="328" y="93"/>
                </a:lnTo>
                <a:lnTo>
                  <a:pt x="343" y="88"/>
                </a:lnTo>
                <a:lnTo>
                  <a:pt x="343" y="99"/>
                </a:lnTo>
                <a:lnTo>
                  <a:pt x="343" y="110"/>
                </a:lnTo>
                <a:lnTo>
                  <a:pt x="343" y="122"/>
                </a:lnTo>
                <a:lnTo>
                  <a:pt x="343" y="134"/>
                </a:lnTo>
                <a:lnTo>
                  <a:pt x="385" y="138"/>
                </a:lnTo>
                <a:lnTo>
                  <a:pt x="416" y="142"/>
                </a:lnTo>
                <a:lnTo>
                  <a:pt x="428" y="144"/>
                </a:lnTo>
                <a:lnTo>
                  <a:pt x="438" y="149"/>
                </a:lnTo>
                <a:lnTo>
                  <a:pt x="447" y="153"/>
                </a:lnTo>
                <a:lnTo>
                  <a:pt x="455" y="160"/>
                </a:lnTo>
                <a:lnTo>
                  <a:pt x="463" y="166"/>
                </a:lnTo>
                <a:lnTo>
                  <a:pt x="470" y="175"/>
                </a:lnTo>
                <a:lnTo>
                  <a:pt x="476" y="186"/>
                </a:lnTo>
                <a:lnTo>
                  <a:pt x="483" y="198"/>
                </a:lnTo>
                <a:lnTo>
                  <a:pt x="499" y="226"/>
                </a:lnTo>
                <a:lnTo>
                  <a:pt x="520" y="265"/>
                </a:lnTo>
                <a:lnTo>
                  <a:pt x="528" y="274"/>
                </a:lnTo>
                <a:lnTo>
                  <a:pt x="535" y="283"/>
                </a:lnTo>
                <a:lnTo>
                  <a:pt x="540" y="292"/>
                </a:lnTo>
                <a:lnTo>
                  <a:pt x="544" y="302"/>
                </a:lnTo>
                <a:lnTo>
                  <a:pt x="546" y="311"/>
                </a:lnTo>
                <a:lnTo>
                  <a:pt x="548" y="321"/>
                </a:lnTo>
                <a:lnTo>
                  <a:pt x="548" y="330"/>
                </a:lnTo>
                <a:lnTo>
                  <a:pt x="548" y="341"/>
                </a:lnTo>
                <a:lnTo>
                  <a:pt x="542" y="382"/>
                </a:lnTo>
                <a:lnTo>
                  <a:pt x="537" y="428"/>
                </a:lnTo>
                <a:lnTo>
                  <a:pt x="544" y="443"/>
                </a:lnTo>
                <a:lnTo>
                  <a:pt x="552" y="459"/>
                </a:lnTo>
                <a:lnTo>
                  <a:pt x="561" y="476"/>
                </a:lnTo>
                <a:lnTo>
                  <a:pt x="570" y="493"/>
                </a:lnTo>
                <a:lnTo>
                  <a:pt x="589" y="527"/>
                </a:lnTo>
                <a:lnTo>
                  <a:pt x="610" y="562"/>
                </a:lnTo>
                <a:lnTo>
                  <a:pt x="619" y="579"/>
                </a:lnTo>
                <a:lnTo>
                  <a:pt x="627" y="597"/>
                </a:lnTo>
                <a:lnTo>
                  <a:pt x="635" y="614"/>
                </a:lnTo>
                <a:lnTo>
                  <a:pt x="641" y="632"/>
                </a:lnTo>
                <a:lnTo>
                  <a:pt x="646" y="649"/>
                </a:lnTo>
                <a:lnTo>
                  <a:pt x="649" y="666"/>
                </a:lnTo>
                <a:lnTo>
                  <a:pt x="650" y="683"/>
                </a:lnTo>
                <a:lnTo>
                  <a:pt x="649" y="700"/>
                </a:lnTo>
                <a:lnTo>
                  <a:pt x="622" y="724"/>
                </a:lnTo>
                <a:lnTo>
                  <a:pt x="604" y="739"/>
                </a:lnTo>
                <a:lnTo>
                  <a:pt x="591" y="748"/>
                </a:lnTo>
                <a:lnTo>
                  <a:pt x="575" y="757"/>
                </a:lnTo>
                <a:lnTo>
                  <a:pt x="552" y="754"/>
                </a:lnTo>
                <a:lnTo>
                  <a:pt x="536" y="753"/>
                </a:lnTo>
                <a:lnTo>
                  <a:pt x="522" y="754"/>
                </a:lnTo>
                <a:lnTo>
                  <a:pt x="501" y="760"/>
                </a:lnTo>
                <a:lnTo>
                  <a:pt x="499" y="770"/>
                </a:lnTo>
                <a:lnTo>
                  <a:pt x="498" y="782"/>
                </a:lnTo>
                <a:lnTo>
                  <a:pt x="498" y="795"/>
                </a:lnTo>
                <a:lnTo>
                  <a:pt x="497" y="808"/>
                </a:lnTo>
                <a:lnTo>
                  <a:pt x="484" y="809"/>
                </a:lnTo>
                <a:lnTo>
                  <a:pt x="471" y="810"/>
                </a:lnTo>
                <a:lnTo>
                  <a:pt x="459" y="812"/>
                </a:lnTo>
                <a:lnTo>
                  <a:pt x="446" y="813"/>
                </a:lnTo>
                <a:lnTo>
                  <a:pt x="445" y="821"/>
                </a:lnTo>
                <a:lnTo>
                  <a:pt x="445" y="827"/>
                </a:lnTo>
                <a:lnTo>
                  <a:pt x="445" y="832"/>
                </a:lnTo>
                <a:lnTo>
                  <a:pt x="446" y="838"/>
                </a:lnTo>
                <a:lnTo>
                  <a:pt x="449" y="843"/>
                </a:lnTo>
                <a:lnTo>
                  <a:pt x="453" y="845"/>
                </a:lnTo>
                <a:lnTo>
                  <a:pt x="458" y="849"/>
                </a:lnTo>
                <a:lnTo>
                  <a:pt x="464" y="852"/>
                </a:lnTo>
                <a:lnTo>
                  <a:pt x="460" y="864"/>
                </a:lnTo>
                <a:lnTo>
                  <a:pt x="455" y="873"/>
                </a:lnTo>
                <a:lnTo>
                  <a:pt x="446" y="882"/>
                </a:lnTo>
                <a:lnTo>
                  <a:pt x="432" y="896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85" name="Freeform 50"/>
          <p:cNvSpPr>
            <a:spLocks/>
          </p:cNvSpPr>
          <p:nvPr/>
        </p:nvSpPr>
        <p:spPr bwMode="auto">
          <a:xfrm>
            <a:off x="2238375" y="3381375"/>
            <a:ext cx="423863" cy="573088"/>
          </a:xfrm>
          <a:custGeom>
            <a:avLst/>
            <a:gdLst>
              <a:gd name="T0" fmla="*/ 2147483647 w 1069"/>
              <a:gd name="T1" fmla="*/ 2147483647 h 1444"/>
              <a:gd name="T2" fmla="*/ 2147483647 w 1069"/>
              <a:gd name="T3" fmla="*/ 2147483647 h 1444"/>
              <a:gd name="T4" fmla="*/ 2147483647 w 1069"/>
              <a:gd name="T5" fmla="*/ 2147483647 h 1444"/>
              <a:gd name="T6" fmla="*/ 2147483647 w 1069"/>
              <a:gd name="T7" fmla="*/ 2147483647 h 1444"/>
              <a:gd name="T8" fmla="*/ 2147483647 w 1069"/>
              <a:gd name="T9" fmla="*/ 2147483647 h 1444"/>
              <a:gd name="T10" fmla="*/ 2147483647 w 1069"/>
              <a:gd name="T11" fmla="*/ 2147483647 h 1444"/>
              <a:gd name="T12" fmla="*/ 2147483647 w 1069"/>
              <a:gd name="T13" fmla="*/ 2147483647 h 1444"/>
              <a:gd name="T14" fmla="*/ 2147483647 w 1069"/>
              <a:gd name="T15" fmla="*/ 2147483647 h 1444"/>
              <a:gd name="T16" fmla="*/ 2147483647 w 1069"/>
              <a:gd name="T17" fmla="*/ 2147483647 h 1444"/>
              <a:gd name="T18" fmla="*/ 2147483647 w 1069"/>
              <a:gd name="T19" fmla="*/ 2147483647 h 1444"/>
              <a:gd name="T20" fmla="*/ 2147483647 w 1069"/>
              <a:gd name="T21" fmla="*/ 2147483647 h 1444"/>
              <a:gd name="T22" fmla="*/ 2147483647 w 1069"/>
              <a:gd name="T23" fmla="*/ 2147483647 h 1444"/>
              <a:gd name="T24" fmla="*/ 2147483647 w 1069"/>
              <a:gd name="T25" fmla="*/ 2147483647 h 1444"/>
              <a:gd name="T26" fmla="*/ 2147483647 w 1069"/>
              <a:gd name="T27" fmla="*/ 2147483647 h 1444"/>
              <a:gd name="T28" fmla="*/ 2147483647 w 1069"/>
              <a:gd name="T29" fmla="*/ 2147483647 h 1444"/>
              <a:gd name="T30" fmla="*/ 2147483647 w 1069"/>
              <a:gd name="T31" fmla="*/ 2147483647 h 1444"/>
              <a:gd name="T32" fmla="*/ 2147483647 w 1069"/>
              <a:gd name="T33" fmla="*/ 2147483647 h 1444"/>
              <a:gd name="T34" fmla="*/ 2147483647 w 1069"/>
              <a:gd name="T35" fmla="*/ 2147483647 h 1444"/>
              <a:gd name="T36" fmla="*/ 2147483647 w 1069"/>
              <a:gd name="T37" fmla="*/ 2147483647 h 1444"/>
              <a:gd name="T38" fmla="*/ 2147483647 w 1069"/>
              <a:gd name="T39" fmla="*/ 2147483647 h 1444"/>
              <a:gd name="T40" fmla="*/ 2147483647 w 1069"/>
              <a:gd name="T41" fmla="*/ 2147483647 h 1444"/>
              <a:gd name="T42" fmla="*/ 2147483647 w 1069"/>
              <a:gd name="T43" fmla="*/ 2147483647 h 1444"/>
              <a:gd name="T44" fmla="*/ 2147483647 w 1069"/>
              <a:gd name="T45" fmla="*/ 2147483647 h 1444"/>
              <a:gd name="T46" fmla="*/ 2147483647 w 1069"/>
              <a:gd name="T47" fmla="*/ 2147483647 h 1444"/>
              <a:gd name="T48" fmla="*/ 2147483647 w 1069"/>
              <a:gd name="T49" fmla="*/ 2147483647 h 1444"/>
              <a:gd name="T50" fmla="*/ 2147483647 w 1069"/>
              <a:gd name="T51" fmla="*/ 2147483647 h 1444"/>
              <a:gd name="T52" fmla="*/ 2147483647 w 1069"/>
              <a:gd name="T53" fmla="*/ 2147483647 h 1444"/>
              <a:gd name="T54" fmla="*/ 2147483647 w 1069"/>
              <a:gd name="T55" fmla="*/ 2147483647 h 1444"/>
              <a:gd name="T56" fmla="*/ 2147483647 w 1069"/>
              <a:gd name="T57" fmla="*/ 2147483647 h 1444"/>
              <a:gd name="T58" fmla="*/ 2147483647 w 1069"/>
              <a:gd name="T59" fmla="*/ 2147483647 h 1444"/>
              <a:gd name="T60" fmla="*/ 2147483647 w 1069"/>
              <a:gd name="T61" fmla="*/ 2147483647 h 1444"/>
              <a:gd name="T62" fmla="*/ 2147483647 w 1069"/>
              <a:gd name="T63" fmla="*/ 2147483647 h 1444"/>
              <a:gd name="T64" fmla="*/ 2147483647 w 1069"/>
              <a:gd name="T65" fmla="*/ 2147483647 h 1444"/>
              <a:gd name="T66" fmla="*/ 2147483647 w 1069"/>
              <a:gd name="T67" fmla="*/ 2147483647 h 1444"/>
              <a:gd name="T68" fmla="*/ 2147483647 w 1069"/>
              <a:gd name="T69" fmla="*/ 2147483647 h 1444"/>
              <a:gd name="T70" fmla="*/ 2147483647 w 1069"/>
              <a:gd name="T71" fmla="*/ 2147483647 h 1444"/>
              <a:gd name="T72" fmla="*/ 2147483647 w 1069"/>
              <a:gd name="T73" fmla="*/ 2147483647 h 1444"/>
              <a:gd name="T74" fmla="*/ 2147483647 w 1069"/>
              <a:gd name="T75" fmla="*/ 2147483647 h 1444"/>
              <a:gd name="T76" fmla="*/ 2147483647 w 1069"/>
              <a:gd name="T77" fmla="*/ 2147483647 h 1444"/>
              <a:gd name="T78" fmla="*/ 2147483647 w 1069"/>
              <a:gd name="T79" fmla="*/ 2147483647 h 1444"/>
              <a:gd name="T80" fmla="*/ 2147483647 w 1069"/>
              <a:gd name="T81" fmla="*/ 2147483647 h 1444"/>
              <a:gd name="T82" fmla="*/ 2147483647 w 1069"/>
              <a:gd name="T83" fmla="*/ 2147483647 h 1444"/>
              <a:gd name="T84" fmla="*/ 2147483647 w 1069"/>
              <a:gd name="T85" fmla="*/ 2147483647 h 1444"/>
              <a:gd name="T86" fmla="*/ 2147483647 w 1069"/>
              <a:gd name="T87" fmla="*/ 2147483647 h 1444"/>
              <a:gd name="T88" fmla="*/ 2147483647 w 1069"/>
              <a:gd name="T89" fmla="*/ 2147483647 h 1444"/>
              <a:gd name="T90" fmla="*/ 2147483647 w 1069"/>
              <a:gd name="T91" fmla="*/ 2147483647 h 1444"/>
              <a:gd name="T92" fmla="*/ 2147483647 w 1069"/>
              <a:gd name="T93" fmla="*/ 2147483647 h 1444"/>
              <a:gd name="T94" fmla="*/ 2147483647 w 1069"/>
              <a:gd name="T95" fmla="*/ 2147483647 h 1444"/>
              <a:gd name="T96" fmla="*/ 2147483647 w 1069"/>
              <a:gd name="T97" fmla="*/ 2147483647 h 1444"/>
              <a:gd name="T98" fmla="*/ 2147483647 w 1069"/>
              <a:gd name="T99" fmla="*/ 2147483647 h 1444"/>
              <a:gd name="T100" fmla="*/ 2147483647 w 1069"/>
              <a:gd name="T101" fmla="*/ 2147483647 h 1444"/>
              <a:gd name="T102" fmla="*/ 2147483647 w 1069"/>
              <a:gd name="T103" fmla="*/ 2147483647 h 1444"/>
              <a:gd name="T104" fmla="*/ 2147483647 w 1069"/>
              <a:gd name="T105" fmla="*/ 2147483647 h 1444"/>
              <a:gd name="T106" fmla="*/ 2147483647 w 1069"/>
              <a:gd name="T107" fmla="*/ 2147483647 h 1444"/>
              <a:gd name="T108" fmla="*/ 2147483647 w 1069"/>
              <a:gd name="T109" fmla="*/ 2147483647 h 1444"/>
              <a:gd name="T110" fmla="*/ 2147483647 w 1069"/>
              <a:gd name="T111" fmla="*/ 2147483647 h 1444"/>
              <a:gd name="T112" fmla="*/ 2147483647 w 1069"/>
              <a:gd name="T113" fmla="*/ 2147483647 h 1444"/>
              <a:gd name="T114" fmla="*/ 2147483647 w 1069"/>
              <a:gd name="T115" fmla="*/ 2147483647 h 1444"/>
              <a:gd name="T116" fmla="*/ 2147483647 w 1069"/>
              <a:gd name="T117" fmla="*/ 2147483647 h 1444"/>
              <a:gd name="T118" fmla="*/ 2147483647 w 1069"/>
              <a:gd name="T119" fmla="*/ 2147483647 h 1444"/>
              <a:gd name="T120" fmla="*/ 2147483647 w 1069"/>
              <a:gd name="T121" fmla="*/ 2147483647 h 1444"/>
              <a:gd name="T122" fmla="*/ 2147483647 w 1069"/>
              <a:gd name="T123" fmla="*/ 2147483647 h 144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069"/>
              <a:gd name="T187" fmla="*/ 0 h 1444"/>
              <a:gd name="T188" fmla="*/ 1069 w 1069"/>
              <a:gd name="T189" fmla="*/ 1444 h 1444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069" h="1444">
                <a:moveTo>
                  <a:pt x="358" y="1444"/>
                </a:moveTo>
                <a:lnTo>
                  <a:pt x="337" y="1422"/>
                </a:lnTo>
                <a:lnTo>
                  <a:pt x="316" y="1401"/>
                </a:lnTo>
                <a:lnTo>
                  <a:pt x="298" y="1381"/>
                </a:lnTo>
                <a:lnTo>
                  <a:pt x="281" y="1357"/>
                </a:lnTo>
                <a:lnTo>
                  <a:pt x="269" y="1359"/>
                </a:lnTo>
                <a:lnTo>
                  <a:pt x="258" y="1360"/>
                </a:lnTo>
                <a:lnTo>
                  <a:pt x="246" y="1364"/>
                </a:lnTo>
                <a:lnTo>
                  <a:pt x="234" y="1368"/>
                </a:lnTo>
                <a:lnTo>
                  <a:pt x="224" y="1370"/>
                </a:lnTo>
                <a:lnTo>
                  <a:pt x="212" y="1373"/>
                </a:lnTo>
                <a:lnTo>
                  <a:pt x="202" y="1374"/>
                </a:lnTo>
                <a:lnTo>
                  <a:pt x="190" y="1373"/>
                </a:lnTo>
                <a:lnTo>
                  <a:pt x="185" y="1360"/>
                </a:lnTo>
                <a:lnTo>
                  <a:pt x="181" y="1347"/>
                </a:lnTo>
                <a:lnTo>
                  <a:pt x="176" y="1334"/>
                </a:lnTo>
                <a:lnTo>
                  <a:pt x="172" y="1321"/>
                </a:lnTo>
                <a:lnTo>
                  <a:pt x="161" y="1319"/>
                </a:lnTo>
                <a:lnTo>
                  <a:pt x="151" y="1318"/>
                </a:lnTo>
                <a:lnTo>
                  <a:pt x="140" y="1317"/>
                </a:lnTo>
                <a:lnTo>
                  <a:pt x="131" y="1314"/>
                </a:lnTo>
                <a:lnTo>
                  <a:pt x="133" y="1296"/>
                </a:lnTo>
                <a:lnTo>
                  <a:pt x="137" y="1278"/>
                </a:lnTo>
                <a:lnTo>
                  <a:pt x="142" y="1260"/>
                </a:lnTo>
                <a:lnTo>
                  <a:pt x="148" y="1241"/>
                </a:lnTo>
                <a:lnTo>
                  <a:pt x="153" y="1225"/>
                </a:lnTo>
                <a:lnTo>
                  <a:pt x="159" y="1208"/>
                </a:lnTo>
                <a:lnTo>
                  <a:pt x="160" y="1198"/>
                </a:lnTo>
                <a:lnTo>
                  <a:pt x="161" y="1189"/>
                </a:lnTo>
                <a:lnTo>
                  <a:pt x="161" y="1182"/>
                </a:lnTo>
                <a:lnTo>
                  <a:pt x="160" y="1172"/>
                </a:lnTo>
                <a:lnTo>
                  <a:pt x="151" y="1167"/>
                </a:lnTo>
                <a:lnTo>
                  <a:pt x="143" y="1162"/>
                </a:lnTo>
                <a:lnTo>
                  <a:pt x="138" y="1158"/>
                </a:lnTo>
                <a:lnTo>
                  <a:pt x="134" y="1153"/>
                </a:lnTo>
                <a:lnTo>
                  <a:pt x="131" y="1148"/>
                </a:lnTo>
                <a:lnTo>
                  <a:pt x="130" y="1141"/>
                </a:lnTo>
                <a:lnTo>
                  <a:pt x="129" y="1133"/>
                </a:lnTo>
                <a:lnTo>
                  <a:pt x="127" y="1123"/>
                </a:lnTo>
                <a:lnTo>
                  <a:pt x="142" y="1119"/>
                </a:lnTo>
                <a:lnTo>
                  <a:pt x="156" y="1115"/>
                </a:lnTo>
                <a:lnTo>
                  <a:pt x="172" y="1113"/>
                </a:lnTo>
                <a:lnTo>
                  <a:pt x="187" y="1109"/>
                </a:lnTo>
                <a:lnTo>
                  <a:pt x="189" y="1096"/>
                </a:lnTo>
                <a:lnTo>
                  <a:pt x="189" y="1083"/>
                </a:lnTo>
                <a:lnTo>
                  <a:pt x="187" y="1071"/>
                </a:lnTo>
                <a:lnTo>
                  <a:pt x="186" y="1058"/>
                </a:lnTo>
                <a:lnTo>
                  <a:pt x="178" y="1033"/>
                </a:lnTo>
                <a:lnTo>
                  <a:pt x="172" y="1007"/>
                </a:lnTo>
                <a:lnTo>
                  <a:pt x="157" y="1006"/>
                </a:lnTo>
                <a:lnTo>
                  <a:pt x="143" y="1005"/>
                </a:lnTo>
                <a:lnTo>
                  <a:pt x="134" y="1016"/>
                </a:lnTo>
                <a:lnTo>
                  <a:pt x="125" y="1028"/>
                </a:lnTo>
                <a:lnTo>
                  <a:pt x="117" y="1040"/>
                </a:lnTo>
                <a:lnTo>
                  <a:pt x="108" y="1051"/>
                </a:lnTo>
                <a:lnTo>
                  <a:pt x="99" y="1046"/>
                </a:lnTo>
                <a:lnTo>
                  <a:pt x="91" y="1041"/>
                </a:lnTo>
                <a:lnTo>
                  <a:pt x="85" y="1036"/>
                </a:lnTo>
                <a:lnTo>
                  <a:pt x="79" y="1029"/>
                </a:lnTo>
                <a:lnTo>
                  <a:pt x="74" y="1022"/>
                </a:lnTo>
                <a:lnTo>
                  <a:pt x="69" y="1015"/>
                </a:lnTo>
                <a:lnTo>
                  <a:pt x="66" y="1007"/>
                </a:lnTo>
                <a:lnTo>
                  <a:pt x="62" y="998"/>
                </a:lnTo>
                <a:lnTo>
                  <a:pt x="59" y="981"/>
                </a:lnTo>
                <a:lnTo>
                  <a:pt x="56" y="963"/>
                </a:lnTo>
                <a:lnTo>
                  <a:pt x="56" y="944"/>
                </a:lnTo>
                <a:lnTo>
                  <a:pt x="57" y="923"/>
                </a:lnTo>
                <a:lnTo>
                  <a:pt x="62" y="882"/>
                </a:lnTo>
                <a:lnTo>
                  <a:pt x="70" y="842"/>
                </a:lnTo>
                <a:lnTo>
                  <a:pt x="73" y="823"/>
                </a:lnTo>
                <a:lnTo>
                  <a:pt x="77" y="804"/>
                </a:lnTo>
                <a:lnTo>
                  <a:pt x="78" y="786"/>
                </a:lnTo>
                <a:lnTo>
                  <a:pt x="79" y="770"/>
                </a:lnTo>
                <a:lnTo>
                  <a:pt x="68" y="755"/>
                </a:lnTo>
                <a:lnTo>
                  <a:pt x="60" y="741"/>
                </a:lnTo>
                <a:lnTo>
                  <a:pt x="53" y="722"/>
                </a:lnTo>
                <a:lnTo>
                  <a:pt x="44" y="691"/>
                </a:lnTo>
                <a:lnTo>
                  <a:pt x="35" y="683"/>
                </a:lnTo>
                <a:lnTo>
                  <a:pt x="27" y="676"/>
                </a:lnTo>
                <a:lnTo>
                  <a:pt x="21" y="666"/>
                </a:lnTo>
                <a:lnTo>
                  <a:pt x="16" y="657"/>
                </a:lnTo>
                <a:lnTo>
                  <a:pt x="10" y="648"/>
                </a:lnTo>
                <a:lnTo>
                  <a:pt x="6" y="639"/>
                </a:lnTo>
                <a:lnTo>
                  <a:pt x="4" y="629"/>
                </a:lnTo>
                <a:lnTo>
                  <a:pt x="1" y="618"/>
                </a:lnTo>
                <a:lnTo>
                  <a:pt x="0" y="608"/>
                </a:lnTo>
                <a:lnTo>
                  <a:pt x="0" y="597"/>
                </a:lnTo>
                <a:lnTo>
                  <a:pt x="0" y="587"/>
                </a:lnTo>
                <a:lnTo>
                  <a:pt x="0" y="577"/>
                </a:lnTo>
                <a:lnTo>
                  <a:pt x="4" y="553"/>
                </a:lnTo>
                <a:lnTo>
                  <a:pt x="9" y="531"/>
                </a:lnTo>
                <a:lnTo>
                  <a:pt x="22" y="486"/>
                </a:lnTo>
                <a:lnTo>
                  <a:pt x="38" y="441"/>
                </a:lnTo>
                <a:lnTo>
                  <a:pt x="46" y="419"/>
                </a:lnTo>
                <a:lnTo>
                  <a:pt x="53" y="398"/>
                </a:lnTo>
                <a:lnTo>
                  <a:pt x="59" y="378"/>
                </a:lnTo>
                <a:lnTo>
                  <a:pt x="64" y="359"/>
                </a:lnTo>
                <a:lnTo>
                  <a:pt x="77" y="358"/>
                </a:lnTo>
                <a:lnTo>
                  <a:pt x="90" y="356"/>
                </a:lnTo>
                <a:lnTo>
                  <a:pt x="101" y="353"/>
                </a:lnTo>
                <a:lnTo>
                  <a:pt x="112" y="348"/>
                </a:lnTo>
                <a:lnTo>
                  <a:pt x="122" y="341"/>
                </a:lnTo>
                <a:lnTo>
                  <a:pt x="131" y="335"/>
                </a:lnTo>
                <a:lnTo>
                  <a:pt x="139" y="326"/>
                </a:lnTo>
                <a:lnTo>
                  <a:pt x="147" y="316"/>
                </a:lnTo>
                <a:lnTo>
                  <a:pt x="153" y="307"/>
                </a:lnTo>
                <a:lnTo>
                  <a:pt x="159" y="297"/>
                </a:lnTo>
                <a:lnTo>
                  <a:pt x="164" y="285"/>
                </a:lnTo>
                <a:lnTo>
                  <a:pt x="168" y="274"/>
                </a:lnTo>
                <a:lnTo>
                  <a:pt x="172" y="262"/>
                </a:lnTo>
                <a:lnTo>
                  <a:pt x="173" y="250"/>
                </a:lnTo>
                <a:lnTo>
                  <a:pt x="174" y="237"/>
                </a:lnTo>
                <a:lnTo>
                  <a:pt x="176" y="224"/>
                </a:lnTo>
                <a:lnTo>
                  <a:pt x="168" y="215"/>
                </a:lnTo>
                <a:lnTo>
                  <a:pt x="165" y="207"/>
                </a:lnTo>
                <a:lnTo>
                  <a:pt x="163" y="197"/>
                </a:lnTo>
                <a:lnTo>
                  <a:pt x="160" y="180"/>
                </a:lnTo>
                <a:lnTo>
                  <a:pt x="196" y="181"/>
                </a:lnTo>
                <a:lnTo>
                  <a:pt x="234" y="181"/>
                </a:lnTo>
                <a:lnTo>
                  <a:pt x="254" y="181"/>
                </a:lnTo>
                <a:lnTo>
                  <a:pt x="272" y="179"/>
                </a:lnTo>
                <a:lnTo>
                  <a:pt x="290" y="175"/>
                </a:lnTo>
                <a:lnTo>
                  <a:pt x="308" y="168"/>
                </a:lnTo>
                <a:lnTo>
                  <a:pt x="311" y="163"/>
                </a:lnTo>
                <a:lnTo>
                  <a:pt x="314" y="158"/>
                </a:lnTo>
                <a:lnTo>
                  <a:pt x="316" y="151"/>
                </a:lnTo>
                <a:lnTo>
                  <a:pt x="317" y="142"/>
                </a:lnTo>
                <a:lnTo>
                  <a:pt x="323" y="114"/>
                </a:lnTo>
                <a:lnTo>
                  <a:pt x="330" y="62"/>
                </a:lnTo>
                <a:lnTo>
                  <a:pt x="337" y="55"/>
                </a:lnTo>
                <a:lnTo>
                  <a:pt x="346" y="50"/>
                </a:lnTo>
                <a:lnTo>
                  <a:pt x="355" y="43"/>
                </a:lnTo>
                <a:lnTo>
                  <a:pt x="364" y="38"/>
                </a:lnTo>
                <a:lnTo>
                  <a:pt x="388" y="28"/>
                </a:lnTo>
                <a:lnTo>
                  <a:pt x="412" y="17"/>
                </a:lnTo>
                <a:lnTo>
                  <a:pt x="438" y="9"/>
                </a:lnTo>
                <a:lnTo>
                  <a:pt x="463" y="4"/>
                </a:lnTo>
                <a:lnTo>
                  <a:pt x="475" y="2"/>
                </a:lnTo>
                <a:lnTo>
                  <a:pt x="487" y="0"/>
                </a:lnTo>
                <a:lnTo>
                  <a:pt x="497" y="0"/>
                </a:lnTo>
                <a:lnTo>
                  <a:pt x="506" y="2"/>
                </a:lnTo>
                <a:lnTo>
                  <a:pt x="506" y="7"/>
                </a:lnTo>
                <a:lnTo>
                  <a:pt x="506" y="13"/>
                </a:lnTo>
                <a:lnTo>
                  <a:pt x="514" y="19"/>
                </a:lnTo>
                <a:lnTo>
                  <a:pt x="520" y="25"/>
                </a:lnTo>
                <a:lnTo>
                  <a:pt x="526" y="33"/>
                </a:lnTo>
                <a:lnTo>
                  <a:pt x="529" y="41"/>
                </a:lnTo>
                <a:lnTo>
                  <a:pt x="537" y="60"/>
                </a:lnTo>
                <a:lnTo>
                  <a:pt x="542" y="78"/>
                </a:lnTo>
                <a:lnTo>
                  <a:pt x="552" y="84"/>
                </a:lnTo>
                <a:lnTo>
                  <a:pt x="567" y="88"/>
                </a:lnTo>
                <a:lnTo>
                  <a:pt x="597" y="93"/>
                </a:lnTo>
                <a:lnTo>
                  <a:pt x="654" y="102"/>
                </a:lnTo>
                <a:lnTo>
                  <a:pt x="670" y="124"/>
                </a:lnTo>
                <a:lnTo>
                  <a:pt x="686" y="141"/>
                </a:lnTo>
                <a:lnTo>
                  <a:pt x="699" y="154"/>
                </a:lnTo>
                <a:lnTo>
                  <a:pt x="710" y="167"/>
                </a:lnTo>
                <a:lnTo>
                  <a:pt x="714" y="173"/>
                </a:lnTo>
                <a:lnTo>
                  <a:pt x="719" y="180"/>
                </a:lnTo>
                <a:lnTo>
                  <a:pt x="723" y="188"/>
                </a:lnTo>
                <a:lnTo>
                  <a:pt x="727" y="197"/>
                </a:lnTo>
                <a:lnTo>
                  <a:pt x="730" y="207"/>
                </a:lnTo>
                <a:lnTo>
                  <a:pt x="732" y="220"/>
                </a:lnTo>
                <a:lnTo>
                  <a:pt x="735" y="235"/>
                </a:lnTo>
                <a:lnTo>
                  <a:pt x="736" y="251"/>
                </a:lnTo>
                <a:lnTo>
                  <a:pt x="756" y="255"/>
                </a:lnTo>
                <a:lnTo>
                  <a:pt x="773" y="258"/>
                </a:lnTo>
                <a:lnTo>
                  <a:pt x="797" y="258"/>
                </a:lnTo>
                <a:lnTo>
                  <a:pt x="839" y="257"/>
                </a:lnTo>
                <a:lnTo>
                  <a:pt x="846" y="268"/>
                </a:lnTo>
                <a:lnTo>
                  <a:pt x="852" y="279"/>
                </a:lnTo>
                <a:lnTo>
                  <a:pt x="860" y="288"/>
                </a:lnTo>
                <a:lnTo>
                  <a:pt x="869" y="298"/>
                </a:lnTo>
                <a:lnTo>
                  <a:pt x="877" y="307"/>
                </a:lnTo>
                <a:lnTo>
                  <a:pt x="887" y="315"/>
                </a:lnTo>
                <a:lnTo>
                  <a:pt x="896" y="324"/>
                </a:lnTo>
                <a:lnTo>
                  <a:pt x="907" y="331"/>
                </a:lnTo>
                <a:lnTo>
                  <a:pt x="929" y="345"/>
                </a:lnTo>
                <a:lnTo>
                  <a:pt x="951" y="357"/>
                </a:lnTo>
                <a:lnTo>
                  <a:pt x="963" y="362"/>
                </a:lnTo>
                <a:lnTo>
                  <a:pt x="974" y="366"/>
                </a:lnTo>
                <a:lnTo>
                  <a:pt x="986" y="370"/>
                </a:lnTo>
                <a:lnTo>
                  <a:pt x="998" y="372"/>
                </a:lnTo>
                <a:lnTo>
                  <a:pt x="1003" y="387"/>
                </a:lnTo>
                <a:lnTo>
                  <a:pt x="1008" y="398"/>
                </a:lnTo>
                <a:lnTo>
                  <a:pt x="1015" y="406"/>
                </a:lnTo>
                <a:lnTo>
                  <a:pt x="1021" y="413"/>
                </a:lnTo>
                <a:lnTo>
                  <a:pt x="1030" y="417"/>
                </a:lnTo>
                <a:lnTo>
                  <a:pt x="1041" y="418"/>
                </a:lnTo>
                <a:lnTo>
                  <a:pt x="1054" y="418"/>
                </a:lnTo>
                <a:lnTo>
                  <a:pt x="1069" y="417"/>
                </a:lnTo>
                <a:lnTo>
                  <a:pt x="1067" y="436"/>
                </a:lnTo>
                <a:lnTo>
                  <a:pt x="1064" y="453"/>
                </a:lnTo>
                <a:lnTo>
                  <a:pt x="1060" y="469"/>
                </a:lnTo>
                <a:lnTo>
                  <a:pt x="1055" y="484"/>
                </a:lnTo>
                <a:lnTo>
                  <a:pt x="1049" y="499"/>
                </a:lnTo>
                <a:lnTo>
                  <a:pt x="1039" y="513"/>
                </a:lnTo>
                <a:lnTo>
                  <a:pt x="1029" y="526"/>
                </a:lnTo>
                <a:lnTo>
                  <a:pt x="1016" y="538"/>
                </a:lnTo>
                <a:lnTo>
                  <a:pt x="1016" y="547"/>
                </a:lnTo>
                <a:lnTo>
                  <a:pt x="1019" y="556"/>
                </a:lnTo>
                <a:lnTo>
                  <a:pt x="1023" y="564"/>
                </a:lnTo>
                <a:lnTo>
                  <a:pt x="1026" y="570"/>
                </a:lnTo>
                <a:lnTo>
                  <a:pt x="1037" y="584"/>
                </a:lnTo>
                <a:lnTo>
                  <a:pt x="1046" y="600"/>
                </a:lnTo>
                <a:lnTo>
                  <a:pt x="1042" y="608"/>
                </a:lnTo>
                <a:lnTo>
                  <a:pt x="1038" y="617"/>
                </a:lnTo>
                <a:lnTo>
                  <a:pt x="1000" y="616"/>
                </a:lnTo>
                <a:lnTo>
                  <a:pt x="963" y="616"/>
                </a:lnTo>
                <a:lnTo>
                  <a:pt x="925" y="614"/>
                </a:lnTo>
                <a:lnTo>
                  <a:pt x="887" y="614"/>
                </a:lnTo>
                <a:lnTo>
                  <a:pt x="879" y="627"/>
                </a:lnTo>
                <a:lnTo>
                  <a:pt x="874" y="638"/>
                </a:lnTo>
                <a:lnTo>
                  <a:pt x="869" y="652"/>
                </a:lnTo>
                <a:lnTo>
                  <a:pt x="864" y="674"/>
                </a:lnTo>
                <a:lnTo>
                  <a:pt x="852" y="672"/>
                </a:lnTo>
                <a:lnTo>
                  <a:pt x="843" y="669"/>
                </a:lnTo>
                <a:lnTo>
                  <a:pt x="839" y="656"/>
                </a:lnTo>
                <a:lnTo>
                  <a:pt x="837" y="643"/>
                </a:lnTo>
                <a:lnTo>
                  <a:pt x="835" y="630"/>
                </a:lnTo>
                <a:lnTo>
                  <a:pt x="833" y="617"/>
                </a:lnTo>
                <a:lnTo>
                  <a:pt x="818" y="618"/>
                </a:lnTo>
                <a:lnTo>
                  <a:pt x="804" y="620"/>
                </a:lnTo>
                <a:lnTo>
                  <a:pt x="790" y="621"/>
                </a:lnTo>
                <a:lnTo>
                  <a:pt x="775" y="622"/>
                </a:lnTo>
                <a:lnTo>
                  <a:pt x="775" y="612"/>
                </a:lnTo>
                <a:lnTo>
                  <a:pt x="775" y="603"/>
                </a:lnTo>
                <a:lnTo>
                  <a:pt x="781" y="603"/>
                </a:lnTo>
                <a:lnTo>
                  <a:pt x="787" y="603"/>
                </a:lnTo>
                <a:lnTo>
                  <a:pt x="788" y="594"/>
                </a:lnTo>
                <a:lnTo>
                  <a:pt x="790" y="583"/>
                </a:lnTo>
                <a:lnTo>
                  <a:pt x="792" y="573"/>
                </a:lnTo>
                <a:lnTo>
                  <a:pt x="795" y="562"/>
                </a:lnTo>
                <a:lnTo>
                  <a:pt x="779" y="551"/>
                </a:lnTo>
                <a:lnTo>
                  <a:pt x="758" y="530"/>
                </a:lnTo>
                <a:lnTo>
                  <a:pt x="747" y="519"/>
                </a:lnTo>
                <a:lnTo>
                  <a:pt x="734" y="508"/>
                </a:lnTo>
                <a:lnTo>
                  <a:pt x="722" y="499"/>
                </a:lnTo>
                <a:lnTo>
                  <a:pt x="710" y="489"/>
                </a:lnTo>
                <a:lnTo>
                  <a:pt x="695" y="495"/>
                </a:lnTo>
                <a:lnTo>
                  <a:pt x="680" y="500"/>
                </a:lnTo>
                <a:lnTo>
                  <a:pt x="667" y="508"/>
                </a:lnTo>
                <a:lnTo>
                  <a:pt x="653" y="517"/>
                </a:lnTo>
                <a:lnTo>
                  <a:pt x="641" y="526"/>
                </a:lnTo>
                <a:lnTo>
                  <a:pt x="631" y="538"/>
                </a:lnTo>
                <a:lnTo>
                  <a:pt x="621" y="549"/>
                </a:lnTo>
                <a:lnTo>
                  <a:pt x="613" y="561"/>
                </a:lnTo>
                <a:lnTo>
                  <a:pt x="608" y="574"/>
                </a:lnTo>
                <a:lnTo>
                  <a:pt x="604" y="587"/>
                </a:lnTo>
                <a:lnTo>
                  <a:pt x="602" y="594"/>
                </a:lnTo>
                <a:lnTo>
                  <a:pt x="602" y="600"/>
                </a:lnTo>
                <a:lnTo>
                  <a:pt x="602" y="607"/>
                </a:lnTo>
                <a:lnTo>
                  <a:pt x="604" y="613"/>
                </a:lnTo>
                <a:lnTo>
                  <a:pt x="606" y="620"/>
                </a:lnTo>
                <a:lnTo>
                  <a:pt x="608" y="626"/>
                </a:lnTo>
                <a:lnTo>
                  <a:pt x="611" y="631"/>
                </a:lnTo>
                <a:lnTo>
                  <a:pt x="615" y="638"/>
                </a:lnTo>
                <a:lnTo>
                  <a:pt x="621" y="644"/>
                </a:lnTo>
                <a:lnTo>
                  <a:pt x="626" y="650"/>
                </a:lnTo>
                <a:lnTo>
                  <a:pt x="634" y="656"/>
                </a:lnTo>
                <a:lnTo>
                  <a:pt x="640" y="661"/>
                </a:lnTo>
                <a:lnTo>
                  <a:pt x="645" y="698"/>
                </a:lnTo>
                <a:lnTo>
                  <a:pt x="649" y="718"/>
                </a:lnTo>
                <a:lnTo>
                  <a:pt x="653" y="731"/>
                </a:lnTo>
                <a:lnTo>
                  <a:pt x="660" y="743"/>
                </a:lnTo>
                <a:lnTo>
                  <a:pt x="682" y="748"/>
                </a:lnTo>
                <a:lnTo>
                  <a:pt x="704" y="752"/>
                </a:lnTo>
                <a:lnTo>
                  <a:pt x="727" y="756"/>
                </a:lnTo>
                <a:lnTo>
                  <a:pt x="751" y="761"/>
                </a:lnTo>
                <a:lnTo>
                  <a:pt x="758" y="776"/>
                </a:lnTo>
                <a:lnTo>
                  <a:pt x="768" y="791"/>
                </a:lnTo>
                <a:lnTo>
                  <a:pt x="809" y="800"/>
                </a:lnTo>
                <a:lnTo>
                  <a:pt x="863" y="813"/>
                </a:lnTo>
                <a:lnTo>
                  <a:pt x="876" y="816"/>
                </a:lnTo>
                <a:lnTo>
                  <a:pt x="889" y="817"/>
                </a:lnTo>
                <a:lnTo>
                  <a:pt x="902" y="817"/>
                </a:lnTo>
                <a:lnTo>
                  <a:pt x="912" y="817"/>
                </a:lnTo>
                <a:lnTo>
                  <a:pt x="921" y="816"/>
                </a:lnTo>
                <a:lnTo>
                  <a:pt x="930" y="812"/>
                </a:lnTo>
                <a:lnTo>
                  <a:pt x="933" y="811"/>
                </a:lnTo>
                <a:lnTo>
                  <a:pt x="937" y="808"/>
                </a:lnTo>
                <a:lnTo>
                  <a:pt x="939" y="804"/>
                </a:lnTo>
                <a:lnTo>
                  <a:pt x="941" y="802"/>
                </a:lnTo>
                <a:lnTo>
                  <a:pt x="951" y="803"/>
                </a:lnTo>
                <a:lnTo>
                  <a:pt x="961" y="804"/>
                </a:lnTo>
                <a:lnTo>
                  <a:pt x="972" y="806"/>
                </a:lnTo>
                <a:lnTo>
                  <a:pt x="984" y="807"/>
                </a:lnTo>
                <a:lnTo>
                  <a:pt x="986" y="813"/>
                </a:lnTo>
                <a:lnTo>
                  <a:pt x="989" y="821"/>
                </a:lnTo>
                <a:lnTo>
                  <a:pt x="972" y="849"/>
                </a:lnTo>
                <a:lnTo>
                  <a:pt x="961" y="864"/>
                </a:lnTo>
                <a:lnTo>
                  <a:pt x="952" y="873"/>
                </a:lnTo>
                <a:lnTo>
                  <a:pt x="941" y="882"/>
                </a:lnTo>
                <a:lnTo>
                  <a:pt x="931" y="885"/>
                </a:lnTo>
                <a:lnTo>
                  <a:pt x="925" y="888"/>
                </a:lnTo>
                <a:lnTo>
                  <a:pt x="918" y="891"/>
                </a:lnTo>
                <a:lnTo>
                  <a:pt x="913" y="895"/>
                </a:lnTo>
                <a:lnTo>
                  <a:pt x="905" y="906"/>
                </a:lnTo>
                <a:lnTo>
                  <a:pt x="899" y="916"/>
                </a:lnTo>
                <a:lnTo>
                  <a:pt x="894" y="927"/>
                </a:lnTo>
                <a:lnTo>
                  <a:pt x="886" y="936"/>
                </a:lnTo>
                <a:lnTo>
                  <a:pt x="882" y="941"/>
                </a:lnTo>
                <a:lnTo>
                  <a:pt x="877" y="945"/>
                </a:lnTo>
                <a:lnTo>
                  <a:pt x="872" y="947"/>
                </a:lnTo>
                <a:lnTo>
                  <a:pt x="864" y="950"/>
                </a:lnTo>
                <a:lnTo>
                  <a:pt x="864" y="942"/>
                </a:lnTo>
                <a:lnTo>
                  <a:pt x="864" y="936"/>
                </a:lnTo>
                <a:lnTo>
                  <a:pt x="842" y="940"/>
                </a:lnTo>
                <a:lnTo>
                  <a:pt x="821" y="944"/>
                </a:lnTo>
                <a:lnTo>
                  <a:pt x="810" y="946"/>
                </a:lnTo>
                <a:lnTo>
                  <a:pt x="801" y="950"/>
                </a:lnTo>
                <a:lnTo>
                  <a:pt x="792" y="954"/>
                </a:lnTo>
                <a:lnTo>
                  <a:pt x="783" y="959"/>
                </a:lnTo>
                <a:lnTo>
                  <a:pt x="766" y="949"/>
                </a:lnTo>
                <a:lnTo>
                  <a:pt x="752" y="940"/>
                </a:lnTo>
                <a:lnTo>
                  <a:pt x="743" y="944"/>
                </a:lnTo>
                <a:lnTo>
                  <a:pt x="734" y="947"/>
                </a:lnTo>
                <a:lnTo>
                  <a:pt x="726" y="951"/>
                </a:lnTo>
                <a:lnTo>
                  <a:pt x="719" y="957"/>
                </a:lnTo>
                <a:lnTo>
                  <a:pt x="714" y="962"/>
                </a:lnTo>
                <a:lnTo>
                  <a:pt x="710" y="967"/>
                </a:lnTo>
                <a:lnTo>
                  <a:pt x="706" y="973"/>
                </a:lnTo>
                <a:lnTo>
                  <a:pt x="703" y="980"/>
                </a:lnTo>
                <a:lnTo>
                  <a:pt x="697" y="994"/>
                </a:lnTo>
                <a:lnTo>
                  <a:pt x="695" y="1010"/>
                </a:lnTo>
                <a:lnTo>
                  <a:pt x="692" y="1027"/>
                </a:lnTo>
                <a:lnTo>
                  <a:pt x="691" y="1046"/>
                </a:lnTo>
                <a:lnTo>
                  <a:pt x="680" y="1048"/>
                </a:lnTo>
                <a:lnTo>
                  <a:pt x="671" y="1051"/>
                </a:lnTo>
                <a:lnTo>
                  <a:pt x="663" y="1054"/>
                </a:lnTo>
                <a:lnTo>
                  <a:pt x="656" y="1058"/>
                </a:lnTo>
                <a:lnTo>
                  <a:pt x="650" y="1062"/>
                </a:lnTo>
                <a:lnTo>
                  <a:pt x="645" y="1067"/>
                </a:lnTo>
                <a:lnTo>
                  <a:pt x="641" y="1072"/>
                </a:lnTo>
                <a:lnTo>
                  <a:pt x="637" y="1078"/>
                </a:lnTo>
                <a:lnTo>
                  <a:pt x="632" y="1091"/>
                </a:lnTo>
                <a:lnTo>
                  <a:pt x="628" y="1106"/>
                </a:lnTo>
                <a:lnTo>
                  <a:pt x="624" y="1123"/>
                </a:lnTo>
                <a:lnTo>
                  <a:pt x="622" y="1141"/>
                </a:lnTo>
                <a:lnTo>
                  <a:pt x="610" y="1144"/>
                </a:lnTo>
                <a:lnTo>
                  <a:pt x="601" y="1145"/>
                </a:lnTo>
                <a:lnTo>
                  <a:pt x="592" y="1148"/>
                </a:lnTo>
                <a:lnTo>
                  <a:pt x="583" y="1152"/>
                </a:lnTo>
                <a:lnTo>
                  <a:pt x="575" y="1156"/>
                </a:lnTo>
                <a:lnTo>
                  <a:pt x="569" y="1161"/>
                </a:lnTo>
                <a:lnTo>
                  <a:pt x="562" y="1166"/>
                </a:lnTo>
                <a:lnTo>
                  <a:pt x="557" y="1171"/>
                </a:lnTo>
                <a:lnTo>
                  <a:pt x="546" y="1183"/>
                </a:lnTo>
                <a:lnTo>
                  <a:pt x="539" y="1197"/>
                </a:lnTo>
                <a:lnTo>
                  <a:pt x="532" y="1213"/>
                </a:lnTo>
                <a:lnTo>
                  <a:pt x="527" y="1228"/>
                </a:lnTo>
                <a:lnTo>
                  <a:pt x="519" y="1261"/>
                </a:lnTo>
                <a:lnTo>
                  <a:pt x="513" y="1295"/>
                </a:lnTo>
                <a:lnTo>
                  <a:pt x="509" y="1310"/>
                </a:lnTo>
                <a:lnTo>
                  <a:pt x="503" y="1325"/>
                </a:lnTo>
                <a:lnTo>
                  <a:pt x="498" y="1338"/>
                </a:lnTo>
                <a:lnTo>
                  <a:pt x="490" y="1349"/>
                </a:lnTo>
                <a:lnTo>
                  <a:pt x="479" y="1342"/>
                </a:lnTo>
                <a:lnTo>
                  <a:pt x="467" y="1336"/>
                </a:lnTo>
                <a:lnTo>
                  <a:pt x="457" y="1334"/>
                </a:lnTo>
                <a:lnTo>
                  <a:pt x="448" y="1334"/>
                </a:lnTo>
                <a:lnTo>
                  <a:pt x="438" y="1336"/>
                </a:lnTo>
                <a:lnTo>
                  <a:pt x="431" y="1340"/>
                </a:lnTo>
                <a:lnTo>
                  <a:pt x="423" y="1347"/>
                </a:lnTo>
                <a:lnTo>
                  <a:pt x="416" y="1355"/>
                </a:lnTo>
                <a:lnTo>
                  <a:pt x="411" y="1362"/>
                </a:lnTo>
                <a:lnTo>
                  <a:pt x="405" y="1373"/>
                </a:lnTo>
                <a:lnTo>
                  <a:pt x="399" y="1383"/>
                </a:lnTo>
                <a:lnTo>
                  <a:pt x="395" y="1394"/>
                </a:lnTo>
                <a:lnTo>
                  <a:pt x="386" y="1417"/>
                </a:lnTo>
                <a:lnTo>
                  <a:pt x="377" y="1438"/>
                </a:lnTo>
                <a:lnTo>
                  <a:pt x="367" y="1440"/>
                </a:lnTo>
                <a:lnTo>
                  <a:pt x="358" y="1444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86" name="Freeform 51"/>
          <p:cNvSpPr>
            <a:spLocks/>
          </p:cNvSpPr>
          <p:nvPr/>
        </p:nvSpPr>
        <p:spPr bwMode="auto">
          <a:xfrm>
            <a:off x="3001963" y="3444875"/>
            <a:ext cx="649287" cy="509588"/>
          </a:xfrm>
          <a:custGeom>
            <a:avLst/>
            <a:gdLst>
              <a:gd name="T0" fmla="*/ 2147483647 w 1636"/>
              <a:gd name="T1" fmla="*/ 2147483647 h 1284"/>
              <a:gd name="T2" fmla="*/ 2147483647 w 1636"/>
              <a:gd name="T3" fmla="*/ 2147483647 h 1284"/>
              <a:gd name="T4" fmla="*/ 2147483647 w 1636"/>
              <a:gd name="T5" fmla="*/ 2147483647 h 1284"/>
              <a:gd name="T6" fmla="*/ 2147483647 w 1636"/>
              <a:gd name="T7" fmla="*/ 2147483647 h 1284"/>
              <a:gd name="T8" fmla="*/ 2147483647 w 1636"/>
              <a:gd name="T9" fmla="*/ 2147483647 h 1284"/>
              <a:gd name="T10" fmla="*/ 2147483647 w 1636"/>
              <a:gd name="T11" fmla="*/ 2147483647 h 1284"/>
              <a:gd name="T12" fmla="*/ 2147483647 w 1636"/>
              <a:gd name="T13" fmla="*/ 2147483647 h 1284"/>
              <a:gd name="T14" fmla="*/ 2147483647 w 1636"/>
              <a:gd name="T15" fmla="*/ 2147483647 h 1284"/>
              <a:gd name="T16" fmla="*/ 2147483647 w 1636"/>
              <a:gd name="T17" fmla="*/ 2147483647 h 1284"/>
              <a:gd name="T18" fmla="*/ 2147483647 w 1636"/>
              <a:gd name="T19" fmla="*/ 2147483647 h 1284"/>
              <a:gd name="T20" fmla="*/ 2147483647 w 1636"/>
              <a:gd name="T21" fmla="*/ 2147483647 h 1284"/>
              <a:gd name="T22" fmla="*/ 2147483647 w 1636"/>
              <a:gd name="T23" fmla="*/ 2147483647 h 1284"/>
              <a:gd name="T24" fmla="*/ 2147483647 w 1636"/>
              <a:gd name="T25" fmla="*/ 2147483647 h 1284"/>
              <a:gd name="T26" fmla="*/ 2147483647 w 1636"/>
              <a:gd name="T27" fmla="*/ 2147483647 h 1284"/>
              <a:gd name="T28" fmla="*/ 2147483647 w 1636"/>
              <a:gd name="T29" fmla="*/ 2147483647 h 1284"/>
              <a:gd name="T30" fmla="*/ 2147483647 w 1636"/>
              <a:gd name="T31" fmla="*/ 2147483647 h 1284"/>
              <a:gd name="T32" fmla="*/ 2147483647 w 1636"/>
              <a:gd name="T33" fmla="*/ 2147483647 h 1284"/>
              <a:gd name="T34" fmla="*/ 2147483647 w 1636"/>
              <a:gd name="T35" fmla="*/ 2147483647 h 1284"/>
              <a:gd name="T36" fmla="*/ 2147483647 w 1636"/>
              <a:gd name="T37" fmla="*/ 2147483647 h 1284"/>
              <a:gd name="T38" fmla="*/ 2147483647 w 1636"/>
              <a:gd name="T39" fmla="*/ 2147483647 h 1284"/>
              <a:gd name="T40" fmla="*/ 2147483647 w 1636"/>
              <a:gd name="T41" fmla="*/ 2147483647 h 1284"/>
              <a:gd name="T42" fmla="*/ 2147483647 w 1636"/>
              <a:gd name="T43" fmla="*/ 2147483647 h 1284"/>
              <a:gd name="T44" fmla="*/ 2147483647 w 1636"/>
              <a:gd name="T45" fmla="*/ 2147483647 h 1284"/>
              <a:gd name="T46" fmla="*/ 2147483647 w 1636"/>
              <a:gd name="T47" fmla="*/ 2147483647 h 1284"/>
              <a:gd name="T48" fmla="*/ 2147483647 w 1636"/>
              <a:gd name="T49" fmla="*/ 2147483647 h 1284"/>
              <a:gd name="T50" fmla="*/ 2147483647 w 1636"/>
              <a:gd name="T51" fmla="*/ 2147483647 h 1284"/>
              <a:gd name="T52" fmla="*/ 2147483647 w 1636"/>
              <a:gd name="T53" fmla="*/ 2147483647 h 1284"/>
              <a:gd name="T54" fmla="*/ 2147483647 w 1636"/>
              <a:gd name="T55" fmla="*/ 2147483647 h 1284"/>
              <a:gd name="T56" fmla="*/ 2147483647 w 1636"/>
              <a:gd name="T57" fmla="*/ 2147483647 h 1284"/>
              <a:gd name="T58" fmla="*/ 2147483647 w 1636"/>
              <a:gd name="T59" fmla="*/ 2147483647 h 1284"/>
              <a:gd name="T60" fmla="*/ 2147483647 w 1636"/>
              <a:gd name="T61" fmla="*/ 2147483647 h 1284"/>
              <a:gd name="T62" fmla="*/ 2147483647 w 1636"/>
              <a:gd name="T63" fmla="*/ 2147483647 h 1284"/>
              <a:gd name="T64" fmla="*/ 2147483647 w 1636"/>
              <a:gd name="T65" fmla="*/ 2147483647 h 1284"/>
              <a:gd name="T66" fmla="*/ 2147483647 w 1636"/>
              <a:gd name="T67" fmla="*/ 2147483647 h 1284"/>
              <a:gd name="T68" fmla="*/ 2147483647 w 1636"/>
              <a:gd name="T69" fmla="*/ 2147483647 h 1284"/>
              <a:gd name="T70" fmla="*/ 2147483647 w 1636"/>
              <a:gd name="T71" fmla="*/ 2147483647 h 1284"/>
              <a:gd name="T72" fmla="*/ 2147483647 w 1636"/>
              <a:gd name="T73" fmla="*/ 2147483647 h 1284"/>
              <a:gd name="T74" fmla="*/ 2147483647 w 1636"/>
              <a:gd name="T75" fmla="*/ 2147483647 h 1284"/>
              <a:gd name="T76" fmla="*/ 2147483647 w 1636"/>
              <a:gd name="T77" fmla="*/ 2147483647 h 1284"/>
              <a:gd name="T78" fmla="*/ 2147483647 w 1636"/>
              <a:gd name="T79" fmla="*/ 2147483647 h 1284"/>
              <a:gd name="T80" fmla="*/ 2147483647 w 1636"/>
              <a:gd name="T81" fmla="*/ 2147483647 h 1284"/>
              <a:gd name="T82" fmla="*/ 2147483647 w 1636"/>
              <a:gd name="T83" fmla="*/ 2147483647 h 1284"/>
              <a:gd name="T84" fmla="*/ 2147483647 w 1636"/>
              <a:gd name="T85" fmla="*/ 2147483647 h 1284"/>
              <a:gd name="T86" fmla="*/ 2147483647 w 1636"/>
              <a:gd name="T87" fmla="*/ 2147483647 h 1284"/>
              <a:gd name="T88" fmla="*/ 2147483647 w 1636"/>
              <a:gd name="T89" fmla="*/ 2147483647 h 1284"/>
              <a:gd name="T90" fmla="*/ 2147483647 w 1636"/>
              <a:gd name="T91" fmla="*/ 2147483647 h 1284"/>
              <a:gd name="T92" fmla="*/ 2147483647 w 1636"/>
              <a:gd name="T93" fmla="*/ 2147483647 h 1284"/>
              <a:gd name="T94" fmla="*/ 2147483647 w 1636"/>
              <a:gd name="T95" fmla="*/ 2147483647 h 1284"/>
              <a:gd name="T96" fmla="*/ 2147483647 w 1636"/>
              <a:gd name="T97" fmla="*/ 2147483647 h 1284"/>
              <a:gd name="T98" fmla="*/ 2147483647 w 1636"/>
              <a:gd name="T99" fmla="*/ 2147483647 h 1284"/>
              <a:gd name="T100" fmla="*/ 2147483647 w 1636"/>
              <a:gd name="T101" fmla="*/ 2147483647 h 1284"/>
              <a:gd name="T102" fmla="*/ 2147483647 w 1636"/>
              <a:gd name="T103" fmla="*/ 2147483647 h 1284"/>
              <a:gd name="T104" fmla="*/ 2147483647 w 1636"/>
              <a:gd name="T105" fmla="*/ 2147483647 h 1284"/>
              <a:gd name="T106" fmla="*/ 2147483647 w 1636"/>
              <a:gd name="T107" fmla="*/ 2147483647 h 1284"/>
              <a:gd name="T108" fmla="*/ 2147483647 w 1636"/>
              <a:gd name="T109" fmla="*/ 2147483647 h 128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636"/>
              <a:gd name="T166" fmla="*/ 0 h 1284"/>
              <a:gd name="T167" fmla="*/ 1636 w 1636"/>
              <a:gd name="T168" fmla="*/ 1284 h 128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636" h="1284">
                <a:moveTo>
                  <a:pt x="574" y="1284"/>
                </a:moveTo>
                <a:lnTo>
                  <a:pt x="559" y="1257"/>
                </a:lnTo>
                <a:lnTo>
                  <a:pt x="544" y="1234"/>
                </a:lnTo>
                <a:lnTo>
                  <a:pt x="538" y="1223"/>
                </a:lnTo>
                <a:lnTo>
                  <a:pt x="531" y="1213"/>
                </a:lnTo>
                <a:lnTo>
                  <a:pt x="523" y="1204"/>
                </a:lnTo>
                <a:lnTo>
                  <a:pt x="517" y="1196"/>
                </a:lnTo>
                <a:lnTo>
                  <a:pt x="508" y="1189"/>
                </a:lnTo>
                <a:lnTo>
                  <a:pt x="500" y="1183"/>
                </a:lnTo>
                <a:lnTo>
                  <a:pt x="490" y="1178"/>
                </a:lnTo>
                <a:lnTo>
                  <a:pt x="479" y="1172"/>
                </a:lnTo>
                <a:lnTo>
                  <a:pt x="468" y="1169"/>
                </a:lnTo>
                <a:lnTo>
                  <a:pt x="453" y="1166"/>
                </a:lnTo>
                <a:lnTo>
                  <a:pt x="439" y="1165"/>
                </a:lnTo>
                <a:lnTo>
                  <a:pt x="422" y="1165"/>
                </a:lnTo>
                <a:lnTo>
                  <a:pt x="413" y="1156"/>
                </a:lnTo>
                <a:lnTo>
                  <a:pt x="405" y="1146"/>
                </a:lnTo>
                <a:lnTo>
                  <a:pt x="399" y="1137"/>
                </a:lnTo>
                <a:lnTo>
                  <a:pt x="393" y="1128"/>
                </a:lnTo>
                <a:lnTo>
                  <a:pt x="384" y="1107"/>
                </a:lnTo>
                <a:lnTo>
                  <a:pt x="378" y="1087"/>
                </a:lnTo>
                <a:lnTo>
                  <a:pt x="369" y="1044"/>
                </a:lnTo>
                <a:lnTo>
                  <a:pt x="357" y="999"/>
                </a:lnTo>
                <a:lnTo>
                  <a:pt x="339" y="992"/>
                </a:lnTo>
                <a:lnTo>
                  <a:pt x="324" y="984"/>
                </a:lnTo>
                <a:lnTo>
                  <a:pt x="313" y="975"/>
                </a:lnTo>
                <a:lnTo>
                  <a:pt x="302" y="966"/>
                </a:lnTo>
                <a:lnTo>
                  <a:pt x="294" y="954"/>
                </a:lnTo>
                <a:lnTo>
                  <a:pt x="288" y="941"/>
                </a:lnTo>
                <a:lnTo>
                  <a:pt x="283" y="925"/>
                </a:lnTo>
                <a:lnTo>
                  <a:pt x="278" y="907"/>
                </a:lnTo>
                <a:lnTo>
                  <a:pt x="261" y="885"/>
                </a:lnTo>
                <a:lnTo>
                  <a:pt x="246" y="867"/>
                </a:lnTo>
                <a:lnTo>
                  <a:pt x="232" y="852"/>
                </a:lnTo>
                <a:lnTo>
                  <a:pt x="216" y="839"/>
                </a:lnTo>
                <a:lnTo>
                  <a:pt x="209" y="834"/>
                </a:lnTo>
                <a:lnTo>
                  <a:pt x="200" y="830"/>
                </a:lnTo>
                <a:lnTo>
                  <a:pt x="190" y="826"/>
                </a:lnTo>
                <a:lnTo>
                  <a:pt x="181" y="823"/>
                </a:lnTo>
                <a:lnTo>
                  <a:pt x="170" y="820"/>
                </a:lnTo>
                <a:lnTo>
                  <a:pt x="158" y="817"/>
                </a:lnTo>
                <a:lnTo>
                  <a:pt x="145" y="816"/>
                </a:lnTo>
                <a:lnTo>
                  <a:pt x="132" y="815"/>
                </a:lnTo>
                <a:lnTo>
                  <a:pt x="128" y="808"/>
                </a:lnTo>
                <a:lnTo>
                  <a:pt x="124" y="803"/>
                </a:lnTo>
                <a:lnTo>
                  <a:pt x="120" y="799"/>
                </a:lnTo>
                <a:lnTo>
                  <a:pt x="115" y="795"/>
                </a:lnTo>
                <a:lnTo>
                  <a:pt x="103" y="789"/>
                </a:lnTo>
                <a:lnTo>
                  <a:pt x="90" y="784"/>
                </a:lnTo>
                <a:lnTo>
                  <a:pt x="89" y="771"/>
                </a:lnTo>
                <a:lnTo>
                  <a:pt x="84" y="757"/>
                </a:lnTo>
                <a:lnTo>
                  <a:pt x="79" y="744"/>
                </a:lnTo>
                <a:lnTo>
                  <a:pt x="72" y="734"/>
                </a:lnTo>
                <a:lnTo>
                  <a:pt x="56" y="712"/>
                </a:lnTo>
                <a:lnTo>
                  <a:pt x="38" y="691"/>
                </a:lnTo>
                <a:lnTo>
                  <a:pt x="30" y="681"/>
                </a:lnTo>
                <a:lnTo>
                  <a:pt x="23" y="670"/>
                </a:lnTo>
                <a:lnTo>
                  <a:pt x="15" y="660"/>
                </a:lnTo>
                <a:lnTo>
                  <a:pt x="10" y="650"/>
                </a:lnTo>
                <a:lnTo>
                  <a:pt x="4" y="639"/>
                </a:lnTo>
                <a:lnTo>
                  <a:pt x="2" y="627"/>
                </a:lnTo>
                <a:lnTo>
                  <a:pt x="0" y="616"/>
                </a:lnTo>
                <a:lnTo>
                  <a:pt x="2" y="603"/>
                </a:lnTo>
                <a:lnTo>
                  <a:pt x="19" y="597"/>
                </a:lnTo>
                <a:lnTo>
                  <a:pt x="32" y="591"/>
                </a:lnTo>
                <a:lnTo>
                  <a:pt x="43" y="584"/>
                </a:lnTo>
                <a:lnTo>
                  <a:pt x="52" y="577"/>
                </a:lnTo>
                <a:lnTo>
                  <a:pt x="60" y="568"/>
                </a:lnTo>
                <a:lnTo>
                  <a:pt x="66" y="557"/>
                </a:lnTo>
                <a:lnTo>
                  <a:pt x="71" y="547"/>
                </a:lnTo>
                <a:lnTo>
                  <a:pt x="73" y="535"/>
                </a:lnTo>
                <a:lnTo>
                  <a:pt x="76" y="523"/>
                </a:lnTo>
                <a:lnTo>
                  <a:pt x="77" y="510"/>
                </a:lnTo>
                <a:lnTo>
                  <a:pt x="77" y="496"/>
                </a:lnTo>
                <a:lnTo>
                  <a:pt x="77" y="482"/>
                </a:lnTo>
                <a:lnTo>
                  <a:pt x="76" y="452"/>
                </a:lnTo>
                <a:lnTo>
                  <a:pt x="76" y="418"/>
                </a:lnTo>
                <a:lnTo>
                  <a:pt x="81" y="404"/>
                </a:lnTo>
                <a:lnTo>
                  <a:pt x="88" y="391"/>
                </a:lnTo>
                <a:lnTo>
                  <a:pt x="95" y="378"/>
                </a:lnTo>
                <a:lnTo>
                  <a:pt x="103" y="366"/>
                </a:lnTo>
                <a:lnTo>
                  <a:pt x="112" y="354"/>
                </a:lnTo>
                <a:lnTo>
                  <a:pt x="121" y="344"/>
                </a:lnTo>
                <a:lnTo>
                  <a:pt x="131" y="335"/>
                </a:lnTo>
                <a:lnTo>
                  <a:pt x="141" y="327"/>
                </a:lnTo>
                <a:lnTo>
                  <a:pt x="151" y="320"/>
                </a:lnTo>
                <a:lnTo>
                  <a:pt x="163" y="316"/>
                </a:lnTo>
                <a:lnTo>
                  <a:pt x="176" y="314"/>
                </a:lnTo>
                <a:lnTo>
                  <a:pt x="189" y="313"/>
                </a:lnTo>
                <a:lnTo>
                  <a:pt x="202" y="314"/>
                </a:lnTo>
                <a:lnTo>
                  <a:pt x="216" y="316"/>
                </a:lnTo>
                <a:lnTo>
                  <a:pt x="231" y="322"/>
                </a:lnTo>
                <a:lnTo>
                  <a:pt x="246" y="329"/>
                </a:lnTo>
                <a:lnTo>
                  <a:pt x="274" y="322"/>
                </a:lnTo>
                <a:lnTo>
                  <a:pt x="301" y="313"/>
                </a:lnTo>
                <a:lnTo>
                  <a:pt x="328" y="305"/>
                </a:lnTo>
                <a:lnTo>
                  <a:pt x="357" y="297"/>
                </a:lnTo>
                <a:lnTo>
                  <a:pt x="358" y="277"/>
                </a:lnTo>
                <a:lnTo>
                  <a:pt x="361" y="258"/>
                </a:lnTo>
                <a:lnTo>
                  <a:pt x="365" y="238"/>
                </a:lnTo>
                <a:lnTo>
                  <a:pt x="370" y="222"/>
                </a:lnTo>
                <a:lnTo>
                  <a:pt x="379" y="185"/>
                </a:lnTo>
                <a:lnTo>
                  <a:pt x="387" y="149"/>
                </a:lnTo>
                <a:lnTo>
                  <a:pt x="402" y="151"/>
                </a:lnTo>
                <a:lnTo>
                  <a:pt x="417" y="155"/>
                </a:lnTo>
                <a:lnTo>
                  <a:pt x="430" y="160"/>
                </a:lnTo>
                <a:lnTo>
                  <a:pt x="443" y="166"/>
                </a:lnTo>
                <a:lnTo>
                  <a:pt x="465" y="176"/>
                </a:lnTo>
                <a:lnTo>
                  <a:pt x="483" y="182"/>
                </a:lnTo>
                <a:lnTo>
                  <a:pt x="492" y="184"/>
                </a:lnTo>
                <a:lnTo>
                  <a:pt x="500" y="184"/>
                </a:lnTo>
                <a:lnTo>
                  <a:pt x="504" y="182"/>
                </a:lnTo>
                <a:lnTo>
                  <a:pt x="508" y="180"/>
                </a:lnTo>
                <a:lnTo>
                  <a:pt x="510" y="177"/>
                </a:lnTo>
                <a:lnTo>
                  <a:pt x="514" y="173"/>
                </a:lnTo>
                <a:lnTo>
                  <a:pt x="521" y="164"/>
                </a:lnTo>
                <a:lnTo>
                  <a:pt x="527" y="151"/>
                </a:lnTo>
                <a:lnTo>
                  <a:pt x="534" y="134"/>
                </a:lnTo>
                <a:lnTo>
                  <a:pt x="540" y="112"/>
                </a:lnTo>
                <a:lnTo>
                  <a:pt x="552" y="111"/>
                </a:lnTo>
                <a:lnTo>
                  <a:pt x="562" y="110"/>
                </a:lnTo>
                <a:lnTo>
                  <a:pt x="570" y="111"/>
                </a:lnTo>
                <a:lnTo>
                  <a:pt x="578" y="112"/>
                </a:lnTo>
                <a:lnTo>
                  <a:pt x="585" y="115"/>
                </a:lnTo>
                <a:lnTo>
                  <a:pt x="591" y="120"/>
                </a:lnTo>
                <a:lnTo>
                  <a:pt x="599" y="125"/>
                </a:lnTo>
                <a:lnTo>
                  <a:pt x="608" y="133"/>
                </a:lnTo>
                <a:lnTo>
                  <a:pt x="634" y="134"/>
                </a:lnTo>
                <a:lnTo>
                  <a:pt x="661" y="137"/>
                </a:lnTo>
                <a:lnTo>
                  <a:pt x="689" y="140"/>
                </a:lnTo>
                <a:lnTo>
                  <a:pt x="717" y="143"/>
                </a:lnTo>
                <a:lnTo>
                  <a:pt x="745" y="147"/>
                </a:lnTo>
                <a:lnTo>
                  <a:pt x="772" y="149"/>
                </a:lnTo>
                <a:lnTo>
                  <a:pt x="798" y="150"/>
                </a:lnTo>
                <a:lnTo>
                  <a:pt x="824" y="149"/>
                </a:lnTo>
                <a:lnTo>
                  <a:pt x="825" y="136"/>
                </a:lnTo>
                <a:lnTo>
                  <a:pt x="827" y="123"/>
                </a:lnTo>
                <a:lnTo>
                  <a:pt x="828" y="110"/>
                </a:lnTo>
                <a:lnTo>
                  <a:pt x="829" y="97"/>
                </a:lnTo>
                <a:lnTo>
                  <a:pt x="868" y="91"/>
                </a:lnTo>
                <a:lnTo>
                  <a:pt x="894" y="86"/>
                </a:lnTo>
                <a:lnTo>
                  <a:pt x="920" y="78"/>
                </a:lnTo>
                <a:lnTo>
                  <a:pt x="958" y="64"/>
                </a:lnTo>
                <a:lnTo>
                  <a:pt x="961" y="49"/>
                </a:lnTo>
                <a:lnTo>
                  <a:pt x="964" y="34"/>
                </a:lnTo>
                <a:lnTo>
                  <a:pt x="967" y="20"/>
                </a:lnTo>
                <a:lnTo>
                  <a:pt x="970" y="4"/>
                </a:lnTo>
                <a:lnTo>
                  <a:pt x="981" y="3"/>
                </a:lnTo>
                <a:lnTo>
                  <a:pt x="993" y="2"/>
                </a:lnTo>
                <a:lnTo>
                  <a:pt x="1005" y="2"/>
                </a:lnTo>
                <a:lnTo>
                  <a:pt x="1017" y="0"/>
                </a:lnTo>
                <a:lnTo>
                  <a:pt x="1019" y="11"/>
                </a:lnTo>
                <a:lnTo>
                  <a:pt x="1024" y="19"/>
                </a:lnTo>
                <a:lnTo>
                  <a:pt x="1028" y="25"/>
                </a:lnTo>
                <a:lnTo>
                  <a:pt x="1032" y="32"/>
                </a:lnTo>
                <a:lnTo>
                  <a:pt x="1037" y="37"/>
                </a:lnTo>
                <a:lnTo>
                  <a:pt x="1043" y="42"/>
                </a:lnTo>
                <a:lnTo>
                  <a:pt x="1049" y="46"/>
                </a:lnTo>
                <a:lnTo>
                  <a:pt x="1054" y="49"/>
                </a:lnTo>
                <a:lnTo>
                  <a:pt x="1069" y="54"/>
                </a:lnTo>
                <a:lnTo>
                  <a:pt x="1083" y="56"/>
                </a:lnTo>
                <a:lnTo>
                  <a:pt x="1100" y="59"/>
                </a:lnTo>
                <a:lnTo>
                  <a:pt x="1118" y="60"/>
                </a:lnTo>
                <a:lnTo>
                  <a:pt x="1148" y="73"/>
                </a:lnTo>
                <a:lnTo>
                  <a:pt x="1179" y="86"/>
                </a:lnTo>
                <a:lnTo>
                  <a:pt x="1212" y="101"/>
                </a:lnTo>
                <a:lnTo>
                  <a:pt x="1243" y="115"/>
                </a:lnTo>
                <a:lnTo>
                  <a:pt x="1252" y="140"/>
                </a:lnTo>
                <a:lnTo>
                  <a:pt x="1260" y="162"/>
                </a:lnTo>
                <a:lnTo>
                  <a:pt x="1265" y="172"/>
                </a:lnTo>
                <a:lnTo>
                  <a:pt x="1273" y="181"/>
                </a:lnTo>
                <a:lnTo>
                  <a:pt x="1282" y="189"/>
                </a:lnTo>
                <a:lnTo>
                  <a:pt x="1292" y="197"/>
                </a:lnTo>
                <a:lnTo>
                  <a:pt x="1295" y="211"/>
                </a:lnTo>
                <a:lnTo>
                  <a:pt x="1298" y="224"/>
                </a:lnTo>
                <a:lnTo>
                  <a:pt x="1301" y="236"/>
                </a:lnTo>
                <a:lnTo>
                  <a:pt x="1305" y="248"/>
                </a:lnTo>
                <a:lnTo>
                  <a:pt x="1312" y="258"/>
                </a:lnTo>
                <a:lnTo>
                  <a:pt x="1320" y="268"/>
                </a:lnTo>
                <a:lnTo>
                  <a:pt x="1330" y="276"/>
                </a:lnTo>
                <a:lnTo>
                  <a:pt x="1343" y="284"/>
                </a:lnTo>
                <a:lnTo>
                  <a:pt x="1343" y="301"/>
                </a:lnTo>
                <a:lnTo>
                  <a:pt x="1343" y="318"/>
                </a:lnTo>
                <a:lnTo>
                  <a:pt x="1343" y="336"/>
                </a:lnTo>
                <a:lnTo>
                  <a:pt x="1343" y="353"/>
                </a:lnTo>
                <a:lnTo>
                  <a:pt x="1356" y="358"/>
                </a:lnTo>
                <a:lnTo>
                  <a:pt x="1369" y="365"/>
                </a:lnTo>
                <a:lnTo>
                  <a:pt x="1382" y="371"/>
                </a:lnTo>
                <a:lnTo>
                  <a:pt x="1395" y="378"/>
                </a:lnTo>
                <a:lnTo>
                  <a:pt x="1394" y="393"/>
                </a:lnTo>
                <a:lnTo>
                  <a:pt x="1393" y="408"/>
                </a:lnTo>
                <a:lnTo>
                  <a:pt x="1390" y="423"/>
                </a:lnTo>
                <a:lnTo>
                  <a:pt x="1386" y="439"/>
                </a:lnTo>
                <a:lnTo>
                  <a:pt x="1383" y="453"/>
                </a:lnTo>
                <a:lnTo>
                  <a:pt x="1381" y="467"/>
                </a:lnTo>
                <a:lnTo>
                  <a:pt x="1380" y="483"/>
                </a:lnTo>
                <a:lnTo>
                  <a:pt x="1380" y="497"/>
                </a:lnTo>
                <a:lnTo>
                  <a:pt x="1400" y="508"/>
                </a:lnTo>
                <a:lnTo>
                  <a:pt x="1429" y="519"/>
                </a:lnTo>
                <a:lnTo>
                  <a:pt x="1445" y="527"/>
                </a:lnTo>
                <a:lnTo>
                  <a:pt x="1463" y="535"/>
                </a:lnTo>
                <a:lnTo>
                  <a:pt x="1484" y="545"/>
                </a:lnTo>
                <a:lnTo>
                  <a:pt x="1504" y="557"/>
                </a:lnTo>
                <a:lnTo>
                  <a:pt x="1512" y="565"/>
                </a:lnTo>
                <a:lnTo>
                  <a:pt x="1520" y="573"/>
                </a:lnTo>
                <a:lnTo>
                  <a:pt x="1529" y="578"/>
                </a:lnTo>
                <a:lnTo>
                  <a:pt x="1537" y="582"/>
                </a:lnTo>
                <a:lnTo>
                  <a:pt x="1555" y="588"/>
                </a:lnTo>
                <a:lnTo>
                  <a:pt x="1575" y="594"/>
                </a:lnTo>
                <a:lnTo>
                  <a:pt x="1593" y="597"/>
                </a:lnTo>
                <a:lnTo>
                  <a:pt x="1608" y="604"/>
                </a:lnTo>
                <a:lnTo>
                  <a:pt x="1616" y="608"/>
                </a:lnTo>
                <a:lnTo>
                  <a:pt x="1624" y="613"/>
                </a:lnTo>
                <a:lnTo>
                  <a:pt x="1629" y="620"/>
                </a:lnTo>
                <a:lnTo>
                  <a:pt x="1636" y="627"/>
                </a:lnTo>
                <a:lnTo>
                  <a:pt x="1632" y="635"/>
                </a:lnTo>
                <a:lnTo>
                  <a:pt x="1627" y="640"/>
                </a:lnTo>
                <a:lnTo>
                  <a:pt x="1620" y="647"/>
                </a:lnTo>
                <a:lnTo>
                  <a:pt x="1612" y="653"/>
                </a:lnTo>
                <a:lnTo>
                  <a:pt x="1594" y="664"/>
                </a:lnTo>
                <a:lnTo>
                  <a:pt x="1575" y="673"/>
                </a:lnTo>
                <a:lnTo>
                  <a:pt x="1554" y="681"/>
                </a:lnTo>
                <a:lnTo>
                  <a:pt x="1533" y="687"/>
                </a:lnTo>
                <a:lnTo>
                  <a:pt x="1514" y="691"/>
                </a:lnTo>
                <a:lnTo>
                  <a:pt x="1497" y="695"/>
                </a:lnTo>
                <a:lnTo>
                  <a:pt x="1461" y="685"/>
                </a:lnTo>
                <a:lnTo>
                  <a:pt x="1426" y="676"/>
                </a:lnTo>
                <a:lnTo>
                  <a:pt x="1391" y="665"/>
                </a:lnTo>
                <a:lnTo>
                  <a:pt x="1356" y="657"/>
                </a:lnTo>
                <a:lnTo>
                  <a:pt x="1318" y="657"/>
                </a:lnTo>
                <a:lnTo>
                  <a:pt x="1282" y="656"/>
                </a:lnTo>
                <a:lnTo>
                  <a:pt x="1264" y="653"/>
                </a:lnTo>
                <a:lnTo>
                  <a:pt x="1246" y="651"/>
                </a:lnTo>
                <a:lnTo>
                  <a:pt x="1229" y="647"/>
                </a:lnTo>
                <a:lnTo>
                  <a:pt x="1210" y="642"/>
                </a:lnTo>
                <a:lnTo>
                  <a:pt x="1178" y="617"/>
                </a:lnTo>
                <a:lnTo>
                  <a:pt x="1157" y="601"/>
                </a:lnTo>
                <a:lnTo>
                  <a:pt x="1138" y="591"/>
                </a:lnTo>
                <a:lnTo>
                  <a:pt x="1110" y="578"/>
                </a:lnTo>
                <a:lnTo>
                  <a:pt x="1102" y="544"/>
                </a:lnTo>
                <a:lnTo>
                  <a:pt x="1097" y="516"/>
                </a:lnTo>
                <a:lnTo>
                  <a:pt x="1095" y="504"/>
                </a:lnTo>
                <a:lnTo>
                  <a:pt x="1091" y="493"/>
                </a:lnTo>
                <a:lnTo>
                  <a:pt x="1087" y="483"/>
                </a:lnTo>
                <a:lnTo>
                  <a:pt x="1083" y="475"/>
                </a:lnTo>
                <a:lnTo>
                  <a:pt x="1078" y="470"/>
                </a:lnTo>
                <a:lnTo>
                  <a:pt x="1071" y="465"/>
                </a:lnTo>
                <a:lnTo>
                  <a:pt x="1063" y="463"/>
                </a:lnTo>
                <a:lnTo>
                  <a:pt x="1054" y="462"/>
                </a:lnTo>
                <a:lnTo>
                  <a:pt x="1043" y="463"/>
                </a:lnTo>
                <a:lnTo>
                  <a:pt x="1030" y="467"/>
                </a:lnTo>
                <a:lnTo>
                  <a:pt x="1015" y="474"/>
                </a:lnTo>
                <a:lnTo>
                  <a:pt x="997" y="482"/>
                </a:lnTo>
                <a:lnTo>
                  <a:pt x="984" y="499"/>
                </a:lnTo>
                <a:lnTo>
                  <a:pt x="972" y="512"/>
                </a:lnTo>
                <a:lnTo>
                  <a:pt x="954" y="527"/>
                </a:lnTo>
                <a:lnTo>
                  <a:pt x="924" y="551"/>
                </a:lnTo>
                <a:lnTo>
                  <a:pt x="924" y="584"/>
                </a:lnTo>
                <a:lnTo>
                  <a:pt x="925" y="613"/>
                </a:lnTo>
                <a:lnTo>
                  <a:pt x="927" y="638"/>
                </a:lnTo>
                <a:lnTo>
                  <a:pt x="925" y="659"/>
                </a:lnTo>
                <a:lnTo>
                  <a:pt x="923" y="669"/>
                </a:lnTo>
                <a:lnTo>
                  <a:pt x="920" y="677"/>
                </a:lnTo>
                <a:lnTo>
                  <a:pt x="915" y="685"/>
                </a:lnTo>
                <a:lnTo>
                  <a:pt x="909" y="692"/>
                </a:lnTo>
                <a:lnTo>
                  <a:pt x="901" y="699"/>
                </a:lnTo>
                <a:lnTo>
                  <a:pt x="892" y="705"/>
                </a:lnTo>
                <a:lnTo>
                  <a:pt x="880" y="711"/>
                </a:lnTo>
                <a:lnTo>
                  <a:pt x="866" y="716"/>
                </a:lnTo>
                <a:lnTo>
                  <a:pt x="866" y="734"/>
                </a:lnTo>
                <a:lnTo>
                  <a:pt x="868" y="751"/>
                </a:lnTo>
                <a:lnTo>
                  <a:pt x="873" y="751"/>
                </a:lnTo>
                <a:lnTo>
                  <a:pt x="881" y="751"/>
                </a:lnTo>
                <a:lnTo>
                  <a:pt x="886" y="759"/>
                </a:lnTo>
                <a:lnTo>
                  <a:pt x="892" y="763"/>
                </a:lnTo>
                <a:lnTo>
                  <a:pt x="897" y="767"/>
                </a:lnTo>
                <a:lnTo>
                  <a:pt x="903" y="768"/>
                </a:lnTo>
                <a:lnTo>
                  <a:pt x="916" y="769"/>
                </a:lnTo>
                <a:lnTo>
                  <a:pt x="933" y="771"/>
                </a:lnTo>
                <a:lnTo>
                  <a:pt x="942" y="808"/>
                </a:lnTo>
                <a:lnTo>
                  <a:pt x="954" y="843"/>
                </a:lnTo>
                <a:lnTo>
                  <a:pt x="959" y="862"/>
                </a:lnTo>
                <a:lnTo>
                  <a:pt x="963" y="880"/>
                </a:lnTo>
                <a:lnTo>
                  <a:pt x="964" y="899"/>
                </a:lnTo>
                <a:lnTo>
                  <a:pt x="964" y="919"/>
                </a:lnTo>
                <a:lnTo>
                  <a:pt x="940" y="916"/>
                </a:lnTo>
                <a:lnTo>
                  <a:pt x="915" y="914"/>
                </a:lnTo>
                <a:lnTo>
                  <a:pt x="892" y="912"/>
                </a:lnTo>
                <a:lnTo>
                  <a:pt x="868" y="911"/>
                </a:lnTo>
                <a:lnTo>
                  <a:pt x="862" y="927"/>
                </a:lnTo>
                <a:lnTo>
                  <a:pt x="859" y="940"/>
                </a:lnTo>
                <a:lnTo>
                  <a:pt x="858" y="954"/>
                </a:lnTo>
                <a:lnTo>
                  <a:pt x="857" y="976"/>
                </a:lnTo>
                <a:lnTo>
                  <a:pt x="842" y="980"/>
                </a:lnTo>
                <a:lnTo>
                  <a:pt x="828" y="985"/>
                </a:lnTo>
                <a:lnTo>
                  <a:pt x="824" y="998"/>
                </a:lnTo>
                <a:lnTo>
                  <a:pt x="820" y="1010"/>
                </a:lnTo>
                <a:lnTo>
                  <a:pt x="814" y="1022"/>
                </a:lnTo>
                <a:lnTo>
                  <a:pt x="808" y="1032"/>
                </a:lnTo>
                <a:lnTo>
                  <a:pt x="802" y="1042"/>
                </a:lnTo>
                <a:lnTo>
                  <a:pt x="795" y="1054"/>
                </a:lnTo>
                <a:lnTo>
                  <a:pt x="790" y="1066"/>
                </a:lnTo>
                <a:lnTo>
                  <a:pt x="785" y="1078"/>
                </a:lnTo>
                <a:lnTo>
                  <a:pt x="750" y="1084"/>
                </a:lnTo>
                <a:lnTo>
                  <a:pt x="730" y="1088"/>
                </a:lnTo>
                <a:lnTo>
                  <a:pt x="720" y="1091"/>
                </a:lnTo>
                <a:lnTo>
                  <a:pt x="712" y="1096"/>
                </a:lnTo>
                <a:lnTo>
                  <a:pt x="712" y="1107"/>
                </a:lnTo>
                <a:lnTo>
                  <a:pt x="712" y="1118"/>
                </a:lnTo>
                <a:lnTo>
                  <a:pt x="713" y="1130"/>
                </a:lnTo>
                <a:lnTo>
                  <a:pt x="713" y="1141"/>
                </a:lnTo>
                <a:lnTo>
                  <a:pt x="720" y="1141"/>
                </a:lnTo>
                <a:lnTo>
                  <a:pt x="728" y="1141"/>
                </a:lnTo>
                <a:lnTo>
                  <a:pt x="728" y="1148"/>
                </a:lnTo>
                <a:lnTo>
                  <a:pt x="728" y="1154"/>
                </a:lnTo>
                <a:lnTo>
                  <a:pt x="715" y="1158"/>
                </a:lnTo>
                <a:lnTo>
                  <a:pt x="703" y="1161"/>
                </a:lnTo>
                <a:lnTo>
                  <a:pt x="700" y="1174"/>
                </a:lnTo>
                <a:lnTo>
                  <a:pt x="698" y="1187"/>
                </a:lnTo>
                <a:lnTo>
                  <a:pt x="696" y="1200"/>
                </a:lnTo>
                <a:lnTo>
                  <a:pt x="695" y="1213"/>
                </a:lnTo>
                <a:lnTo>
                  <a:pt x="682" y="1213"/>
                </a:lnTo>
                <a:lnTo>
                  <a:pt x="669" y="1213"/>
                </a:lnTo>
                <a:lnTo>
                  <a:pt x="663" y="1231"/>
                </a:lnTo>
                <a:lnTo>
                  <a:pt x="656" y="1247"/>
                </a:lnTo>
                <a:lnTo>
                  <a:pt x="652" y="1253"/>
                </a:lnTo>
                <a:lnTo>
                  <a:pt x="647" y="1258"/>
                </a:lnTo>
                <a:lnTo>
                  <a:pt x="643" y="1262"/>
                </a:lnTo>
                <a:lnTo>
                  <a:pt x="638" y="1267"/>
                </a:lnTo>
                <a:lnTo>
                  <a:pt x="631" y="1270"/>
                </a:lnTo>
                <a:lnTo>
                  <a:pt x="626" y="1274"/>
                </a:lnTo>
                <a:lnTo>
                  <a:pt x="618" y="1277"/>
                </a:lnTo>
                <a:lnTo>
                  <a:pt x="612" y="1278"/>
                </a:lnTo>
                <a:lnTo>
                  <a:pt x="594" y="1282"/>
                </a:lnTo>
                <a:lnTo>
                  <a:pt x="574" y="1284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87" name="Freeform 52"/>
          <p:cNvSpPr>
            <a:spLocks/>
          </p:cNvSpPr>
          <p:nvPr/>
        </p:nvSpPr>
        <p:spPr bwMode="auto">
          <a:xfrm>
            <a:off x="8343900" y="3011488"/>
            <a:ext cx="400050" cy="796925"/>
          </a:xfrm>
          <a:custGeom>
            <a:avLst/>
            <a:gdLst>
              <a:gd name="T0" fmla="*/ 2147483647 w 1008"/>
              <a:gd name="T1" fmla="*/ 2147483647 h 2010"/>
              <a:gd name="T2" fmla="*/ 2147483647 w 1008"/>
              <a:gd name="T3" fmla="*/ 2147483647 h 2010"/>
              <a:gd name="T4" fmla="*/ 2147483647 w 1008"/>
              <a:gd name="T5" fmla="*/ 2147483647 h 2010"/>
              <a:gd name="T6" fmla="*/ 2147483647 w 1008"/>
              <a:gd name="T7" fmla="*/ 2147483647 h 2010"/>
              <a:gd name="T8" fmla="*/ 2147483647 w 1008"/>
              <a:gd name="T9" fmla="*/ 2147483647 h 2010"/>
              <a:gd name="T10" fmla="*/ 2147483647 w 1008"/>
              <a:gd name="T11" fmla="*/ 2147483647 h 2010"/>
              <a:gd name="T12" fmla="*/ 2147483647 w 1008"/>
              <a:gd name="T13" fmla="*/ 2147483647 h 2010"/>
              <a:gd name="T14" fmla="*/ 2147483647 w 1008"/>
              <a:gd name="T15" fmla="*/ 2147483647 h 2010"/>
              <a:gd name="T16" fmla="*/ 2147483647 w 1008"/>
              <a:gd name="T17" fmla="*/ 2147483647 h 2010"/>
              <a:gd name="T18" fmla="*/ 2147483647 w 1008"/>
              <a:gd name="T19" fmla="*/ 2147483647 h 2010"/>
              <a:gd name="T20" fmla="*/ 2147483647 w 1008"/>
              <a:gd name="T21" fmla="*/ 2147483647 h 2010"/>
              <a:gd name="T22" fmla="*/ 2147483647 w 1008"/>
              <a:gd name="T23" fmla="*/ 2147483647 h 2010"/>
              <a:gd name="T24" fmla="*/ 2147483647 w 1008"/>
              <a:gd name="T25" fmla="*/ 2147483647 h 2010"/>
              <a:gd name="T26" fmla="*/ 2147483647 w 1008"/>
              <a:gd name="T27" fmla="*/ 2147483647 h 2010"/>
              <a:gd name="T28" fmla="*/ 2147483647 w 1008"/>
              <a:gd name="T29" fmla="*/ 2147483647 h 2010"/>
              <a:gd name="T30" fmla="*/ 2147483647 w 1008"/>
              <a:gd name="T31" fmla="*/ 2147483647 h 2010"/>
              <a:gd name="T32" fmla="*/ 2147483647 w 1008"/>
              <a:gd name="T33" fmla="*/ 2147483647 h 2010"/>
              <a:gd name="T34" fmla="*/ 2147483647 w 1008"/>
              <a:gd name="T35" fmla="*/ 2147483647 h 2010"/>
              <a:gd name="T36" fmla="*/ 2147483647 w 1008"/>
              <a:gd name="T37" fmla="*/ 2147483647 h 2010"/>
              <a:gd name="T38" fmla="*/ 2147483647 w 1008"/>
              <a:gd name="T39" fmla="*/ 2147483647 h 2010"/>
              <a:gd name="T40" fmla="*/ 2147483647 w 1008"/>
              <a:gd name="T41" fmla="*/ 2147483647 h 2010"/>
              <a:gd name="T42" fmla="*/ 2147483647 w 1008"/>
              <a:gd name="T43" fmla="*/ 2147483647 h 2010"/>
              <a:gd name="T44" fmla="*/ 2147483647 w 1008"/>
              <a:gd name="T45" fmla="*/ 2147483647 h 2010"/>
              <a:gd name="T46" fmla="*/ 2147483647 w 1008"/>
              <a:gd name="T47" fmla="*/ 2147483647 h 2010"/>
              <a:gd name="T48" fmla="*/ 2147483647 w 1008"/>
              <a:gd name="T49" fmla="*/ 2147483647 h 2010"/>
              <a:gd name="T50" fmla="*/ 2147483647 w 1008"/>
              <a:gd name="T51" fmla="*/ 2147483647 h 2010"/>
              <a:gd name="T52" fmla="*/ 2147483647 w 1008"/>
              <a:gd name="T53" fmla="*/ 2147483647 h 2010"/>
              <a:gd name="T54" fmla="*/ 2147483647 w 1008"/>
              <a:gd name="T55" fmla="*/ 2147483647 h 2010"/>
              <a:gd name="T56" fmla="*/ 2147483647 w 1008"/>
              <a:gd name="T57" fmla="*/ 2147483647 h 2010"/>
              <a:gd name="T58" fmla="*/ 2147483647 w 1008"/>
              <a:gd name="T59" fmla="*/ 2147483647 h 2010"/>
              <a:gd name="T60" fmla="*/ 2147483647 w 1008"/>
              <a:gd name="T61" fmla="*/ 2147483647 h 2010"/>
              <a:gd name="T62" fmla="*/ 2147483647 w 1008"/>
              <a:gd name="T63" fmla="*/ 2147483647 h 2010"/>
              <a:gd name="T64" fmla="*/ 2147483647 w 1008"/>
              <a:gd name="T65" fmla="*/ 2147483647 h 2010"/>
              <a:gd name="T66" fmla="*/ 2147483647 w 1008"/>
              <a:gd name="T67" fmla="*/ 2147483647 h 2010"/>
              <a:gd name="T68" fmla="*/ 2147483647 w 1008"/>
              <a:gd name="T69" fmla="*/ 2147483647 h 2010"/>
              <a:gd name="T70" fmla="*/ 2147483647 w 1008"/>
              <a:gd name="T71" fmla="*/ 2147483647 h 2010"/>
              <a:gd name="T72" fmla="*/ 2147483647 w 1008"/>
              <a:gd name="T73" fmla="*/ 2147483647 h 2010"/>
              <a:gd name="T74" fmla="*/ 2147483647 w 1008"/>
              <a:gd name="T75" fmla="*/ 2147483647 h 2010"/>
              <a:gd name="T76" fmla="*/ 2147483647 w 1008"/>
              <a:gd name="T77" fmla="*/ 2147483647 h 2010"/>
              <a:gd name="T78" fmla="*/ 2147483647 w 1008"/>
              <a:gd name="T79" fmla="*/ 2147483647 h 2010"/>
              <a:gd name="T80" fmla="*/ 2147483647 w 1008"/>
              <a:gd name="T81" fmla="*/ 2147483647 h 2010"/>
              <a:gd name="T82" fmla="*/ 2147483647 w 1008"/>
              <a:gd name="T83" fmla="*/ 2147483647 h 2010"/>
              <a:gd name="T84" fmla="*/ 2147483647 w 1008"/>
              <a:gd name="T85" fmla="*/ 2147483647 h 2010"/>
              <a:gd name="T86" fmla="*/ 2147483647 w 1008"/>
              <a:gd name="T87" fmla="*/ 2147483647 h 2010"/>
              <a:gd name="T88" fmla="*/ 2147483647 w 1008"/>
              <a:gd name="T89" fmla="*/ 2147483647 h 2010"/>
              <a:gd name="T90" fmla="*/ 2147483647 w 1008"/>
              <a:gd name="T91" fmla="*/ 2147483647 h 2010"/>
              <a:gd name="T92" fmla="*/ 2147483647 w 1008"/>
              <a:gd name="T93" fmla="*/ 2147483647 h 2010"/>
              <a:gd name="T94" fmla="*/ 2147483647 w 1008"/>
              <a:gd name="T95" fmla="*/ 2147483647 h 2010"/>
              <a:gd name="T96" fmla="*/ 2147483647 w 1008"/>
              <a:gd name="T97" fmla="*/ 2147483647 h 2010"/>
              <a:gd name="T98" fmla="*/ 2147483647 w 1008"/>
              <a:gd name="T99" fmla="*/ 2147483647 h 2010"/>
              <a:gd name="T100" fmla="*/ 2147483647 w 1008"/>
              <a:gd name="T101" fmla="*/ 2147483647 h 2010"/>
              <a:gd name="T102" fmla="*/ 2147483647 w 1008"/>
              <a:gd name="T103" fmla="*/ 2147483647 h 2010"/>
              <a:gd name="T104" fmla="*/ 2147483647 w 1008"/>
              <a:gd name="T105" fmla="*/ 2147483647 h 201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008"/>
              <a:gd name="T160" fmla="*/ 0 h 2010"/>
              <a:gd name="T161" fmla="*/ 1008 w 1008"/>
              <a:gd name="T162" fmla="*/ 2010 h 201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008" h="2010">
                <a:moveTo>
                  <a:pt x="909" y="2010"/>
                </a:moveTo>
                <a:lnTo>
                  <a:pt x="899" y="1993"/>
                </a:lnTo>
                <a:lnTo>
                  <a:pt x="887" y="1980"/>
                </a:lnTo>
                <a:lnTo>
                  <a:pt x="874" y="1968"/>
                </a:lnTo>
                <a:lnTo>
                  <a:pt x="860" y="1959"/>
                </a:lnTo>
                <a:lnTo>
                  <a:pt x="830" y="1943"/>
                </a:lnTo>
                <a:lnTo>
                  <a:pt x="793" y="1929"/>
                </a:lnTo>
                <a:lnTo>
                  <a:pt x="775" y="1899"/>
                </a:lnTo>
                <a:lnTo>
                  <a:pt x="755" y="1871"/>
                </a:lnTo>
                <a:lnTo>
                  <a:pt x="735" y="1843"/>
                </a:lnTo>
                <a:lnTo>
                  <a:pt x="715" y="1817"/>
                </a:lnTo>
                <a:lnTo>
                  <a:pt x="694" y="1791"/>
                </a:lnTo>
                <a:lnTo>
                  <a:pt x="672" y="1767"/>
                </a:lnTo>
                <a:lnTo>
                  <a:pt x="650" y="1742"/>
                </a:lnTo>
                <a:lnTo>
                  <a:pt x="628" y="1717"/>
                </a:lnTo>
                <a:lnTo>
                  <a:pt x="582" y="1672"/>
                </a:lnTo>
                <a:lnTo>
                  <a:pt x="534" y="1626"/>
                </a:lnTo>
                <a:lnTo>
                  <a:pt x="484" y="1581"/>
                </a:lnTo>
                <a:lnTo>
                  <a:pt x="432" y="1534"/>
                </a:lnTo>
                <a:lnTo>
                  <a:pt x="408" y="1502"/>
                </a:lnTo>
                <a:lnTo>
                  <a:pt x="385" y="1473"/>
                </a:lnTo>
                <a:lnTo>
                  <a:pt x="361" y="1441"/>
                </a:lnTo>
                <a:lnTo>
                  <a:pt x="338" y="1411"/>
                </a:lnTo>
                <a:lnTo>
                  <a:pt x="307" y="1389"/>
                </a:lnTo>
                <a:lnTo>
                  <a:pt x="277" y="1368"/>
                </a:lnTo>
                <a:lnTo>
                  <a:pt x="249" y="1346"/>
                </a:lnTo>
                <a:lnTo>
                  <a:pt x="225" y="1326"/>
                </a:lnTo>
                <a:lnTo>
                  <a:pt x="200" y="1303"/>
                </a:lnTo>
                <a:lnTo>
                  <a:pt x="178" y="1281"/>
                </a:lnTo>
                <a:lnTo>
                  <a:pt x="156" y="1258"/>
                </a:lnTo>
                <a:lnTo>
                  <a:pt x="136" y="1234"/>
                </a:lnTo>
                <a:lnTo>
                  <a:pt x="117" y="1210"/>
                </a:lnTo>
                <a:lnTo>
                  <a:pt x="98" y="1185"/>
                </a:lnTo>
                <a:lnTo>
                  <a:pt x="82" y="1159"/>
                </a:lnTo>
                <a:lnTo>
                  <a:pt x="65" y="1132"/>
                </a:lnTo>
                <a:lnTo>
                  <a:pt x="48" y="1103"/>
                </a:lnTo>
                <a:lnTo>
                  <a:pt x="32" y="1072"/>
                </a:lnTo>
                <a:lnTo>
                  <a:pt x="15" y="1041"/>
                </a:lnTo>
                <a:lnTo>
                  <a:pt x="0" y="1007"/>
                </a:lnTo>
                <a:lnTo>
                  <a:pt x="22" y="998"/>
                </a:lnTo>
                <a:lnTo>
                  <a:pt x="43" y="987"/>
                </a:lnTo>
                <a:lnTo>
                  <a:pt x="62" y="977"/>
                </a:lnTo>
                <a:lnTo>
                  <a:pt x="80" y="965"/>
                </a:lnTo>
                <a:lnTo>
                  <a:pt x="98" y="952"/>
                </a:lnTo>
                <a:lnTo>
                  <a:pt x="117" y="938"/>
                </a:lnTo>
                <a:lnTo>
                  <a:pt x="134" y="922"/>
                </a:lnTo>
                <a:lnTo>
                  <a:pt x="149" y="904"/>
                </a:lnTo>
                <a:lnTo>
                  <a:pt x="182" y="901"/>
                </a:lnTo>
                <a:lnTo>
                  <a:pt x="212" y="898"/>
                </a:lnTo>
                <a:lnTo>
                  <a:pt x="226" y="894"/>
                </a:lnTo>
                <a:lnTo>
                  <a:pt x="240" y="890"/>
                </a:lnTo>
                <a:lnTo>
                  <a:pt x="255" y="883"/>
                </a:lnTo>
                <a:lnTo>
                  <a:pt x="269" y="874"/>
                </a:lnTo>
                <a:lnTo>
                  <a:pt x="273" y="851"/>
                </a:lnTo>
                <a:lnTo>
                  <a:pt x="278" y="822"/>
                </a:lnTo>
                <a:lnTo>
                  <a:pt x="283" y="791"/>
                </a:lnTo>
                <a:lnTo>
                  <a:pt x="288" y="758"/>
                </a:lnTo>
                <a:lnTo>
                  <a:pt x="288" y="743"/>
                </a:lnTo>
                <a:lnTo>
                  <a:pt x="288" y="727"/>
                </a:lnTo>
                <a:lnTo>
                  <a:pt x="287" y="713"/>
                </a:lnTo>
                <a:lnTo>
                  <a:pt x="285" y="700"/>
                </a:lnTo>
                <a:lnTo>
                  <a:pt x="281" y="687"/>
                </a:lnTo>
                <a:lnTo>
                  <a:pt x="274" y="676"/>
                </a:lnTo>
                <a:lnTo>
                  <a:pt x="270" y="671"/>
                </a:lnTo>
                <a:lnTo>
                  <a:pt x="266" y="667"/>
                </a:lnTo>
                <a:lnTo>
                  <a:pt x="261" y="663"/>
                </a:lnTo>
                <a:lnTo>
                  <a:pt x="255" y="659"/>
                </a:lnTo>
                <a:lnTo>
                  <a:pt x="227" y="657"/>
                </a:lnTo>
                <a:lnTo>
                  <a:pt x="201" y="653"/>
                </a:lnTo>
                <a:lnTo>
                  <a:pt x="174" y="650"/>
                </a:lnTo>
                <a:lnTo>
                  <a:pt x="148" y="648"/>
                </a:lnTo>
                <a:lnTo>
                  <a:pt x="138" y="635"/>
                </a:lnTo>
                <a:lnTo>
                  <a:pt x="128" y="624"/>
                </a:lnTo>
                <a:lnTo>
                  <a:pt x="122" y="614"/>
                </a:lnTo>
                <a:lnTo>
                  <a:pt x="117" y="605"/>
                </a:lnTo>
                <a:lnTo>
                  <a:pt x="113" y="594"/>
                </a:lnTo>
                <a:lnTo>
                  <a:pt x="111" y="583"/>
                </a:lnTo>
                <a:lnTo>
                  <a:pt x="111" y="570"/>
                </a:lnTo>
                <a:lnTo>
                  <a:pt x="113" y="554"/>
                </a:lnTo>
                <a:lnTo>
                  <a:pt x="148" y="550"/>
                </a:lnTo>
                <a:lnTo>
                  <a:pt x="183" y="548"/>
                </a:lnTo>
                <a:lnTo>
                  <a:pt x="219" y="545"/>
                </a:lnTo>
                <a:lnTo>
                  <a:pt x="255" y="544"/>
                </a:lnTo>
                <a:lnTo>
                  <a:pt x="282" y="519"/>
                </a:lnTo>
                <a:lnTo>
                  <a:pt x="300" y="501"/>
                </a:lnTo>
                <a:lnTo>
                  <a:pt x="320" y="480"/>
                </a:lnTo>
                <a:lnTo>
                  <a:pt x="350" y="446"/>
                </a:lnTo>
                <a:lnTo>
                  <a:pt x="351" y="416"/>
                </a:lnTo>
                <a:lnTo>
                  <a:pt x="353" y="382"/>
                </a:lnTo>
                <a:lnTo>
                  <a:pt x="355" y="346"/>
                </a:lnTo>
                <a:lnTo>
                  <a:pt x="356" y="308"/>
                </a:lnTo>
                <a:lnTo>
                  <a:pt x="356" y="290"/>
                </a:lnTo>
                <a:lnTo>
                  <a:pt x="356" y="272"/>
                </a:lnTo>
                <a:lnTo>
                  <a:pt x="355" y="254"/>
                </a:lnTo>
                <a:lnTo>
                  <a:pt x="352" y="237"/>
                </a:lnTo>
                <a:lnTo>
                  <a:pt x="350" y="221"/>
                </a:lnTo>
                <a:lnTo>
                  <a:pt x="346" y="205"/>
                </a:lnTo>
                <a:lnTo>
                  <a:pt x="340" y="192"/>
                </a:lnTo>
                <a:lnTo>
                  <a:pt x="334" y="181"/>
                </a:lnTo>
                <a:lnTo>
                  <a:pt x="334" y="165"/>
                </a:lnTo>
                <a:lnTo>
                  <a:pt x="334" y="150"/>
                </a:lnTo>
                <a:lnTo>
                  <a:pt x="335" y="134"/>
                </a:lnTo>
                <a:lnTo>
                  <a:pt x="337" y="118"/>
                </a:lnTo>
                <a:lnTo>
                  <a:pt x="376" y="113"/>
                </a:lnTo>
                <a:lnTo>
                  <a:pt x="412" y="109"/>
                </a:lnTo>
                <a:lnTo>
                  <a:pt x="447" y="108"/>
                </a:lnTo>
                <a:lnTo>
                  <a:pt x="486" y="108"/>
                </a:lnTo>
                <a:lnTo>
                  <a:pt x="502" y="91"/>
                </a:lnTo>
                <a:lnTo>
                  <a:pt x="519" y="73"/>
                </a:lnTo>
                <a:lnTo>
                  <a:pt x="537" y="55"/>
                </a:lnTo>
                <a:lnTo>
                  <a:pt x="556" y="38"/>
                </a:lnTo>
                <a:lnTo>
                  <a:pt x="566" y="30"/>
                </a:lnTo>
                <a:lnTo>
                  <a:pt x="576" y="22"/>
                </a:lnTo>
                <a:lnTo>
                  <a:pt x="586" y="16"/>
                </a:lnTo>
                <a:lnTo>
                  <a:pt x="598" y="10"/>
                </a:lnTo>
                <a:lnTo>
                  <a:pt x="608" y="6"/>
                </a:lnTo>
                <a:lnTo>
                  <a:pt x="620" y="3"/>
                </a:lnTo>
                <a:lnTo>
                  <a:pt x="631" y="0"/>
                </a:lnTo>
                <a:lnTo>
                  <a:pt x="642" y="0"/>
                </a:lnTo>
                <a:lnTo>
                  <a:pt x="672" y="38"/>
                </a:lnTo>
                <a:lnTo>
                  <a:pt x="705" y="82"/>
                </a:lnTo>
                <a:lnTo>
                  <a:pt x="713" y="91"/>
                </a:lnTo>
                <a:lnTo>
                  <a:pt x="722" y="101"/>
                </a:lnTo>
                <a:lnTo>
                  <a:pt x="731" y="109"/>
                </a:lnTo>
                <a:lnTo>
                  <a:pt x="740" y="116"/>
                </a:lnTo>
                <a:lnTo>
                  <a:pt x="749" y="121"/>
                </a:lnTo>
                <a:lnTo>
                  <a:pt x="759" y="125"/>
                </a:lnTo>
                <a:lnTo>
                  <a:pt x="770" y="126"/>
                </a:lnTo>
                <a:lnTo>
                  <a:pt x="780" y="125"/>
                </a:lnTo>
                <a:lnTo>
                  <a:pt x="787" y="110"/>
                </a:lnTo>
                <a:lnTo>
                  <a:pt x="792" y="101"/>
                </a:lnTo>
                <a:lnTo>
                  <a:pt x="797" y="97"/>
                </a:lnTo>
                <a:lnTo>
                  <a:pt x="805" y="94"/>
                </a:lnTo>
                <a:lnTo>
                  <a:pt x="815" y="113"/>
                </a:lnTo>
                <a:lnTo>
                  <a:pt x="827" y="131"/>
                </a:lnTo>
                <a:lnTo>
                  <a:pt x="837" y="150"/>
                </a:lnTo>
                <a:lnTo>
                  <a:pt x="849" y="169"/>
                </a:lnTo>
                <a:lnTo>
                  <a:pt x="869" y="173"/>
                </a:lnTo>
                <a:lnTo>
                  <a:pt x="880" y="177"/>
                </a:lnTo>
                <a:lnTo>
                  <a:pt x="887" y="181"/>
                </a:lnTo>
                <a:lnTo>
                  <a:pt x="896" y="186"/>
                </a:lnTo>
                <a:lnTo>
                  <a:pt x="895" y="202"/>
                </a:lnTo>
                <a:lnTo>
                  <a:pt x="893" y="218"/>
                </a:lnTo>
                <a:lnTo>
                  <a:pt x="891" y="234"/>
                </a:lnTo>
                <a:lnTo>
                  <a:pt x="889" y="251"/>
                </a:lnTo>
                <a:lnTo>
                  <a:pt x="882" y="256"/>
                </a:lnTo>
                <a:lnTo>
                  <a:pt x="874" y="259"/>
                </a:lnTo>
                <a:lnTo>
                  <a:pt x="865" y="259"/>
                </a:lnTo>
                <a:lnTo>
                  <a:pt x="856" y="259"/>
                </a:lnTo>
                <a:lnTo>
                  <a:pt x="839" y="257"/>
                </a:lnTo>
                <a:lnTo>
                  <a:pt x="821" y="257"/>
                </a:lnTo>
                <a:lnTo>
                  <a:pt x="811" y="268"/>
                </a:lnTo>
                <a:lnTo>
                  <a:pt x="804" y="278"/>
                </a:lnTo>
                <a:lnTo>
                  <a:pt x="797" y="290"/>
                </a:lnTo>
                <a:lnTo>
                  <a:pt x="792" y="300"/>
                </a:lnTo>
                <a:lnTo>
                  <a:pt x="787" y="313"/>
                </a:lnTo>
                <a:lnTo>
                  <a:pt x="784" y="326"/>
                </a:lnTo>
                <a:lnTo>
                  <a:pt x="783" y="339"/>
                </a:lnTo>
                <a:lnTo>
                  <a:pt x="783" y="354"/>
                </a:lnTo>
                <a:lnTo>
                  <a:pt x="798" y="395"/>
                </a:lnTo>
                <a:lnTo>
                  <a:pt x="813" y="438"/>
                </a:lnTo>
                <a:lnTo>
                  <a:pt x="821" y="459"/>
                </a:lnTo>
                <a:lnTo>
                  <a:pt x="827" y="479"/>
                </a:lnTo>
                <a:lnTo>
                  <a:pt x="835" y="499"/>
                </a:lnTo>
                <a:lnTo>
                  <a:pt x="844" y="518"/>
                </a:lnTo>
                <a:lnTo>
                  <a:pt x="854" y="536"/>
                </a:lnTo>
                <a:lnTo>
                  <a:pt x="866" y="553"/>
                </a:lnTo>
                <a:lnTo>
                  <a:pt x="879" y="567"/>
                </a:lnTo>
                <a:lnTo>
                  <a:pt x="893" y="580"/>
                </a:lnTo>
                <a:lnTo>
                  <a:pt x="902" y="587"/>
                </a:lnTo>
                <a:lnTo>
                  <a:pt x="910" y="592"/>
                </a:lnTo>
                <a:lnTo>
                  <a:pt x="921" y="597"/>
                </a:lnTo>
                <a:lnTo>
                  <a:pt x="931" y="601"/>
                </a:lnTo>
                <a:lnTo>
                  <a:pt x="942" y="605"/>
                </a:lnTo>
                <a:lnTo>
                  <a:pt x="953" y="609"/>
                </a:lnTo>
                <a:lnTo>
                  <a:pt x="965" y="611"/>
                </a:lnTo>
                <a:lnTo>
                  <a:pt x="978" y="613"/>
                </a:lnTo>
                <a:lnTo>
                  <a:pt x="986" y="619"/>
                </a:lnTo>
                <a:lnTo>
                  <a:pt x="992" y="626"/>
                </a:lnTo>
                <a:lnTo>
                  <a:pt x="997" y="632"/>
                </a:lnTo>
                <a:lnTo>
                  <a:pt x="1000" y="640"/>
                </a:lnTo>
                <a:lnTo>
                  <a:pt x="1003" y="648"/>
                </a:lnTo>
                <a:lnTo>
                  <a:pt x="1004" y="656"/>
                </a:lnTo>
                <a:lnTo>
                  <a:pt x="1005" y="663"/>
                </a:lnTo>
                <a:lnTo>
                  <a:pt x="1004" y="672"/>
                </a:lnTo>
                <a:lnTo>
                  <a:pt x="1003" y="689"/>
                </a:lnTo>
                <a:lnTo>
                  <a:pt x="997" y="708"/>
                </a:lnTo>
                <a:lnTo>
                  <a:pt x="992" y="725"/>
                </a:lnTo>
                <a:lnTo>
                  <a:pt x="986" y="740"/>
                </a:lnTo>
                <a:lnTo>
                  <a:pt x="962" y="752"/>
                </a:lnTo>
                <a:lnTo>
                  <a:pt x="943" y="764"/>
                </a:lnTo>
                <a:lnTo>
                  <a:pt x="925" y="775"/>
                </a:lnTo>
                <a:lnTo>
                  <a:pt x="909" y="790"/>
                </a:lnTo>
                <a:lnTo>
                  <a:pt x="896" y="803"/>
                </a:lnTo>
                <a:lnTo>
                  <a:pt x="884" y="818"/>
                </a:lnTo>
                <a:lnTo>
                  <a:pt x="875" y="832"/>
                </a:lnTo>
                <a:lnTo>
                  <a:pt x="867" y="849"/>
                </a:lnTo>
                <a:lnTo>
                  <a:pt x="862" y="866"/>
                </a:lnTo>
                <a:lnTo>
                  <a:pt x="857" y="885"/>
                </a:lnTo>
                <a:lnTo>
                  <a:pt x="853" y="904"/>
                </a:lnTo>
                <a:lnTo>
                  <a:pt x="850" y="925"/>
                </a:lnTo>
                <a:lnTo>
                  <a:pt x="848" y="970"/>
                </a:lnTo>
                <a:lnTo>
                  <a:pt x="848" y="1021"/>
                </a:lnTo>
                <a:lnTo>
                  <a:pt x="860" y="1043"/>
                </a:lnTo>
                <a:lnTo>
                  <a:pt x="871" y="1065"/>
                </a:lnTo>
                <a:lnTo>
                  <a:pt x="883" y="1089"/>
                </a:lnTo>
                <a:lnTo>
                  <a:pt x="896" y="1111"/>
                </a:lnTo>
                <a:lnTo>
                  <a:pt x="914" y="1123"/>
                </a:lnTo>
                <a:lnTo>
                  <a:pt x="931" y="1136"/>
                </a:lnTo>
                <a:lnTo>
                  <a:pt x="958" y="1158"/>
                </a:lnTo>
                <a:lnTo>
                  <a:pt x="1008" y="1199"/>
                </a:lnTo>
                <a:lnTo>
                  <a:pt x="990" y="1202"/>
                </a:lnTo>
                <a:lnTo>
                  <a:pt x="974" y="1206"/>
                </a:lnTo>
                <a:lnTo>
                  <a:pt x="961" y="1211"/>
                </a:lnTo>
                <a:lnTo>
                  <a:pt x="948" y="1219"/>
                </a:lnTo>
                <a:lnTo>
                  <a:pt x="938" y="1227"/>
                </a:lnTo>
                <a:lnTo>
                  <a:pt x="929" y="1236"/>
                </a:lnTo>
                <a:lnTo>
                  <a:pt x="919" y="1245"/>
                </a:lnTo>
                <a:lnTo>
                  <a:pt x="913" y="1257"/>
                </a:lnTo>
                <a:lnTo>
                  <a:pt x="905" y="1268"/>
                </a:lnTo>
                <a:lnTo>
                  <a:pt x="900" y="1281"/>
                </a:lnTo>
                <a:lnTo>
                  <a:pt x="893" y="1294"/>
                </a:lnTo>
                <a:lnTo>
                  <a:pt x="888" y="1309"/>
                </a:lnTo>
                <a:lnTo>
                  <a:pt x="876" y="1337"/>
                </a:lnTo>
                <a:lnTo>
                  <a:pt x="865" y="1368"/>
                </a:lnTo>
                <a:lnTo>
                  <a:pt x="852" y="1370"/>
                </a:lnTo>
                <a:lnTo>
                  <a:pt x="840" y="1370"/>
                </a:lnTo>
                <a:lnTo>
                  <a:pt x="828" y="1371"/>
                </a:lnTo>
                <a:lnTo>
                  <a:pt x="817" y="1372"/>
                </a:lnTo>
                <a:lnTo>
                  <a:pt x="814" y="1385"/>
                </a:lnTo>
                <a:lnTo>
                  <a:pt x="813" y="1400"/>
                </a:lnTo>
                <a:lnTo>
                  <a:pt x="828" y="1404"/>
                </a:lnTo>
                <a:lnTo>
                  <a:pt x="845" y="1409"/>
                </a:lnTo>
                <a:lnTo>
                  <a:pt x="861" y="1414"/>
                </a:lnTo>
                <a:lnTo>
                  <a:pt x="876" y="1419"/>
                </a:lnTo>
                <a:lnTo>
                  <a:pt x="889" y="1456"/>
                </a:lnTo>
                <a:lnTo>
                  <a:pt x="897" y="1478"/>
                </a:lnTo>
                <a:lnTo>
                  <a:pt x="904" y="1491"/>
                </a:lnTo>
                <a:lnTo>
                  <a:pt x="913" y="1504"/>
                </a:lnTo>
                <a:lnTo>
                  <a:pt x="919" y="1508"/>
                </a:lnTo>
                <a:lnTo>
                  <a:pt x="925" y="1514"/>
                </a:lnTo>
                <a:lnTo>
                  <a:pt x="930" y="1519"/>
                </a:lnTo>
                <a:lnTo>
                  <a:pt x="935" y="1527"/>
                </a:lnTo>
                <a:lnTo>
                  <a:pt x="943" y="1543"/>
                </a:lnTo>
                <a:lnTo>
                  <a:pt x="949" y="1560"/>
                </a:lnTo>
                <a:lnTo>
                  <a:pt x="956" y="1579"/>
                </a:lnTo>
                <a:lnTo>
                  <a:pt x="960" y="1600"/>
                </a:lnTo>
                <a:lnTo>
                  <a:pt x="962" y="1621"/>
                </a:lnTo>
                <a:lnTo>
                  <a:pt x="964" y="1643"/>
                </a:lnTo>
                <a:lnTo>
                  <a:pt x="965" y="1666"/>
                </a:lnTo>
                <a:lnTo>
                  <a:pt x="964" y="1688"/>
                </a:lnTo>
                <a:lnTo>
                  <a:pt x="962" y="1709"/>
                </a:lnTo>
                <a:lnTo>
                  <a:pt x="958" y="1730"/>
                </a:lnTo>
                <a:lnTo>
                  <a:pt x="955" y="1751"/>
                </a:lnTo>
                <a:lnTo>
                  <a:pt x="949" y="1768"/>
                </a:lnTo>
                <a:lnTo>
                  <a:pt x="943" y="1785"/>
                </a:lnTo>
                <a:lnTo>
                  <a:pt x="936" y="1798"/>
                </a:lnTo>
                <a:lnTo>
                  <a:pt x="934" y="1824"/>
                </a:lnTo>
                <a:lnTo>
                  <a:pt x="932" y="1850"/>
                </a:lnTo>
                <a:lnTo>
                  <a:pt x="930" y="1876"/>
                </a:lnTo>
                <a:lnTo>
                  <a:pt x="927" y="1903"/>
                </a:lnTo>
                <a:lnTo>
                  <a:pt x="926" y="1929"/>
                </a:lnTo>
                <a:lnTo>
                  <a:pt x="923" y="1956"/>
                </a:lnTo>
                <a:lnTo>
                  <a:pt x="922" y="1982"/>
                </a:lnTo>
                <a:lnTo>
                  <a:pt x="921" y="2010"/>
                </a:lnTo>
                <a:lnTo>
                  <a:pt x="916" y="2010"/>
                </a:lnTo>
                <a:lnTo>
                  <a:pt x="909" y="2010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88" name="Freeform 53"/>
          <p:cNvSpPr>
            <a:spLocks/>
          </p:cNvSpPr>
          <p:nvPr/>
        </p:nvSpPr>
        <p:spPr bwMode="auto">
          <a:xfrm>
            <a:off x="3014663" y="2663825"/>
            <a:ext cx="1323975" cy="1022350"/>
          </a:xfrm>
          <a:custGeom>
            <a:avLst/>
            <a:gdLst>
              <a:gd name="T0" fmla="*/ 2147483647 w 3340"/>
              <a:gd name="T1" fmla="*/ 2147483647 h 2578"/>
              <a:gd name="T2" fmla="*/ 2147483647 w 3340"/>
              <a:gd name="T3" fmla="*/ 2147483647 h 2578"/>
              <a:gd name="T4" fmla="*/ 2147483647 w 3340"/>
              <a:gd name="T5" fmla="*/ 2147483647 h 2578"/>
              <a:gd name="T6" fmla="*/ 2147483647 w 3340"/>
              <a:gd name="T7" fmla="*/ 2147483647 h 2578"/>
              <a:gd name="T8" fmla="*/ 2147483647 w 3340"/>
              <a:gd name="T9" fmla="*/ 2147483647 h 2578"/>
              <a:gd name="T10" fmla="*/ 2147483647 w 3340"/>
              <a:gd name="T11" fmla="*/ 2147483647 h 2578"/>
              <a:gd name="T12" fmla="*/ 2147483647 w 3340"/>
              <a:gd name="T13" fmla="*/ 2147483647 h 2578"/>
              <a:gd name="T14" fmla="*/ 2147483647 w 3340"/>
              <a:gd name="T15" fmla="*/ 2147483647 h 2578"/>
              <a:gd name="T16" fmla="*/ 2147483647 w 3340"/>
              <a:gd name="T17" fmla="*/ 2147483647 h 2578"/>
              <a:gd name="T18" fmla="*/ 2147483647 w 3340"/>
              <a:gd name="T19" fmla="*/ 2147483647 h 2578"/>
              <a:gd name="T20" fmla="*/ 2147483647 w 3340"/>
              <a:gd name="T21" fmla="*/ 2147483647 h 2578"/>
              <a:gd name="T22" fmla="*/ 2147483647 w 3340"/>
              <a:gd name="T23" fmla="*/ 2147483647 h 2578"/>
              <a:gd name="T24" fmla="*/ 2147483647 w 3340"/>
              <a:gd name="T25" fmla="*/ 2147483647 h 2578"/>
              <a:gd name="T26" fmla="*/ 2147483647 w 3340"/>
              <a:gd name="T27" fmla="*/ 2147483647 h 2578"/>
              <a:gd name="T28" fmla="*/ 2147483647 w 3340"/>
              <a:gd name="T29" fmla="*/ 2147483647 h 2578"/>
              <a:gd name="T30" fmla="*/ 2147483647 w 3340"/>
              <a:gd name="T31" fmla="*/ 2147483647 h 2578"/>
              <a:gd name="T32" fmla="*/ 2147483647 w 3340"/>
              <a:gd name="T33" fmla="*/ 2147483647 h 2578"/>
              <a:gd name="T34" fmla="*/ 2147483647 w 3340"/>
              <a:gd name="T35" fmla="*/ 2147483647 h 2578"/>
              <a:gd name="T36" fmla="*/ 2147483647 w 3340"/>
              <a:gd name="T37" fmla="*/ 2147483647 h 2578"/>
              <a:gd name="T38" fmla="*/ 2147483647 w 3340"/>
              <a:gd name="T39" fmla="*/ 2147483647 h 2578"/>
              <a:gd name="T40" fmla="*/ 2147483647 w 3340"/>
              <a:gd name="T41" fmla="*/ 2147483647 h 2578"/>
              <a:gd name="T42" fmla="*/ 2147483647 w 3340"/>
              <a:gd name="T43" fmla="*/ 2147483647 h 2578"/>
              <a:gd name="T44" fmla="*/ 2147483647 w 3340"/>
              <a:gd name="T45" fmla="*/ 2147483647 h 2578"/>
              <a:gd name="T46" fmla="*/ 2147483647 w 3340"/>
              <a:gd name="T47" fmla="*/ 2147483647 h 2578"/>
              <a:gd name="T48" fmla="*/ 2147483647 w 3340"/>
              <a:gd name="T49" fmla="*/ 2147483647 h 2578"/>
              <a:gd name="T50" fmla="*/ 2147483647 w 3340"/>
              <a:gd name="T51" fmla="*/ 2147483647 h 2578"/>
              <a:gd name="T52" fmla="*/ 2147483647 w 3340"/>
              <a:gd name="T53" fmla="*/ 2147483647 h 2578"/>
              <a:gd name="T54" fmla="*/ 2147483647 w 3340"/>
              <a:gd name="T55" fmla="*/ 2147483647 h 2578"/>
              <a:gd name="T56" fmla="*/ 2147483647 w 3340"/>
              <a:gd name="T57" fmla="*/ 2147483647 h 2578"/>
              <a:gd name="T58" fmla="*/ 2147483647 w 3340"/>
              <a:gd name="T59" fmla="*/ 2147483647 h 2578"/>
              <a:gd name="T60" fmla="*/ 2147483647 w 3340"/>
              <a:gd name="T61" fmla="*/ 2147483647 h 2578"/>
              <a:gd name="T62" fmla="*/ 2147483647 w 3340"/>
              <a:gd name="T63" fmla="*/ 2147483647 h 2578"/>
              <a:gd name="T64" fmla="*/ 2147483647 w 3340"/>
              <a:gd name="T65" fmla="*/ 2147483647 h 2578"/>
              <a:gd name="T66" fmla="*/ 2147483647 w 3340"/>
              <a:gd name="T67" fmla="*/ 2147483647 h 2578"/>
              <a:gd name="T68" fmla="*/ 2147483647 w 3340"/>
              <a:gd name="T69" fmla="*/ 2147483647 h 2578"/>
              <a:gd name="T70" fmla="*/ 2147483647 w 3340"/>
              <a:gd name="T71" fmla="*/ 2147483647 h 2578"/>
              <a:gd name="T72" fmla="*/ 2147483647 w 3340"/>
              <a:gd name="T73" fmla="*/ 2147483647 h 2578"/>
              <a:gd name="T74" fmla="*/ 2147483647 w 3340"/>
              <a:gd name="T75" fmla="*/ 2147483647 h 2578"/>
              <a:gd name="T76" fmla="*/ 2147483647 w 3340"/>
              <a:gd name="T77" fmla="*/ 2147483647 h 2578"/>
              <a:gd name="T78" fmla="*/ 2147483647 w 3340"/>
              <a:gd name="T79" fmla="*/ 2147483647 h 2578"/>
              <a:gd name="T80" fmla="*/ 2147483647 w 3340"/>
              <a:gd name="T81" fmla="*/ 2147483647 h 2578"/>
              <a:gd name="T82" fmla="*/ 2147483647 w 3340"/>
              <a:gd name="T83" fmla="*/ 2147483647 h 2578"/>
              <a:gd name="T84" fmla="*/ 2147483647 w 3340"/>
              <a:gd name="T85" fmla="*/ 2147483647 h 2578"/>
              <a:gd name="T86" fmla="*/ 2147483647 w 3340"/>
              <a:gd name="T87" fmla="*/ 2147483647 h 2578"/>
              <a:gd name="T88" fmla="*/ 2147483647 w 3340"/>
              <a:gd name="T89" fmla="*/ 2147483647 h 2578"/>
              <a:gd name="T90" fmla="*/ 2147483647 w 3340"/>
              <a:gd name="T91" fmla="*/ 2147483647 h 2578"/>
              <a:gd name="T92" fmla="*/ 2147483647 w 3340"/>
              <a:gd name="T93" fmla="*/ 2147483647 h 2578"/>
              <a:gd name="T94" fmla="*/ 2147483647 w 3340"/>
              <a:gd name="T95" fmla="*/ 2147483647 h 2578"/>
              <a:gd name="T96" fmla="*/ 2147483647 w 3340"/>
              <a:gd name="T97" fmla="*/ 2147483647 h 2578"/>
              <a:gd name="T98" fmla="*/ 2147483647 w 3340"/>
              <a:gd name="T99" fmla="*/ 2147483647 h 2578"/>
              <a:gd name="T100" fmla="*/ 2147483647 w 3340"/>
              <a:gd name="T101" fmla="*/ 2147483647 h 2578"/>
              <a:gd name="T102" fmla="*/ 2147483647 w 3340"/>
              <a:gd name="T103" fmla="*/ 2147483647 h 2578"/>
              <a:gd name="T104" fmla="*/ 2147483647 w 3340"/>
              <a:gd name="T105" fmla="*/ 2147483647 h 2578"/>
              <a:gd name="T106" fmla="*/ 2147483647 w 3340"/>
              <a:gd name="T107" fmla="*/ 2147483647 h 2578"/>
              <a:gd name="T108" fmla="*/ 2147483647 w 3340"/>
              <a:gd name="T109" fmla="*/ 2147483647 h 2578"/>
              <a:gd name="T110" fmla="*/ 2147483647 w 3340"/>
              <a:gd name="T111" fmla="*/ 2147483647 h 2578"/>
              <a:gd name="T112" fmla="*/ 2147483647 w 3340"/>
              <a:gd name="T113" fmla="*/ 2147483647 h 2578"/>
              <a:gd name="T114" fmla="*/ 2147483647 w 3340"/>
              <a:gd name="T115" fmla="*/ 2147483647 h 2578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340"/>
              <a:gd name="T175" fmla="*/ 0 h 2578"/>
              <a:gd name="T176" fmla="*/ 3340 w 3340"/>
              <a:gd name="T177" fmla="*/ 2578 h 2578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340" h="2578">
                <a:moveTo>
                  <a:pt x="1608" y="2578"/>
                </a:moveTo>
                <a:lnTo>
                  <a:pt x="1595" y="2569"/>
                </a:lnTo>
                <a:lnTo>
                  <a:pt x="1582" y="2562"/>
                </a:lnTo>
                <a:lnTo>
                  <a:pt x="1570" y="2556"/>
                </a:lnTo>
                <a:lnTo>
                  <a:pt x="1559" y="2551"/>
                </a:lnTo>
                <a:lnTo>
                  <a:pt x="1546" y="2547"/>
                </a:lnTo>
                <a:lnTo>
                  <a:pt x="1533" y="2545"/>
                </a:lnTo>
                <a:lnTo>
                  <a:pt x="1518" y="2541"/>
                </a:lnTo>
                <a:lnTo>
                  <a:pt x="1503" y="2538"/>
                </a:lnTo>
                <a:lnTo>
                  <a:pt x="1488" y="2523"/>
                </a:lnTo>
                <a:lnTo>
                  <a:pt x="1474" y="2510"/>
                </a:lnTo>
                <a:lnTo>
                  <a:pt x="1458" y="2499"/>
                </a:lnTo>
                <a:lnTo>
                  <a:pt x="1442" y="2490"/>
                </a:lnTo>
                <a:lnTo>
                  <a:pt x="1406" y="2474"/>
                </a:lnTo>
                <a:lnTo>
                  <a:pt x="1367" y="2461"/>
                </a:lnTo>
                <a:lnTo>
                  <a:pt x="1374" y="2412"/>
                </a:lnTo>
                <a:lnTo>
                  <a:pt x="1380" y="2373"/>
                </a:lnTo>
                <a:lnTo>
                  <a:pt x="1380" y="2364"/>
                </a:lnTo>
                <a:lnTo>
                  <a:pt x="1379" y="2356"/>
                </a:lnTo>
                <a:lnTo>
                  <a:pt x="1377" y="2348"/>
                </a:lnTo>
                <a:lnTo>
                  <a:pt x="1371" y="2342"/>
                </a:lnTo>
                <a:lnTo>
                  <a:pt x="1364" y="2334"/>
                </a:lnTo>
                <a:lnTo>
                  <a:pt x="1354" y="2327"/>
                </a:lnTo>
                <a:lnTo>
                  <a:pt x="1343" y="2321"/>
                </a:lnTo>
                <a:lnTo>
                  <a:pt x="1327" y="2316"/>
                </a:lnTo>
                <a:lnTo>
                  <a:pt x="1326" y="2296"/>
                </a:lnTo>
                <a:lnTo>
                  <a:pt x="1326" y="2278"/>
                </a:lnTo>
                <a:lnTo>
                  <a:pt x="1326" y="2270"/>
                </a:lnTo>
                <a:lnTo>
                  <a:pt x="1326" y="2261"/>
                </a:lnTo>
                <a:lnTo>
                  <a:pt x="1324" y="2252"/>
                </a:lnTo>
                <a:lnTo>
                  <a:pt x="1322" y="2242"/>
                </a:lnTo>
                <a:lnTo>
                  <a:pt x="1315" y="2238"/>
                </a:lnTo>
                <a:lnTo>
                  <a:pt x="1309" y="2231"/>
                </a:lnTo>
                <a:lnTo>
                  <a:pt x="1302" y="2225"/>
                </a:lnTo>
                <a:lnTo>
                  <a:pt x="1295" y="2216"/>
                </a:lnTo>
                <a:lnTo>
                  <a:pt x="1282" y="2193"/>
                </a:lnTo>
                <a:lnTo>
                  <a:pt x="1269" y="2169"/>
                </a:lnTo>
                <a:lnTo>
                  <a:pt x="1246" y="2119"/>
                </a:lnTo>
                <a:lnTo>
                  <a:pt x="1230" y="2080"/>
                </a:lnTo>
                <a:lnTo>
                  <a:pt x="1215" y="2070"/>
                </a:lnTo>
                <a:lnTo>
                  <a:pt x="1200" y="2062"/>
                </a:lnTo>
                <a:lnTo>
                  <a:pt x="1184" y="2054"/>
                </a:lnTo>
                <a:lnTo>
                  <a:pt x="1168" y="2048"/>
                </a:lnTo>
                <a:lnTo>
                  <a:pt x="1136" y="2036"/>
                </a:lnTo>
                <a:lnTo>
                  <a:pt x="1103" y="2026"/>
                </a:lnTo>
                <a:lnTo>
                  <a:pt x="1086" y="2020"/>
                </a:lnTo>
                <a:lnTo>
                  <a:pt x="1071" y="2015"/>
                </a:lnTo>
                <a:lnTo>
                  <a:pt x="1055" y="2009"/>
                </a:lnTo>
                <a:lnTo>
                  <a:pt x="1041" y="2002"/>
                </a:lnTo>
                <a:lnTo>
                  <a:pt x="1025" y="1994"/>
                </a:lnTo>
                <a:lnTo>
                  <a:pt x="1012" y="1984"/>
                </a:lnTo>
                <a:lnTo>
                  <a:pt x="999" y="1974"/>
                </a:lnTo>
                <a:lnTo>
                  <a:pt x="988" y="1962"/>
                </a:lnTo>
                <a:lnTo>
                  <a:pt x="973" y="1962"/>
                </a:lnTo>
                <a:lnTo>
                  <a:pt x="959" y="1962"/>
                </a:lnTo>
                <a:lnTo>
                  <a:pt x="945" y="1962"/>
                </a:lnTo>
                <a:lnTo>
                  <a:pt x="932" y="1962"/>
                </a:lnTo>
                <a:lnTo>
                  <a:pt x="925" y="1975"/>
                </a:lnTo>
                <a:lnTo>
                  <a:pt x="921" y="1987"/>
                </a:lnTo>
                <a:lnTo>
                  <a:pt x="919" y="2002"/>
                </a:lnTo>
                <a:lnTo>
                  <a:pt x="916" y="2027"/>
                </a:lnTo>
                <a:lnTo>
                  <a:pt x="865" y="2035"/>
                </a:lnTo>
                <a:lnTo>
                  <a:pt x="825" y="2044"/>
                </a:lnTo>
                <a:lnTo>
                  <a:pt x="816" y="2048"/>
                </a:lnTo>
                <a:lnTo>
                  <a:pt x="808" y="2053"/>
                </a:lnTo>
                <a:lnTo>
                  <a:pt x="801" y="2058"/>
                </a:lnTo>
                <a:lnTo>
                  <a:pt x="795" y="2066"/>
                </a:lnTo>
                <a:lnTo>
                  <a:pt x="790" y="2074"/>
                </a:lnTo>
                <a:lnTo>
                  <a:pt x="786" y="2084"/>
                </a:lnTo>
                <a:lnTo>
                  <a:pt x="783" y="2096"/>
                </a:lnTo>
                <a:lnTo>
                  <a:pt x="781" y="2109"/>
                </a:lnTo>
                <a:lnTo>
                  <a:pt x="755" y="2108"/>
                </a:lnTo>
                <a:lnTo>
                  <a:pt x="723" y="2105"/>
                </a:lnTo>
                <a:lnTo>
                  <a:pt x="692" y="2104"/>
                </a:lnTo>
                <a:lnTo>
                  <a:pt x="660" y="2101"/>
                </a:lnTo>
                <a:lnTo>
                  <a:pt x="644" y="2098"/>
                </a:lnTo>
                <a:lnTo>
                  <a:pt x="628" y="2096"/>
                </a:lnTo>
                <a:lnTo>
                  <a:pt x="614" y="2093"/>
                </a:lnTo>
                <a:lnTo>
                  <a:pt x="600" y="2089"/>
                </a:lnTo>
                <a:lnTo>
                  <a:pt x="587" y="2084"/>
                </a:lnTo>
                <a:lnTo>
                  <a:pt x="575" y="2078"/>
                </a:lnTo>
                <a:lnTo>
                  <a:pt x="563" y="2071"/>
                </a:lnTo>
                <a:lnTo>
                  <a:pt x="554" y="2063"/>
                </a:lnTo>
                <a:lnTo>
                  <a:pt x="537" y="2062"/>
                </a:lnTo>
                <a:lnTo>
                  <a:pt x="519" y="2061"/>
                </a:lnTo>
                <a:lnTo>
                  <a:pt x="510" y="2071"/>
                </a:lnTo>
                <a:lnTo>
                  <a:pt x="502" y="2080"/>
                </a:lnTo>
                <a:lnTo>
                  <a:pt x="497" y="2088"/>
                </a:lnTo>
                <a:lnTo>
                  <a:pt x="492" y="2095"/>
                </a:lnTo>
                <a:lnTo>
                  <a:pt x="487" y="2111"/>
                </a:lnTo>
                <a:lnTo>
                  <a:pt x="481" y="2136"/>
                </a:lnTo>
                <a:lnTo>
                  <a:pt x="465" y="2135"/>
                </a:lnTo>
                <a:lnTo>
                  <a:pt x="446" y="2131"/>
                </a:lnTo>
                <a:lnTo>
                  <a:pt x="429" y="2126"/>
                </a:lnTo>
                <a:lnTo>
                  <a:pt x="412" y="2121"/>
                </a:lnTo>
                <a:lnTo>
                  <a:pt x="379" y="2105"/>
                </a:lnTo>
                <a:lnTo>
                  <a:pt x="345" y="2092"/>
                </a:lnTo>
                <a:lnTo>
                  <a:pt x="338" y="2082"/>
                </a:lnTo>
                <a:lnTo>
                  <a:pt x="333" y="2070"/>
                </a:lnTo>
                <a:lnTo>
                  <a:pt x="331" y="2057"/>
                </a:lnTo>
                <a:lnTo>
                  <a:pt x="328" y="2044"/>
                </a:lnTo>
                <a:lnTo>
                  <a:pt x="327" y="2031"/>
                </a:lnTo>
                <a:lnTo>
                  <a:pt x="327" y="2017"/>
                </a:lnTo>
                <a:lnTo>
                  <a:pt x="328" y="2002"/>
                </a:lnTo>
                <a:lnTo>
                  <a:pt x="329" y="1988"/>
                </a:lnTo>
                <a:lnTo>
                  <a:pt x="333" y="1958"/>
                </a:lnTo>
                <a:lnTo>
                  <a:pt x="337" y="1931"/>
                </a:lnTo>
                <a:lnTo>
                  <a:pt x="341" y="1903"/>
                </a:lnTo>
                <a:lnTo>
                  <a:pt x="342" y="1879"/>
                </a:lnTo>
                <a:lnTo>
                  <a:pt x="328" y="1863"/>
                </a:lnTo>
                <a:lnTo>
                  <a:pt x="312" y="1847"/>
                </a:lnTo>
                <a:lnTo>
                  <a:pt x="297" y="1833"/>
                </a:lnTo>
                <a:lnTo>
                  <a:pt x="281" y="1819"/>
                </a:lnTo>
                <a:lnTo>
                  <a:pt x="249" y="1791"/>
                </a:lnTo>
                <a:lnTo>
                  <a:pt x="216" y="1765"/>
                </a:lnTo>
                <a:lnTo>
                  <a:pt x="216" y="1752"/>
                </a:lnTo>
                <a:lnTo>
                  <a:pt x="217" y="1741"/>
                </a:lnTo>
                <a:lnTo>
                  <a:pt x="219" y="1732"/>
                </a:lnTo>
                <a:lnTo>
                  <a:pt x="221" y="1724"/>
                </a:lnTo>
                <a:lnTo>
                  <a:pt x="225" y="1716"/>
                </a:lnTo>
                <a:lnTo>
                  <a:pt x="232" y="1707"/>
                </a:lnTo>
                <a:lnTo>
                  <a:pt x="238" y="1698"/>
                </a:lnTo>
                <a:lnTo>
                  <a:pt x="246" y="1686"/>
                </a:lnTo>
                <a:lnTo>
                  <a:pt x="247" y="1652"/>
                </a:lnTo>
                <a:lnTo>
                  <a:pt x="246" y="1618"/>
                </a:lnTo>
                <a:lnTo>
                  <a:pt x="243" y="1586"/>
                </a:lnTo>
                <a:lnTo>
                  <a:pt x="239" y="1552"/>
                </a:lnTo>
                <a:lnTo>
                  <a:pt x="234" y="1520"/>
                </a:lnTo>
                <a:lnTo>
                  <a:pt x="232" y="1486"/>
                </a:lnTo>
                <a:lnTo>
                  <a:pt x="228" y="1452"/>
                </a:lnTo>
                <a:lnTo>
                  <a:pt x="228" y="1417"/>
                </a:lnTo>
                <a:lnTo>
                  <a:pt x="249" y="1373"/>
                </a:lnTo>
                <a:lnTo>
                  <a:pt x="265" y="1335"/>
                </a:lnTo>
                <a:lnTo>
                  <a:pt x="272" y="1318"/>
                </a:lnTo>
                <a:lnTo>
                  <a:pt x="277" y="1302"/>
                </a:lnTo>
                <a:lnTo>
                  <a:pt x="281" y="1287"/>
                </a:lnTo>
                <a:lnTo>
                  <a:pt x="284" y="1272"/>
                </a:lnTo>
                <a:lnTo>
                  <a:pt x="284" y="1257"/>
                </a:lnTo>
                <a:lnTo>
                  <a:pt x="282" y="1242"/>
                </a:lnTo>
                <a:lnTo>
                  <a:pt x="280" y="1228"/>
                </a:lnTo>
                <a:lnTo>
                  <a:pt x="275" y="1213"/>
                </a:lnTo>
                <a:lnTo>
                  <a:pt x="267" y="1196"/>
                </a:lnTo>
                <a:lnTo>
                  <a:pt x="256" y="1177"/>
                </a:lnTo>
                <a:lnTo>
                  <a:pt x="245" y="1159"/>
                </a:lnTo>
                <a:lnTo>
                  <a:pt x="229" y="1138"/>
                </a:lnTo>
                <a:lnTo>
                  <a:pt x="212" y="1095"/>
                </a:lnTo>
                <a:lnTo>
                  <a:pt x="194" y="1051"/>
                </a:lnTo>
                <a:lnTo>
                  <a:pt x="185" y="1030"/>
                </a:lnTo>
                <a:lnTo>
                  <a:pt x="173" y="1010"/>
                </a:lnTo>
                <a:lnTo>
                  <a:pt x="161" y="990"/>
                </a:lnTo>
                <a:lnTo>
                  <a:pt x="148" y="973"/>
                </a:lnTo>
                <a:lnTo>
                  <a:pt x="122" y="961"/>
                </a:lnTo>
                <a:lnTo>
                  <a:pt x="102" y="952"/>
                </a:lnTo>
                <a:lnTo>
                  <a:pt x="94" y="947"/>
                </a:lnTo>
                <a:lnTo>
                  <a:pt x="86" y="942"/>
                </a:lnTo>
                <a:lnTo>
                  <a:pt x="81" y="938"/>
                </a:lnTo>
                <a:lnTo>
                  <a:pt x="74" y="932"/>
                </a:lnTo>
                <a:lnTo>
                  <a:pt x="70" y="926"/>
                </a:lnTo>
                <a:lnTo>
                  <a:pt x="66" y="920"/>
                </a:lnTo>
                <a:lnTo>
                  <a:pt x="63" y="912"/>
                </a:lnTo>
                <a:lnTo>
                  <a:pt x="60" y="903"/>
                </a:lnTo>
                <a:lnTo>
                  <a:pt x="55" y="882"/>
                </a:lnTo>
                <a:lnTo>
                  <a:pt x="51" y="855"/>
                </a:lnTo>
                <a:lnTo>
                  <a:pt x="33" y="847"/>
                </a:lnTo>
                <a:lnTo>
                  <a:pt x="20" y="838"/>
                </a:lnTo>
                <a:lnTo>
                  <a:pt x="14" y="834"/>
                </a:lnTo>
                <a:lnTo>
                  <a:pt x="9" y="829"/>
                </a:lnTo>
                <a:lnTo>
                  <a:pt x="7" y="825"/>
                </a:lnTo>
                <a:lnTo>
                  <a:pt x="4" y="820"/>
                </a:lnTo>
                <a:lnTo>
                  <a:pt x="1" y="814"/>
                </a:lnTo>
                <a:lnTo>
                  <a:pt x="0" y="809"/>
                </a:lnTo>
                <a:lnTo>
                  <a:pt x="0" y="804"/>
                </a:lnTo>
                <a:lnTo>
                  <a:pt x="0" y="799"/>
                </a:lnTo>
                <a:lnTo>
                  <a:pt x="3" y="788"/>
                </a:lnTo>
                <a:lnTo>
                  <a:pt x="8" y="778"/>
                </a:lnTo>
                <a:lnTo>
                  <a:pt x="14" y="768"/>
                </a:lnTo>
                <a:lnTo>
                  <a:pt x="23" y="757"/>
                </a:lnTo>
                <a:lnTo>
                  <a:pt x="33" y="747"/>
                </a:lnTo>
                <a:lnTo>
                  <a:pt x="43" y="736"/>
                </a:lnTo>
                <a:lnTo>
                  <a:pt x="66" y="717"/>
                </a:lnTo>
                <a:lnTo>
                  <a:pt x="91" y="700"/>
                </a:lnTo>
                <a:lnTo>
                  <a:pt x="91" y="678"/>
                </a:lnTo>
                <a:lnTo>
                  <a:pt x="89" y="658"/>
                </a:lnTo>
                <a:lnTo>
                  <a:pt x="86" y="640"/>
                </a:lnTo>
                <a:lnTo>
                  <a:pt x="85" y="623"/>
                </a:lnTo>
                <a:lnTo>
                  <a:pt x="105" y="588"/>
                </a:lnTo>
                <a:lnTo>
                  <a:pt x="128" y="556"/>
                </a:lnTo>
                <a:lnTo>
                  <a:pt x="137" y="540"/>
                </a:lnTo>
                <a:lnTo>
                  <a:pt x="146" y="523"/>
                </a:lnTo>
                <a:lnTo>
                  <a:pt x="155" y="506"/>
                </a:lnTo>
                <a:lnTo>
                  <a:pt x="161" y="488"/>
                </a:lnTo>
                <a:lnTo>
                  <a:pt x="178" y="479"/>
                </a:lnTo>
                <a:lnTo>
                  <a:pt x="194" y="471"/>
                </a:lnTo>
                <a:lnTo>
                  <a:pt x="211" y="462"/>
                </a:lnTo>
                <a:lnTo>
                  <a:pt x="228" y="453"/>
                </a:lnTo>
                <a:lnTo>
                  <a:pt x="242" y="422"/>
                </a:lnTo>
                <a:lnTo>
                  <a:pt x="258" y="390"/>
                </a:lnTo>
                <a:lnTo>
                  <a:pt x="273" y="358"/>
                </a:lnTo>
                <a:lnTo>
                  <a:pt x="289" y="327"/>
                </a:lnTo>
                <a:lnTo>
                  <a:pt x="303" y="320"/>
                </a:lnTo>
                <a:lnTo>
                  <a:pt x="315" y="314"/>
                </a:lnTo>
                <a:lnTo>
                  <a:pt x="324" y="307"/>
                </a:lnTo>
                <a:lnTo>
                  <a:pt x="332" y="301"/>
                </a:lnTo>
                <a:lnTo>
                  <a:pt x="338" y="295"/>
                </a:lnTo>
                <a:lnTo>
                  <a:pt x="342" y="289"/>
                </a:lnTo>
                <a:lnTo>
                  <a:pt x="346" y="284"/>
                </a:lnTo>
                <a:lnTo>
                  <a:pt x="349" y="277"/>
                </a:lnTo>
                <a:lnTo>
                  <a:pt x="353" y="263"/>
                </a:lnTo>
                <a:lnTo>
                  <a:pt x="358" y="249"/>
                </a:lnTo>
                <a:lnTo>
                  <a:pt x="362" y="239"/>
                </a:lnTo>
                <a:lnTo>
                  <a:pt x="367" y="232"/>
                </a:lnTo>
                <a:lnTo>
                  <a:pt x="373" y="221"/>
                </a:lnTo>
                <a:lnTo>
                  <a:pt x="381" y="211"/>
                </a:lnTo>
                <a:lnTo>
                  <a:pt x="384" y="191"/>
                </a:lnTo>
                <a:lnTo>
                  <a:pt x="386" y="172"/>
                </a:lnTo>
                <a:lnTo>
                  <a:pt x="392" y="155"/>
                </a:lnTo>
                <a:lnTo>
                  <a:pt x="398" y="141"/>
                </a:lnTo>
                <a:lnTo>
                  <a:pt x="406" y="126"/>
                </a:lnTo>
                <a:lnTo>
                  <a:pt x="415" y="115"/>
                </a:lnTo>
                <a:lnTo>
                  <a:pt x="425" y="104"/>
                </a:lnTo>
                <a:lnTo>
                  <a:pt x="436" y="96"/>
                </a:lnTo>
                <a:lnTo>
                  <a:pt x="449" y="89"/>
                </a:lnTo>
                <a:lnTo>
                  <a:pt x="462" y="83"/>
                </a:lnTo>
                <a:lnTo>
                  <a:pt x="478" y="81"/>
                </a:lnTo>
                <a:lnTo>
                  <a:pt x="493" y="78"/>
                </a:lnTo>
                <a:lnTo>
                  <a:pt x="509" y="78"/>
                </a:lnTo>
                <a:lnTo>
                  <a:pt x="527" y="79"/>
                </a:lnTo>
                <a:lnTo>
                  <a:pt x="545" y="82"/>
                </a:lnTo>
                <a:lnTo>
                  <a:pt x="563" y="86"/>
                </a:lnTo>
                <a:lnTo>
                  <a:pt x="591" y="86"/>
                </a:lnTo>
                <a:lnTo>
                  <a:pt x="614" y="86"/>
                </a:lnTo>
                <a:lnTo>
                  <a:pt x="638" y="86"/>
                </a:lnTo>
                <a:lnTo>
                  <a:pt x="658" y="85"/>
                </a:lnTo>
                <a:lnTo>
                  <a:pt x="667" y="82"/>
                </a:lnTo>
                <a:lnTo>
                  <a:pt x="678" y="79"/>
                </a:lnTo>
                <a:lnTo>
                  <a:pt x="687" y="76"/>
                </a:lnTo>
                <a:lnTo>
                  <a:pt x="696" y="70"/>
                </a:lnTo>
                <a:lnTo>
                  <a:pt x="704" y="64"/>
                </a:lnTo>
                <a:lnTo>
                  <a:pt x="713" y="56"/>
                </a:lnTo>
                <a:lnTo>
                  <a:pt x="721" y="47"/>
                </a:lnTo>
                <a:lnTo>
                  <a:pt x="729" y="37"/>
                </a:lnTo>
                <a:lnTo>
                  <a:pt x="755" y="26"/>
                </a:lnTo>
                <a:lnTo>
                  <a:pt x="781" y="17"/>
                </a:lnTo>
                <a:lnTo>
                  <a:pt x="807" y="8"/>
                </a:lnTo>
                <a:lnTo>
                  <a:pt x="833" y="0"/>
                </a:lnTo>
                <a:lnTo>
                  <a:pt x="829" y="24"/>
                </a:lnTo>
                <a:lnTo>
                  <a:pt x="825" y="47"/>
                </a:lnTo>
                <a:lnTo>
                  <a:pt x="820" y="72"/>
                </a:lnTo>
                <a:lnTo>
                  <a:pt x="816" y="96"/>
                </a:lnTo>
                <a:lnTo>
                  <a:pt x="826" y="111"/>
                </a:lnTo>
                <a:lnTo>
                  <a:pt x="834" y="122"/>
                </a:lnTo>
                <a:lnTo>
                  <a:pt x="837" y="129"/>
                </a:lnTo>
                <a:lnTo>
                  <a:pt x="838" y="135"/>
                </a:lnTo>
                <a:lnTo>
                  <a:pt x="839" y="143"/>
                </a:lnTo>
                <a:lnTo>
                  <a:pt x="839" y="154"/>
                </a:lnTo>
                <a:lnTo>
                  <a:pt x="825" y="164"/>
                </a:lnTo>
                <a:lnTo>
                  <a:pt x="812" y="177"/>
                </a:lnTo>
                <a:lnTo>
                  <a:pt x="801" y="193"/>
                </a:lnTo>
                <a:lnTo>
                  <a:pt x="792" y="208"/>
                </a:lnTo>
                <a:lnTo>
                  <a:pt x="785" y="224"/>
                </a:lnTo>
                <a:lnTo>
                  <a:pt x="778" y="242"/>
                </a:lnTo>
                <a:lnTo>
                  <a:pt x="773" y="259"/>
                </a:lnTo>
                <a:lnTo>
                  <a:pt x="770" y="276"/>
                </a:lnTo>
                <a:lnTo>
                  <a:pt x="755" y="277"/>
                </a:lnTo>
                <a:lnTo>
                  <a:pt x="742" y="277"/>
                </a:lnTo>
                <a:lnTo>
                  <a:pt x="727" y="278"/>
                </a:lnTo>
                <a:lnTo>
                  <a:pt x="714" y="280"/>
                </a:lnTo>
                <a:lnTo>
                  <a:pt x="712" y="302"/>
                </a:lnTo>
                <a:lnTo>
                  <a:pt x="713" y="320"/>
                </a:lnTo>
                <a:lnTo>
                  <a:pt x="714" y="328"/>
                </a:lnTo>
                <a:lnTo>
                  <a:pt x="717" y="336"/>
                </a:lnTo>
                <a:lnTo>
                  <a:pt x="720" y="342"/>
                </a:lnTo>
                <a:lnTo>
                  <a:pt x="722" y="349"/>
                </a:lnTo>
                <a:lnTo>
                  <a:pt x="726" y="355"/>
                </a:lnTo>
                <a:lnTo>
                  <a:pt x="731" y="360"/>
                </a:lnTo>
                <a:lnTo>
                  <a:pt x="736" y="366"/>
                </a:lnTo>
                <a:lnTo>
                  <a:pt x="743" y="371"/>
                </a:lnTo>
                <a:lnTo>
                  <a:pt x="757" y="381"/>
                </a:lnTo>
                <a:lnTo>
                  <a:pt x="775" y="390"/>
                </a:lnTo>
                <a:lnTo>
                  <a:pt x="785" y="427"/>
                </a:lnTo>
                <a:lnTo>
                  <a:pt x="792" y="453"/>
                </a:lnTo>
                <a:lnTo>
                  <a:pt x="796" y="463"/>
                </a:lnTo>
                <a:lnTo>
                  <a:pt x="801" y="471"/>
                </a:lnTo>
                <a:lnTo>
                  <a:pt x="805" y="478"/>
                </a:lnTo>
                <a:lnTo>
                  <a:pt x="812" y="484"/>
                </a:lnTo>
                <a:lnTo>
                  <a:pt x="818" y="488"/>
                </a:lnTo>
                <a:lnTo>
                  <a:pt x="826" y="492"/>
                </a:lnTo>
                <a:lnTo>
                  <a:pt x="835" y="494"/>
                </a:lnTo>
                <a:lnTo>
                  <a:pt x="847" y="497"/>
                </a:lnTo>
                <a:lnTo>
                  <a:pt x="874" y="502"/>
                </a:lnTo>
                <a:lnTo>
                  <a:pt x="909" y="509"/>
                </a:lnTo>
                <a:lnTo>
                  <a:pt x="925" y="501"/>
                </a:lnTo>
                <a:lnTo>
                  <a:pt x="938" y="494"/>
                </a:lnTo>
                <a:lnTo>
                  <a:pt x="943" y="493"/>
                </a:lnTo>
                <a:lnTo>
                  <a:pt x="947" y="492"/>
                </a:lnTo>
                <a:lnTo>
                  <a:pt x="951" y="492"/>
                </a:lnTo>
                <a:lnTo>
                  <a:pt x="955" y="493"/>
                </a:lnTo>
                <a:lnTo>
                  <a:pt x="963" y="496"/>
                </a:lnTo>
                <a:lnTo>
                  <a:pt x="971" y="504"/>
                </a:lnTo>
                <a:lnTo>
                  <a:pt x="980" y="513"/>
                </a:lnTo>
                <a:lnTo>
                  <a:pt x="991" y="527"/>
                </a:lnTo>
                <a:lnTo>
                  <a:pt x="1021" y="527"/>
                </a:lnTo>
                <a:lnTo>
                  <a:pt x="1051" y="528"/>
                </a:lnTo>
                <a:lnTo>
                  <a:pt x="1081" y="530"/>
                </a:lnTo>
                <a:lnTo>
                  <a:pt x="1112" y="531"/>
                </a:lnTo>
                <a:lnTo>
                  <a:pt x="1136" y="549"/>
                </a:lnTo>
                <a:lnTo>
                  <a:pt x="1159" y="567"/>
                </a:lnTo>
                <a:lnTo>
                  <a:pt x="1171" y="574"/>
                </a:lnTo>
                <a:lnTo>
                  <a:pt x="1184" y="582"/>
                </a:lnTo>
                <a:lnTo>
                  <a:pt x="1197" y="587"/>
                </a:lnTo>
                <a:lnTo>
                  <a:pt x="1213" y="589"/>
                </a:lnTo>
                <a:lnTo>
                  <a:pt x="1213" y="605"/>
                </a:lnTo>
                <a:lnTo>
                  <a:pt x="1213" y="623"/>
                </a:lnTo>
                <a:lnTo>
                  <a:pt x="1200" y="623"/>
                </a:lnTo>
                <a:lnTo>
                  <a:pt x="1187" y="623"/>
                </a:lnTo>
                <a:lnTo>
                  <a:pt x="1174" y="623"/>
                </a:lnTo>
                <a:lnTo>
                  <a:pt x="1161" y="623"/>
                </a:lnTo>
                <a:lnTo>
                  <a:pt x="1155" y="638"/>
                </a:lnTo>
                <a:lnTo>
                  <a:pt x="1154" y="652"/>
                </a:lnTo>
                <a:lnTo>
                  <a:pt x="1154" y="667"/>
                </a:lnTo>
                <a:lnTo>
                  <a:pt x="1155" y="682"/>
                </a:lnTo>
                <a:lnTo>
                  <a:pt x="1159" y="696"/>
                </a:lnTo>
                <a:lnTo>
                  <a:pt x="1164" y="710"/>
                </a:lnTo>
                <a:lnTo>
                  <a:pt x="1171" y="723"/>
                </a:lnTo>
                <a:lnTo>
                  <a:pt x="1180" y="736"/>
                </a:lnTo>
                <a:lnTo>
                  <a:pt x="1189" y="748"/>
                </a:lnTo>
                <a:lnTo>
                  <a:pt x="1200" y="759"/>
                </a:lnTo>
                <a:lnTo>
                  <a:pt x="1211" y="768"/>
                </a:lnTo>
                <a:lnTo>
                  <a:pt x="1224" y="777"/>
                </a:lnTo>
                <a:lnTo>
                  <a:pt x="1237" y="783"/>
                </a:lnTo>
                <a:lnTo>
                  <a:pt x="1252" y="788"/>
                </a:lnTo>
                <a:lnTo>
                  <a:pt x="1266" y="791"/>
                </a:lnTo>
                <a:lnTo>
                  <a:pt x="1282" y="792"/>
                </a:lnTo>
                <a:lnTo>
                  <a:pt x="1293" y="783"/>
                </a:lnTo>
                <a:lnTo>
                  <a:pt x="1301" y="777"/>
                </a:lnTo>
                <a:lnTo>
                  <a:pt x="1306" y="770"/>
                </a:lnTo>
                <a:lnTo>
                  <a:pt x="1311" y="761"/>
                </a:lnTo>
                <a:lnTo>
                  <a:pt x="1335" y="760"/>
                </a:lnTo>
                <a:lnTo>
                  <a:pt x="1358" y="760"/>
                </a:lnTo>
                <a:lnTo>
                  <a:pt x="1382" y="760"/>
                </a:lnTo>
                <a:lnTo>
                  <a:pt x="1404" y="760"/>
                </a:lnTo>
                <a:lnTo>
                  <a:pt x="1419" y="768"/>
                </a:lnTo>
                <a:lnTo>
                  <a:pt x="1430" y="772"/>
                </a:lnTo>
                <a:lnTo>
                  <a:pt x="1439" y="773"/>
                </a:lnTo>
                <a:lnTo>
                  <a:pt x="1455" y="773"/>
                </a:lnTo>
                <a:lnTo>
                  <a:pt x="1461" y="762"/>
                </a:lnTo>
                <a:lnTo>
                  <a:pt x="1469" y="752"/>
                </a:lnTo>
                <a:lnTo>
                  <a:pt x="1477" y="743"/>
                </a:lnTo>
                <a:lnTo>
                  <a:pt x="1486" y="733"/>
                </a:lnTo>
                <a:lnTo>
                  <a:pt x="1504" y="747"/>
                </a:lnTo>
                <a:lnTo>
                  <a:pt x="1526" y="762"/>
                </a:lnTo>
                <a:lnTo>
                  <a:pt x="1538" y="770"/>
                </a:lnTo>
                <a:lnTo>
                  <a:pt x="1550" y="778"/>
                </a:lnTo>
                <a:lnTo>
                  <a:pt x="1559" y="786"/>
                </a:lnTo>
                <a:lnTo>
                  <a:pt x="1568" y="795"/>
                </a:lnTo>
                <a:lnTo>
                  <a:pt x="1576" y="804"/>
                </a:lnTo>
                <a:lnTo>
                  <a:pt x="1581" y="813"/>
                </a:lnTo>
                <a:lnTo>
                  <a:pt x="1582" y="818"/>
                </a:lnTo>
                <a:lnTo>
                  <a:pt x="1583" y="822"/>
                </a:lnTo>
                <a:lnTo>
                  <a:pt x="1583" y="827"/>
                </a:lnTo>
                <a:lnTo>
                  <a:pt x="1583" y="833"/>
                </a:lnTo>
                <a:lnTo>
                  <a:pt x="1582" y="838"/>
                </a:lnTo>
                <a:lnTo>
                  <a:pt x="1579" y="843"/>
                </a:lnTo>
                <a:lnTo>
                  <a:pt x="1577" y="848"/>
                </a:lnTo>
                <a:lnTo>
                  <a:pt x="1573" y="853"/>
                </a:lnTo>
                <a:lnTo>
                  <a:pt x="1563" y="865"/>
                </a:lnTo>
                <a:lnTo>
                  <a:pt x="1547" y="877"/>
                </a:lnTo>
                <a:lnTo>
                  <a:pt x="1544" y="906"/>
                </a:lnTo>
                <a:lnTo>
                  <a:pt x="1544" y="929"/>
                </a:lnTo>
                <a:lnTo>
                  <a:pt x="1544" y="939"/>
                </a:lnTo>
                <a:lnTo>
                  <a:pt x="1546" y="948"/>
                </a:lnTo>
                <a:lnTo>
                  <a:pt x="1547" y="956"/>
                </a:lnTo>
                <a:lnTo>
                  <a:pt x="1550" y="964"/>
                </a:lnTo>
                <a:lnTo>
                  <a:pt x="1553" y="972"/>
                </a:lnTo>
                <a:lnTo>
                  <a:pt x="1557" y="978"/>
                </a:lnTo>
                <a:lnTo>
                  <a:pt x="1563" y="986"/>
                </a:lnTo>
                <a:lnTo>
                  <a:pt x="1569" y="993"/>
                </a:lnTo>
                <a:lnTo>
                  <a:pt x="1587" y="1007"/>
                </a:lnTo>
                <a:lnTo>
                  <a:pt x="1611" y="1025"/>
                </a:lnTo>
                <a:lnTo>
                  <a:pt x="1611" y="1071"/>
                </a:lnTo>
                <a:lnTo>
                  <a:pt x="1608" y="1105"/>
                </a:lnTo>
                <a:lnTo>
                  <a:pt x="1606" y="1133"/>
                </a:lnTo>
                <a:lnTo>
                  <a:pt x="1604" y="1162"/>
                </a:lnTo>
                <a:lnTo>
                  <a:pt x="1613" y="1174"/>
                </a:lnTo>
                <a:lnTo>
                  <a:pt x="1622" y="1184"/>
                </a:lnTo>
                <a:lnTo>
                  <a:pt x="1634" y="1192"/>
                </a:lnTo>
                <a:lnTo>
                  <a:pt x="1646" y="1198"/>
                </a:lnTo>
                <a:lnTo>
                  <a:pt x="1659" y="1203"/>
                </a:lnTo>
                <a:lnTo>
                  <a:pt x="1673" y="1206"/>
                </a:lnTo>
                <a:lnTo>
                  <a:pt x="1687" y="1209"/>
                </a:lnTo>
                <a:lnTo>
                  <a:pt x="1702" y="1209"/>
                </a:lnTo>
                <a:lnTo>
                  <a:pt x="1733" y="1209"/>
                </a:lnTo>
                <a:lnTo>
                  <a:pt x="1764" y="1209"/>
                </a:lnTo>
                <a:lnTo>
                  <a:pt x="1794" y="1207"/>
                </a:lnTo>
                <a:lnTo>
                  <a:pt x="1821" y="1210"/>
                </a:lnTo>
                <a:lnTo>
                  <a:pt x="1823" y="1228"/>
                </a:lnTo>
                <a:lnTo>
                  <a:pt x="1824" y="1244"/>
                </a:lnTo>
                <a:lnTo>
                  <a:pt x="1827" y="1258"/>
                </a:lnTo>
                <a:lnTo>
                  <a:pt x="1829" y="1270"/>
                </a:lnTo>
                <a:lnTo>
                  <a:pt x="1833" y="1280"/>
                </a:lnTo>
                <a:lnTo>
                  <a:pt x="1840" y="1289"/>
                </a:lnTo>
                <a:lnTo>
                  <a:pt x="1845" y="1297"/>
                </a:lnTo>
                <a:lnTo>
                  <a:pt x="1853" y="1304"/>
                </a:lnTo>
                <a:lnTo>
                  <a:pt x="1892" y="1327"/>
                </a:lnTo>
                <a:lnTo>
                  <a:pt x="1949" y="1360"/>
                </a:lnTo>
                <a:lnTo>
                  <a:pt x="1949" y="1365"/>
                </a:lnTo>
                <a:lnTo>
                  <a:pt x="1949" y="1373"/>
                </a:lnTo>
                <a:lnTo>
                  <a:pt x="1996" y="1391"/>
                </a:lnTo>
                <a:lnTo>
                  <a:pt x="2043" y="1408"/>
                </a:lnTo>
                <a:lnTo>
                  <a:pt x="2066" y="1414"/>
                </a:lnTo>
                <a:lnTo>
                  <a:pt x="2091" y="1421"/>
                </a:lnTo>
                <a:lnTo>
                  <a:pt x="2115" y="1426"/>
                </a:lnTo>
                <a:lnTo>
                  <a:pt x="2142" y="1431"/>
                </a:lnTo>
                <a:lnTo>
                  <a:pt x="2149" y="1449"/>
                </a:lnTo>
                <a:lnTo>
                  <a:pt x="2160" y="1469"/>
                </a:lnTo>
                <a:lnTo>
                  <a:pt x="2182" y="1469"/>
                </a:lnTo>
                <a:lnTo>
                  <a:pt x="2200" y="1470"/>
                </a:lnTo>
                <a:lnTo>
                  <a:pt x="2216" y="1471"/>
                </a:lnTo>
                <a:lnTo>
                  <a:pt x="2229" y="1474"/>
                </a:lnTo>
                <a:lnTo>
                  <a:pt x="2240" y="1477"/>
                </a:lnTo>
                <a:lnTo>
                  <a:pt x="2250" y="1481"/>
                </a:lnTo>
                <a:lnTo>
                  <a:pt x="2257" y="1486"/>
                </a:lnTo>
                <a:lnTo>
                  <a:pt x="2264" y="1492"/>
                </a:lnTo>
                <a:lnTo>
                  <a:pt x="2268" y="1500"/>
                </a:lnTo>
                <a:lnTo>
                  <a:pt x="2272" y="1509"/>
                </a:lnTo>
                <a:lnTo>
                  <a:pt x="2274" y="1520"/>
                </a:lnTo>
                <a:lnTo>
                  <a:pt x="2277" y="1531"/>
                </a:lnTo>
                <a:lnTo>
                  <a:pt x="2281" y="1561"/>
                </a:lnTo>
                <a:lnTo>
                  <a:pt x="2286" y="1598"/>
                </a:lnTo>
                <a:lnTo>
                  <a:pt x="2296" y="1611"/>
                </a:lnTo>
                <a:lnTo>
                  <a:pt x="2308" y="1622"/>
                </a:lnTo>
                <a:lnTo>
                  <a:pt x="2321" y="1633"/>
                </a:lnTo>
                <a:lnTo>
                  <a:pt x="2334" y="1641"/>
                </a:lnTo>
                <a:lnTo>
                  <a:pt x="2347" y="1647"/>
                </a:lnTo>
                <a:lnTo>
                  <a:pt x="2360" y="1652"/>
                </a:lnTo>
                <a:lnTo>
                  <a:pt x="2374" y="1657"/>
                </a:lnTo>
                <a:lnTo>
                  <a:pt x="2389" y="1660"/>
                </a:lnTo>
                <a:lnTo>
                  <a:pt x="2419" y="1665"/>
                </a:lnTo>
                <a:lnTo>
                  <a:pt x="2450" y="1668"/>
                </a:lnTo>
                <a:lnTo>
                  <a:pt x="2482" y="1670"/>
                </a:lnTo>
                <a:lnTo>
                  <a:pt x="2516" y="1673"/>
                </a:lnTo>
                <a:lnTo>
                  <a:pt x="2523" y="1677"/>
                </a:lnTo>
                <a:lnTo>
                  <a:pt x="2529" y="1681"/>
                </a:lnTo>
                <a:lnTo>
                  <a:pt x="2536" y="1683"/>
                </a:lnTo>
                <a:lnTo>
                  <a:pt x="2544" y="1686"/>
                </a:lnTo>
                <a:lnTo>
                  <a:pt x="2559" y="1689"/>
                </a:lnTo>
                <a:lnTo>
                  <a:pt x="2577" y="1690"/>
                </a:lnTo>
                <a:lnTo>
                  <a:pt x="2596" y="1690"/>
                </a:lnTo>
                <a:lnTo>
                  <a:pt x="2615" y="1687"/>
                </a:lnTo>
                <a:lnTo>
                  <a:pt x="2636" y="1685"/>
                </a:lnTo>
                <a:lnTo>
                  <a:pt x="2655" y="1681"/>
                </a:lnTo>
                <a:lnTo>
                  <a:pt x="2676" y="1676"/>
                </a:lnTo>
                <a:lnTo>
                  <a:pt x="2696" y="1669"/>
                </a:lnTo>
                <a:lnTo>
                  <a:pt x="2715" y="1663"/>
                </a:lnTo>
                <a:lnTo>
                  <a:pt x="2733" y="1655"/>
                </a:lnTo>
                <a:lnTo>
                  <a:pt x="2750" y="1647"/>
                </a:lnTo>
                <a:lnTo>
                  <a:pt x="2766" y="1639"/>
                </a:lnTo>
                <a:lnTo>
                  <a:pt x="2779" y="1633"/>
                </a:lnTo>
                <a:lnTo>
                  <a:pt x="2791" y="1625"/>
                </a:lnTo>
                <a:lnTo>
                  <a:pt x="2805" y="1652"/>
                </a:lnTo>
                <a:lnTo>
                  <a:pt x="2819" y="1676"/>
                </a:lnTo>
                <a:lnTo>
                  <a:pt x="2826" y="1687"/>
                </a:lnTo>
                <a:lnTo>
                  <a:pt x="2834" y="1696"/>
                </a:lnTo>
                <a:lnTo>
                  <a:pt x="2841" y="1707"/>
                </a:lnTo>
                <a:lnTo>
                  <a:pt x="2849" y="1715"/>
                </a:lnTo>
                <a:lnTo>
                  <a:pt x="2858" y="1722"/>
                </a:lnTo>
                <a:lnTo>
                  <a:pt x="2867" y="1730"/>
                </a:lnTo>
                <a:lnTo>
                  <a:pt x="2878" y="1737"/>
                </a:lnTo>
                <a:lnTo>
                  <a:pt x="2890" y="1742"/>
                </a:lnTo>
                <a:lnTo>
                  <a:pt x="2901" y="1747"/>
                </a:lnTo>
                <a:lnTo>
                  <a:pt x="2914" y="1752"/>
                </a:lnTo>
                <a:lnTo>
                  <a:pt x="2927" y="1756"/>
                </a:lnTo>
                <a:lnTo>
                  <a:pt x="2943" y="1759"/>
                </a:lnTo>
                <a:lnTo>
                  <a:pt x="2957" y="1769"/>
                </a:lnTo>
                <a:lnTo>
                  <a:pt x="2972" y="1780"/>
                </a:lnTo>
                <a:lnTo>
                  <a:pt x="2986" y="1790"/>
                </a:lnTo>
                <a:lnTo>
                  <a:pt x="3000" y="1799"/>
                </a:lnTo>
                <a:lnTo>
                  <a:pt x="3003" y="1816"/>
                </a:lnTo>
                <a:lnTo>
                  <a:pt x="3007" y="1829"/>
                </a:lnTo>
                <a:lnTo>
                  <a:pt x="3011" y="1841"/>
                </a:lnTo>
                <a:lnTo>
                  <a:pt x="3014" y="1850"/>
                </a:lnTo>
                <a:lnTo>
                  <a:pt x="3020" y="1858"/>
                </a:lnTo>
                <a:lnTo>
                  <a:pt x="3025" y="1864"/>
                </a:lnTo>
                <a:lnTo>
                  <a:pt x="3031" y="1868"/>
                </a:lnTo>
                <a:lnTo>
                  <a:pt x="3039" y="1872"/>
                </a:lnTo>
                <a:lnTo>
                  <a:pt x="3047" y="1875"/>
                </a:lnTo>
                <a:lnTo>
                  <a:pt x="3056" y="1875"/>
                </a:lnTo>
                <a:lnTo>
                  <a:pt x="3065" y="1876"/>
                </a:lnTo>
                <a:lnTo>
                  <a:pt x="3076" y="1876"/>
                </a:lnTo>
                <a:lnTo>
                  <a:pt x="3100" y="1875"/>
                </a:lnTo>
                <a:lnTo>
                  <a:pt x="3128" y="1875"/>
                </a:lnTo>
                <a:lnTo>
                  <a:pt x="3145" y="1890"/>
                </a:lnTo>
                <a:lnTo>
                  <a:pt x="3159" y="1905"/>
                </a:lnTo>
                <a:lnTo>
                  <a:pt x="3171" y="1918"/>
                </a:lnTo>
                <a:lnTo>
                  <a:pt x="3178" y="1929"/>
                </a:lnTo>
                <a:lnTo>
                  <a:pt x="3185" y="1940"/>
                </a:lnTo>
                <a:lnTo>
                  <a:pt x="3189" y="1949"/>
                </a:lnTo>
                <a:lnTo>
                  <a:pt x="3191" y="1959"/>
                </a:lnTo>
                <a:lnTo>
                  <a:pt x="3191" y="1968"/>
                </a:lnTo>
                <a:lnTo>
                  <a:pt x="3190" y="1990"/>
                </a:lnTo>
                <a:lnTo>
                  <a:pt x="3188" y="2015"/>
                </a:lnTo>
                <a:lnTo>
                  <a:pt x="3186" y="2030"/>
                </a:lnTo>
                <a:lnTo>
                  <a:pt x="3185" y="2046"/>
                </a:lnTo>
                <a:lnTo>
                  <a:pt x="3185" y="2065"/>
                </a:lnTo>
                <a:lnTo>
                  <a:pt x="3185" y="2087"/>
                </a:lnTo>
                <a:lnTo>
                  <a:pt x="3199" y="2104"/>
                </a:lnTo>
                <a:lnTo>
                  <a:pt x="3215" y="2121"/>
                </a:lnTo>
                <a:lnTo>
                  <a:pt x="3233" y="2136"/>
                </a:lnTo>
                <a:lnTo>
                  <a:pt x="3253" y="2150"/>
                </a:lnTo>
                <a:lnTo>
                  <a:pt x="3275" y="2162"/>
                </a:lnTo>
                <a:lnTo>
                  <a:pt x="3296" y="2173"/>
                </a:lnTo>
                <a:lnTo>
                  <a:pt x="3318" y="2182"/>
                </a:lnTo>
                <a:lnTo>
                  <a:pt x="3340" y="2187"/>
                </a:lnTo>
                <a:lnTo>
                  <a:pt x="3337" y="2204"/>
                </a:lnTo>
                <a:lnTo>
                  <a:pt x="3336" y="2219"/>
                </a:lnTo>
                <a:lnTo>
                  <a:pt x="3332" y="2232"/>
                </a:lnTo>
                <a:lnTo>
                  <a:pt x="3328" y="2244"/>
                </a:lnTo>
                <a:lnTo>
                  <a:pt x="3324" y="2253"/>
                </a:lnTo>
                <a:lnTo>
                  <a:pt x="3319" y="2261"/>
                </a:lnTo>
                <a:lnTo>
                  <a:pt x="3312" y="2268"/>
                </a:lnTo>
                <a:lnTo>
                  <a:pt x="3305" y="2273"/>
                </a:lnTo>
                <a:lnTo>
                  <a:pt x="3297" y="2277"/>
                </a:lnTo>
                <a:lnTo>
                  <a:pt x="3288" y="2281"/>
                </a:lnTo>
                <a:lnTo>
                  <a:pt x="3277" y="2283"/>
                </a:lnTo>
                <a:lnTo>
                  <a:pt x="3266" y="2284"/>
                </a:lnTo>
                <a:lnTo>
                  <a:pt x="3238" y="2288"/>
                </a:lnTo>
                <a:lnTo>
                  <a:pt x="3204" y="2292"/>
                </a:lnTo>
                <a:lnTo>
                  <a:pt x="3160" y="2311"/>
                </a:lnTo>
                <a:lnTo>
                  <a:pt x="3115" y="2329"/>
                </a:lnTo>
                <a:lnTo>
                  <a:pt x="3090" y="2335"/>
                </a:lnTo>
                <a:lnTo>
                  <a:pt x="3067" y="2340"/>
                </a:lnTo>
                <a:lnTo>
                  <a:pt x="3042" y="2344"/>
                </a:lnTo>
                <a:lnTo>
                  <a:pt x="3016" y="2346"/>
                </a:lnTo>
                <a:lnTo>
                  <a:pt x="3000" y="2333"/>
                </a:lnTo>
                <a:lnTo>
                  <a:pt x="2985" y="2321"/>
                </a:lnTo>
                <a:lnTo>
                  <a:pt x="2970" y="2312"/>
                </a:lnTo>
                <a:lnTo>
                  <a:pt x="2957" y="2305"/>
                </a:lnTo>
                <a:lnTo>
                  <a:pt x="2944" y="2300"/>
                </a:lnTo>
                <a:lnTo>
                  <a:pt x="2933" y="2297"/>
                </a:lnTo>
                <a:lnTo>
                  <a:pt x="2921" y="2297"/>
                </a:lnTo>
                <a:lnTo>
                  <a:pt x="2909" y="2299"/>
                </a:lnTo>
                <a:lnTo>
                  <a:pt x="2897" y="2301"/>
                </a:lnTo>
                <a:lnTo>
                  <a:pt x="2886" y="2305"/>
                </a:lnTo>
                <a:lnTo>
                  <a:pt x="2873" y="2312"/>
                </a:lnTo>
                <a:lnTo>
                  <a:pt x="2860" y="2320"/>
                </a:lnTo>
                <a:lnTo>
                  <a:pt x="2831" y="2338"/>
                </a:lnTo>
                <a:lnTo>
                  <a:pt x="2797" y="2360"/>
                </a:lnTo>
                <a:lnTo>
                  <a:pt x="2779" y="2360"/>
                </a:lnTo>
                <a:lnTo>
                  <a:pt x="2762" y="2360"/>
                </a:lnTo>
                <a:lnTo>
                  <a:pt x="2745" y="2360"/>
                </a:lnTo>
                <a:lnTo>
                  <a:pt x="2730" y="2361"/>
                </a:lnTo>
                <a:lnTo>
                  <a:pt x="2720" y="2350"/>
                </a:lnTo>
                <a:lnTo>
                  <a:pt x="2711" y="2342"/>
                </a:lnTo>
                <a:lnTo>
                  <a:pt x="2702" y="2337"/>
                </a:lnTo>
                <a:lnTo>
                  <a:pt x="2692" y="2334"/>
                </a:lnTo>
                <a:lnTo>
                  <a:pt x="2681" y="2333"/>
                </a:lnTo>
                <a:lnTo>
                  <a:pt x="2670" y="2333"/>
                </a:lnTo>
                <a:lnTo>
                  <a:pt x="2655" y="2334"/>
                </a:lnTo>
                <a:lnTo>
                  <a:pt x="2641" y="2334"/>
                </a:lnTo>
                <a:lnTo>
                  <a:pt x="2625" y="2300"/>
                </a:lnTo>
                <a:lnTo>
                  <a:pt x="2615" y="2275"/>
                </a:lnTo>
                <a:lnTo>
                  <a:pt x="2611" y="2270"/>
                </a:lnTo>
                <a:lnTo>
                  <a:pt x="2607" y="2266"/>
                </a:lnTo>
                <a:lnTo>
                  <a:pt x="2602" y="2262"/>
                </a:lnTo>
                <a:lnTo>
                  <a:pt x="2596" y="2260"/>
                </a:lnTo>
                <a:lnTo>
                  <a:pt x="2589" y="2257"/>
                </a:lnTo>
                <a:lnTo>
                  <a:pt x="2581" y="2256"/>
                </a:lnTo>
                <a:lnTo>
                  <a:pt x="2571" y="2256"/>
                </a:lnTo>
                <a:lnTo>
                  <a:pt x="2560" y="2256"/>
                </a:lnTo>
                <a:lnTo>
                  <a:pt x="2555" y="2260"/>
                </a:lnTo>
                <a:lnTo>
                  <a:pt x="2549" y="2264"/>
                </a:lnTo>
                <a:lnTo>
                  <a:pt x="2542" y="2266"/>
                </a:lnTo>
                <a:lnTo>
                  <a:pt x="2534" y="2269"/>
                </a:lnTo>
                <a:lnTo>
                  <a:pt x="2519" y="2271"/>
                </a:lnTo>
                <a:lnTo>
                  <a:pt x="2502" y="2271"/>
                </a:lnTo>
                <a:lnTo>
                  <a:pt x="2467" y="2269"/>
                </a:lnTo>
                <a:lnTo>
                  <a:pt x="2436" y="2264"/>
                </a:lnTo>
                <a:lnTo>
                  <a:pt x="2424" y="2239"/>
                </a:lnTo>
                <a:lnTo>
                  <a:pt x="2413" y="2222"/>
                </a:lnTo>
                <a:lnTo>
                  <a:pt x="2407" y="2214"/>
                </a:lnTo>
                <a:lnTo>
                  <a:pt x="2402" y="2209"/>
                </a:lnTo>
                <a:lnTo>
                  <a:pt x="2395" y="2204"/>
                </a:lnTo>
                <a:lnTo>
                  <a:pt x="2389" y="2200"/>
                </a:lnTo>
                <a:lnTo>
                  <a:pt x="2381" y="2197"/>
                </a:lnTo>
                <a:lnTo>
                  <a:pt x="2373" y="2195"/>
                </a:lnTo>
                <a:lnTo>
                  <a:pt x="2365" y="2193"/>
                </a:lnTo>
                <a:lnTo>
                  <a:pt x="2355" y="2192"/>
                </a:lnTo>
                <a:lnTo>
                  <a:pt x="2334" y="2192"/>
                </a:lnTo>
                <a:lnTo>
                  <a:pt x="2308" y="2193"/>
                </a:lnTo>
                <a:lnTo>
                  <a:pt x="2308" y="2187"/>
                </a:lnTo>
                <a:lnTo>
                  <a:pt x="2308" y="2180"/>
                </a:lnTo>
                <a:lnTo>
                  <a:pt x="2291" y="2171"/>
                </a:lnTo>
                <a:lnTo>
                  <a:pt x="2276" y="2164"/>
                </a:lnTo>
                <a:lnTo>
                  <a:pt x="2261" y="2158"/>
                </a:lnTo>
                <a:lnTo>
                  <a:pt x="2248" y="2154"/>
                </a:lnTo>
                <a:lnTo>
                  <a:pt x="2218" y="2150"/>
                </a:lnTo>
                <a:lnTo>
                  <a:pt x="2182" y="2148"/>
                </a:lnTo>
                <a:lnTo>
                  <a:pt x="2170" y="2136"/>
                </a:lnTo>
                <a:lnTo>
                  <a:pt x="2158" y="2126"/>
                </a:lnTo>
                <a:lnTo>
                  <a:pt x="2147" y="2115"/>
                </a:lnTo>
                <a:lnTo>
                  <a:pt x="2135" y="2105"/>
                </a:lnTo>
                <a:lnTo>
                  <a:pt x="2117" y="2108"/>
                </a:lnTo>
                <a:lnTo>
                  <a:pt x="2099" y="2110"/>
                </a:lnTo>
                <a:lnTo>
                  <a:pt x="2080" y="2113"/>
                </a:lnTo>
                <a:lnTo>
                  <a:pt x="2062" y="2115"/>
                </a:lnTo>
                <a:lnTo>
                  <a:pt x="2061" y="2153"/>
                </a:lnTo>
                <a:lnTo>
                  <a:pt x="2060" y="2174"/>
                </a:lnTo>
                <a:lnTo>
                  <a:pt x="2058" y="2180"/>
                </a:lnTo>
                <a:lnTo>
                  <a:pt x="2057" y="2186"/>
                </a:lnTo>
                <a:lnTo>
                  <a:pt x="2056" y="2190"/>
                </a:lnTo>
                <a:lnTo>
                  <a:pt x="2053" y="2193"/>
                </a:lnTo>
                <a:lnTo>
                  <a:pt x="2036" y="2204"/>
                </a:lnTo>
                <a:lnTo>
                  <a:pt x="2023" y="2216"/>
                </a:lnTo>
                <a:lnTo>
                  <a:pt x="2011" y="2227"/>
                </a:lnTo>
                <a:lnTo>
                  <a:pt x="2002" y="2239"/>
                </a:lnTo>
                <a:lnTo>
                  <a:pt x="1993" y="2253"/>
                </a:lnTo>
                <a:lnTo>
                  <a:pt x="1985" y="2268"/>
                </a:lnTo>
                <a:lnTo>
                  <a:pt x="1978" y="2283"/>
                </a:lnTo>
                <a:lnTo>
                  <a:pt x="1970" y="2301"/>
                </a:lnTo>
                <a:lnTo>
                  <a:pt x="1968" y="2322"/>
                </a:lnTo>
                <a:lnTo>
                  <a:pt x="1966" y="2339"/>
                </a:lnTo>
                <a:lnTo>
                  <a:pt x="1962" y="2352"/>
                </a:lnTo>
                <a:lnTo>
                  <a:pt x="1958" y="2364"/>
                </a:lnTo>
                <a:lnTo>
                  <a:pt x="1946" y="2385"/>
                </a:lnTo>
                <a:lnTo>
                  <a:pt x="1935" y="2411"/>
                </a:lnTo>
                <a:lnTo>
                  <a:pt x="1897" y="2412"/>
                </a:lnTo>
                <a:lnTo>
                  <a:pt x="1862" y="2413"/>
                </a:lnTo>
                <a:lnTo>
                  <a:pt x="1845" y="2415"/>
                </a:lnTo>
                <a:lnTo>
                  <a:pt x="1828" y="2417"/>
                </a:lnTo>
                <a:lnTo>
                  <a:pt x="1812" y="2420"/>
                </a:lnTo>
                <a:lnTo>
                  <a:pt x="1797" y="2424"/>
                </a:lnTo>
                <a:lnTo>
                  <a:pt x="1782" y="2430"/>
                </a:lnTo>
                <a:lnTo>
                  <a:pt x="1768" y="2437"/>
                </a:lnTo>
                <a:lnTo>
                  <a:pt x="1755" y="2445"/>
                </a:lnTo>
                <a:lnTo>
                  <a:pt x="1742" y="2454"/>
                </a:lnTo>
                <a:lnTo>
                  <a:pt x="1730" y="2464"/>
                </a:lnTo>
                <a:lnTo>
                  <a:pt x="1719" y="2477"/>
                </a:lnTo>
                <a:lnTo>
                  <a:pt x="1707" y="2493"/>
                </a:lnTo>
                <a:lnTo>
                  <a:pt x="1697" y="2510"/>
                </a:lnTo>
                <a:lnTo>
                  <a:pt x="1674" y="2526"/>
                </a:lnTo>
                <a:lnTo>
                  <a:pt x="1652" y="2543"/>
                </a:lnTo>
                <a:lnTo>
                  <a:pt x="1630" y="2562"/>
                </a:lnTo>
                <a:lnTo>
                  <a:pt x="1608" y="2578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89" name="Freeform 54"/>
          <p:cNvSpPr>
            <a:spLocks/>
          </p:cNvSpPr>
          <p:nvPr/>
        </p:nvSpPr>
        <p:spPr bwMode="auto">
          <a:xfrm>
            <a:off x="3300413" y="1978025"/>
            <a:ext cx="1120775" cy="1460500"/>
          </a:xfrm>
          <a:custGeom>
            <a:avLst/>
            <a:gdLst>
              <a:gd name="T0" fmla="*/ 2147483647 w 2826"/>
              <a:gd name="T1" fmla="*/ 2147483647 h 3681"/>
              <a:gd name="T2" fmla="*/ 2147483647 w 2826"/>
              <a:gd name="T3" fmla="*/ 2147483647 h 3681"/>
              <a:gd name="T4" fmla="*/ 2147483647 w 2826"/>
              <a:gd name="T5" fmla="*/ 2147483647 h 3681"/>
              <a:gd name="T6" fmla="*/ 2147483647 w 2826"/>
              <a:gd name="T7" fmla="*/ 2147483647 h 3681"/>
              <a:gd name="T8" fmla="*/ 2147483647 w 2826"/>
              <a:gd name="T9" fmla="*/ 2147483647 h 3681"/>
              <a:gd name="T10" fmla="*/ 2147483647 w 2826"/>
              <a:gd name="T11" fmla="*/ 2147483647 h 3681"/>
              <a:gd name="T12" fmla="*/ 2147483647 w 2826"/>
              <a:gd name="T13" fmla="*/ 2147483647 h 3681"/>
              <a:gd name="T14" fmla="*/ 2147483647 w 2826"/>
              <a:gd name="T15" fmla="*/ 2147483647 h 3681"/>
              <a:gd name="T16" fmla="*/ 2147483647 w 2826"/>
              <a:gd name="T17" fmla="*/ 2147483647 h 3681"/>
              <a:gd name="T18" fmla="*/ 2147483647 w 2826"/>
              <a:gd name="T19" fmla="*/ 2147483647 h 3681"/>
              <a:gd name="T20" fmla="*/ 2147483647 w 2826"/>
              <a:gd name="T21" fmla="*/ 2147483647 h 3681"/>
              <a:gd name="T22" fmla="*/ 2147483647 w 2826"/>
              <a:gd name="T23" fmla="*/ 2147483647 h 3681"/>
              <a:gd name="T24" fmla="*/ 2147483647 w 2826"/>
              <a:gd name="T25" fmla="*/ 2147483647 h 3681"/>
              <a:gd name="T26" fmla="*/ 2147483647 w 2826"/>
              <a:gd name="T27" fmla="*/ 2147483647 h 3681"/>
              <a:gd name="T28" fmla="*/ 2147483647 w 2826"/>
              <a:gd name="T29" fmla="*/ 2147483647 h 3681"/>
              <a:gd name="T30" fmla="*/ 2147483647 w 2826"/>
              <a:gd name="T31" fmla="*/ 2147483647 h 3681"/>
              <a:gd name="T32" fmla="*/ 2147483647 w 2826"/>
              <a:gd name="T33" fmla="*/ 2147483647 h 3681"/>
              <a:gd name="T34" fmla="*/ 2147483647 w 2826"/>
              <a:gd name="T35" fmla="*/ 2147483647 h 3681"/>
              <a:gd name="T36" fmla="*/ 2147483647 w 2826"/>
              <a:gd name="T37" fmla="*/ 2147483647 h 3681"/>
              <a:gd name="T38" fmla="*/ 2147483647 w 2826"/>
              <a:gd name="T39" fmla="*/ 2147483647 h 3681"/>
              <a:gd name="T40" fmla="*/ 2147483647 w 2826"/>
              <a:gd name="T41" fmla="*/ 2147483647 h 3681"/>
              <a:gd name="T42" fmla="*/ 2147483647 w 2826"/>
              <a:gd name="T43" fmla="*/ 2147483647 h 3681"/>
              <a:gd name="T44" fmla="*/ 2147483647 w 2826"/>
              <a:gd name="T45" fmla="*/ 2147483647 h 3681"/>
              <a:gd name="T46" fmla="*/ 2147483647 w 2826"/>
              <a:gd name="T47" fmla="*/ 2147483647 h 3681"/>
              <a:gd name="T48" fmla="*/ 2147483647 w 2826"/>
              <a:gd name="T49" fmla="*/ 2147483647 h 3681"/>
              <a:gd name="T50" fmla="*/ 2147483647 w 2826"/>
              <a:gd name="T51" fmla="*/ 2147483647 h 3681"/>
              <a:gd name="T52" fmla="*/ 2147483647 w 2826"/>
              <a:gd name="T53" fmla="*/ 2147483647 h 3681"/>
              <a:gd name="T54" fmla="*/ 2147483647 w 2826"/>
              <a:gd name="T55" fmla="*/ 2147483647 h 3681"/>
              <a:gd name="T56" fmla="*/ 2147483647 w 2826"/>
              <a:gd name="T57" fmla="*/ 2147483647 h 3681"/>
              <a:gd name="T58" fmla="*/ 2147483647 w 2826"/>
              <a:gd name="T59" fmla="*/ 2147483647 h 3681"/>
              <a:gd name="T60" fmla="*/ 2147483647 w 2826"/>
              <a:gd name="T61" fmla="*/ 2147483647 h 3681"/>
              <a:gd name="T62" fmla="*/ 2147483647 w 2826"/>
              <a:gd name="T63" fmla="*/ 2147483647 h 3681"/>
              <a:gd name="T64" fmla="*/ 2147483647 w 2826"/>
              <a:gd name="T65" fmla="*/ 2147483647 h 3681"/>
              <a:gd name="T66" fmla="*/ 2147483647 w 2826"/>
              <a:gd name="T67" fmla="*/ 2147483647 h 3681"/>
              <a:gd name="T68" fmla="*/ 2147483647 w 2826"/>
              <a:gd name="T69" fmla="*/ 2147483647 h 3681"/>
              <a:gd name="T70" fmla="*/ 2147483647 w 2826"/>
              <a:gd name="T71" fmla="*/ 2147483647 h 3681"/>
              <a:gd name="T72" fmla="*/ 2147483647 w 2826"/>
              <a:gd name="T73" fmla="*/ 2147483647 h 3681"/>
              <a:gd name="T74" fmla="*/ 2147483647 w 2826"/>
              <a:gd name="T75" fmla="*/ 2147483647 h 3681"/>
              <a:gd name="T76" fmla="*/ 2147483647 w 2826"/>
              <a:gd name="T77" fmla="*/ 2147483647 h 3681"/>
              <a:gd name="T78" fmla="*/ 2147483647 w 2826"/>
              <a:gd name="T79" fmla="*/ 2147483647 h 3681"/>
              <a:gd name="T80" fmla="*/ 2147483647 w 2826"/>
              <a:gd name="T81" fmla="*/ 2147483647 h 3681"/>
              <a:gd name="T82" fmla="*/ 2147483647 w 2826"/>
              <a:gd name="T83" fmla="*/ 2147483647 h 3681"/>
              <a:gd name="T84" fmla="*/ 2147483647 w 2826"/>
              <a:gd name="T85" fmla="*/ 2147483647 h 3681"/>
              <a:gd name="T86" fmla="*/ 2147483647 w 2826"/>
              <a:gd name="T87" fmla="*/ 2147483647 h 3681"/>
              <a:gd name="T88" fmla="*/ 2147483647 w 2826"/>
              <a:gd name="T89" fmla="*/ 2147483647 h 3681"/>
              <a:gd name="T90" fmla="*/ 2147483647 w 2826"/>
              <a:gd name="T91" fmla="*/ 2147483647 h 3681"/>
              <a:gd name="T92" fmla="*/ 2147483647 w 2826"/>
              <a:gd name="T93" fmla="*/ 2147483647 h 3681"/>
              <a:gd name="T94" fmla="*/ 2147483647 w 2826"/>
              <a:gd name="T95" fmla="*/ 2147483647 h 3681"/>
              <a:gd name="T96" fmla="*/ 2147483647 w 2826"/>
              <a:gd name="T97" fmla="*/ 2147483647 h 3681"/>
              <a:gd name="T98" fmla="*/ 2147483647 w 2826"/>
              <a:gd name="T99" fmla="*/ 2147483647 h 3681"/>
              <a:gd name="T100" fmla="*/ 2147483647 w 2826"/>
              <a:gd name="T101" fmla="*/ 2147483647 h 3681"/>
              <a:gd name="T102" fmla="*/ 2147483647 w 2826"/>
              <a:gd name="T103" fmla="*/ 2147483647 h 3681"/>
              <a:gd name="T104" fmla="*/ 2147483647 w 2826"/>
              <a:gd name="T105" fmla="*/ 2147483647 h 3681"/>
              <a:gd name="T106" fmla="*/ 2147483647 w 2826"/>
              <a:gd name="T107" fmla="*/ 2147483647 h 3681"/>
              <a:gd name="T108" fmla="*/ 2147483647 w 2826"/>
              <a:gd name="T109" fmla="*/ 2147483647 h 3681"/>
              <a:gd name="T110" fmla="*/ 2147483647 w 2826"/>
              <a:gd name="T111" fmla="*/ 2147483647 h 3681"/>
              <a:gd name="T112" fmla="*/ 2147483647 w 2826"/>
              <a:gd name="T113" fmla="*/ 2147483647 h 3681"/>
              <a:gd name="T114" fmla="*/ 2147483647 w 2826"/>
              <a:gd name="T115" fmla="*/ 2147483647 h 3681"/>
              <a:gd name="T116" fmla="*/ 2147483647 w 2826"/>
              <a:gd name="T117" fmla="*/ 2147483647 h 3681"/>
              <a:gd name="T118" fmla="*/ 2147483647 w 2826"/>
              <a:gd name="T119" fmla="*/ 2147483647 h 3681"/>
              <a:gd name="T120" fmla="*/ 2147483647 w 2826"/>
              <a:gd name="T121" fmla="*/ 2147483647 h 3681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826"/>
              <a:gd name="T184" fmla="*/ 0 h 3681"/>
              <a:gd name="T185" fmla="*/ 2826 w 2826"/>
              <a:gd name="T186" fmla="*/ 3681 h 3681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826" h="3681">
                <a:moveTo>
                  <a:pt x="2491" y="3681"/>
                </a:moveTo>
                <a:lnTo>
                  <a:pt x="2485" y="3668"/>
                </a:lnTo>
                <a:lnTo>
                  <a:pt x="2477" y="3655"/>
                </a:lnTo>
                <a:lnTo>
                  <a:pt x="2469" y="3644"/>
                </a:lnTo>
                <a:lnTo>
                  <a:pt x="2460" y="3633"/>
                </a:lnTo>
                <a:lnTo>
                  <a:pt x="2439" y="3612"/>
                </a:lnTo>
                <a:lnTo>
                  <a:pt x="2416" y="3592"/>
                </a:lnTo>
                <a:lnTo>
                  <a:pt x="2388" y="3593"/>
                </a:lnTo>
                <a:lnTo>
                  <a:pt x="2360" y="3594"/>
                </a:lnTo>
                <a:lnTo>
                  <a:pt x="2347" y="3593"/>
                </a:lnTo>
                <a:lnTo>
                  <a:pt x="2334" y="3592"/>
                </a:lnTo>
                <a:lnTo>
                  <a:pt x="2327" y="3589"/>
                </a:lnTo>
                <a:lnTo>
                  <a:pt x="2321" y="3586"/>
                </a:lnTo>
                <a:lnTo>
                  <a:pt x="2314" y="3584"/>
                </a:lnTo>
                <a:lnTo>
                  <a:pt x="2309" y="3580"/>
                </a:lnTo>
                <a:lnTo>
                  <a:pt x="2306" y="3566"/>
                </a:lnTo>
                <a:lnTo>
                  <a:pt x="2303" y="3553"/>
                </a:lnTo>
                <a:lnTo>
                  <a:pt x="2297" y="3541"/>
                </a:lnTo>
                <a:lnTo>
                  <a:pt x="2292" y="3530"/>
                </a:lnTo>
                <a:lnTo>
                  <a:pt x="2286" y="3520"/>
                </a:lnTo>
                <a:lnTo>
                  <a:pt x="2278" y="3511"/>
                </a:lnTo>
                <a:lnTo>
                  <a:pt x="2270" y="3503"/>
                </a:lnTo>
                <a:lnTo>
                  <a:pt x="2262" y="3497"/>
                </a:lnTo>
                <a:lnTo>
                  <a:pt x="2252" y="3490"/>
                </a:lnTo>
                <a:lnTo>
                  <a:pt x="2243" y="3484"/>
                </a:lnTo>
                <a:lnTo>
                  <a:pt x="2231" y="3478"/>
                </a:lnTo>
                <a:lnTo>
                  <a:pt x="2221" y="3475"/>
                </a:lnTo>
                <a:lnTo>
                  <a:pt x="2196" y="3467"/>
                </a:lnTo>
                <a:lnTo>
                  <a:pt x="2170" y="3460"/>
                </a:lnTo>
                <a:lnTo>
                  <a:pt x="2156" y="3447"/>
                </a:lnTo>
                <a:lnTo>
                  <a:pt x="2143" y="3434"/>
                </a:lnTo>
                <a:lnTo>
                  <a:pt x="2130" y="3421"/>
                </a:lnTo>
                <a:lnTo>
                  <a:pt x="2119" y="3408"/>
                </a:lnTo>
                <a:lnTo>
                  <a:pt x="2109" y="3394"/>
                </a:lnTo>
                <a:lnTo>
                  <a:pt x="2101" y="3380"/>
                </a:lnTo>
                <a:lnTo>
                  <a:pt x="2092" y="3363"/>
                </a:lnTo>
                <a:lnTo>
                  <a:pt x="2085" y="3344"/>
                </a:lnTo>
                <a:lnTo>
                  <a:pt x="2072" y="3342"/>
                </a:lnTo>
                <a:lnTo>
                  <a:pt x="2061" y="3339"/>
                </a:lnTo>
                <a:lnTo>
                  <a:pt x="2048" y="3348"/>
                </a:lnTo>
                <a:lnTo>
                  <a:pt x="2035" y="3357"/>
                </a:lnTo>
                <a:lnTo>
                  <a:pt x="2023" y="3368"/>
                </a:lnTo>
                <a:lnTo>
                  <a:pt x="2011" y="3378"/>
                </a:lnTo>
                <a:lnTo>
                  <a:pt x="1981" y="3381"/>
                </a:lnTo>
                <a:lnTo>
                  <a:pt x="1953" y="3385"/>
                </a:lnTo>
                <a:lnTo>
                  <a:pt x="1925" y="3391"/>
                </a:lnTo>
                <a:lnTo>
                  <a:pt x="1899" y="3395"/>
                </a:lnTo>
                <a:lnTo>
                  <a:pt x="1885" y="3398"/>
                </a:lnTo>
                <a:lnTo>
                  <a:pt x="1872" y="3399"/>
                </a:lnTo>
                <a:lnTo>
                  <a:pt x="1859" y="3399"/>
                </a:lnTo>
                <a:lnTo>
                  <a:pt x="1845" y="3399"/>
                </a:lnTo>
                <a:lnTo>
                  <a:pt x="1832" y="3396"/>
                </a:lnTo>
                <a:lnTo>
                  <a:pt x="1819" y="3394"/>
                </a:lnTo>
                <a:lnTo>
                  <a:pt x="1804" y="3390"/>
                </a:lnTo>
                <a:lnTo>
                  <a:pt x="1791" y="3383"/>
                </a:lnTo>
                <a:lnTo>
                  <a:pt x="1763" y="3382"/>
                </a:lnTo>
                <a:lnTo>
                  <a:pt x="1733" y="3380"/>
                </a:lnTo>
                <a:lnTo>
                  <a:pt x="1703" y="3377"/>
                </a:lnTo>
                <a:lnTo>
                  <a:pt x="1673" y="3373"/>
                </a:lnTo>
                <a:lnTo>
                  <a:pt x="1659" y="3369"/>
                </a:lnTo>
                <a:lnTo>
                  <a:pt x="1644" y="3365"/>
                </a:lnTo>
                <a:lnTo>
                  <a:pt x="1631" y="3360"/>
                </a:lnTo>
                <a:lnTo>
                  <a:pt x="1618" y="3355"/>
                </a:lnTo>
                <a:lnTo>
                  <a:pt x="1607" y="3347"/>
                </a:lnTo>
                <a:lnTo>
                  <a:pt x="1595" y="3338"/>
                </a:lnTo>
                <a:lnTo>
                  <a:pt x="1584" y="3328"/>
                </a:lnTo>
                <a:lnTo>
                  <a:pt x="1575" y="3316"/>
                </a:lnTo>
                <a:lnTo>
                  <a:pt x="1574" y="3279"/>
                </a:lnTo>
                <a:lnTo>
                  <a:pt x="1570" y="3251"/>
                </a:lnTo>
                <a:lnTo>
                  <a:pt x="1568" y="3239"/>
                </a:lnTo>
                <a:lnTo>
                  <a:pt x="1564" y="3229"/>
                </a:lnTo>
                <a:lnTo>
                  <a:pt x="1560" y="3220"/>
                </a:lnTo>
                <a:lnTo>
                  <a:pt x="1555" y="3213"/>
                </a:lnTo>
                <a:lnTo>
                  <a:pt x="1548" y="3207"/>
                </a:lnTo>
                <a:lnTo>
                  <a:pt x="1540" y="3201"/>
                </a:lnTo>
                <a:lnTo>
                  <a:pt x="1530" y="3197"/>
                </a:lnTo>
                <a:lnTo>
                  <a:pt x="1519" y="3194"/>
                </a:lnTo>
                <a:lnTo>
                  <a:pt x="1491" y="3187"/>
                </a:lnTo>
                <a:lnTo>
                  <a:pt x="1454" y="3182"/>
                </a:lnTo>
                <a:lnTo>
                  <a:pt x="1444" y="3171"/>
                </a:lnTo>
                <a:lnTo>
                  <a:pt x="1432" y="3162"/>
                </a:lnTo>
                <a:lnTo>
                  <a:pt x="1421" y="3154"/>
                </a:lnTo>
                <a:lnTo>
                  <a:pt x="1408" y="3148"/>
                </a:lnTo>
                <a:lnTo>
                  <a:pt x="1381" y="3136"/>
                </a:lnTo>
                <a:lnTo>
                  <a:pt x="1354" y="3126"/>
                </a:lnTo>
                <a:lnTo>
                  <a:pt x="1326" y="3117"/>
                </a:lnTo>
                <a:lnTo>
                  <a:pt x="1297" y="3109"/>
                </a:lnTo>
                <a:lnTo>
                  <a:pt x="1270" y="3100"/>
                </a:lnTo>
                <a:lnTo>
                  <a:pt x="1241" y="3089"/>
                </a:lnTo>
                <a:lnTo>
                  <a:pt x="1237" y="3082"/>
                </a:lnTo>
                <a:lnTo>
                  <a:pt x="1232" y="3075"/>
                </a:lnTo>
                <a:lnTo>
                  <a:pt x="1227" y="3069"/>
                </a:lnTo>
                <a:lnTo>
                  <a:pt x="1220" y="3063"/>
                </a:lnTo>
                <a:lnTo>
                  <a:pt x="1206" y="3052"/>
                </a:lnTo>
                <a:lnTo>
                  <a:pt x="1190" y="3043"/>
                </a:lnTo>
                <a:lnTo>
                  <a:pt x="1155" y="3024"/>
                </a:lnTo>
                <a:lnTo>
                  <a:pt x="1124" y="3009"/>
                </a:lnTo>
                <a:lnTo>
                  <a:pt x="1119" y="2996"/>
                </a:lnTo>
                <a:lnTo>
                  <a:pt x="1115" y="2984"/>
                </a:lnTo>
                <a:lnTo>
                  <a:pt x="1112" y="2963"/>
                </a:lnTo>
                <a:lnTo>
                  <a:pt x="1111" y="2928"/>
                </a:lnTo>
                <a:lnTo>
                  <a:pt x="1068" y="2922"/>
                </a:lnTo>
                <a:lnTo>
                  <a:pt x="1022" y="2918"/>
                </a:lnTo>
                <a:lnTo>
                  <a:pt x="977" y="2915"/>
                </a:lnTo>
                <a:lnTo>
                  <a:pt x="934" y="2914"/>
                </a:lnTo>
                <a:lnTo>
                  <a:pt x="925" y="2910"/>
                </a:lnTo>
                <a:lnTo>
                  <a:pt x="918" y="2906"/>
                </a:lnTo>
                <a:lnTo>
                  <a:pt x="913" y="2902"/>
                </a:lnTo>
                <a:lnTo>
                  <a:pt x="908" y="2897"/>
                </a:lnTo>
                <a:lnTo>
                  <a:pt x="904" y="2890"/>
                </a:lnTo>
                <a:lnTo>
                  <a:pt x="901" y="2885"/>
                </a:lnTo>
                <a:lnTo>
                  <a:pt x="900" y="2879"/>
                </a:lnTo>
                <a:lnTo>
                  <a:pt x="899" y="2872"/>
                </a:lnTo>
                <a:lnTo>
                  <a:pt x="898" y="2858"/>
                </a:lnTo>
                <a:lnTo>
                  <a:pt x="899" y="2842"/>
                </a:lnTo>
                <a:lnTo>
                  <a:pt x="901" y="2828"/>
                </a:lnTo>
                <a:lnTo>
                  <a:pt x="904" y="2812"/>
                </a:lnTo>
                <a:lnTo>
                  <a:pt x="905" y="2797"/>
                </a:lnTo>
                <a:lnTo>
                  <a:pt x="907" y="2781"/>
                </a:lnTo>
                <a:lnTo>
                  <a:pt x="907" y="2773"/>
                </a:lnTo>
                <a:lnTo>
                  <a:pt x="905" y="2767"/>
                </a:lnTo>
                <a:lnTo>
                  <a:pt x="904" y="2760"/>
                </a:lnTo>
                <a:lnTo>
                  <a:pt x="903" y="2754"/>
                </a:lnTo>
                <a:lnTo>
                  <a:pt x="899" y="2747"/>
                </a:lnTo>
                <a:lnTo>
                  <a:pt x="896" y="2741"/>
                </a:lnTo>
                <a:lnTo>
                  <a:pt x="891" y="2736"/>
                </a:lnTo>
                <a:lnTo>
                  <a:pt x="885" y="2730"/>
                </a:lnTo>
                <a:lnTo>
                  <a:pt x="878" y="2725"/>
                </a:lnTo>
                <a:lnTo>
                  <a:pt x="870" y="2721"/>
                </a:lnTo>
                <a:lnTo>
                  <a:pt x="860" y="2717"/>
                </a:lnTo>
                <a:lnTo>
                  <a:pt x="849" y="2713"/>
                </a:lnTo>
                <a:lnTo>
                  <a:pt x="842" y="2689"/>
                </a:lnTo>
                <a:lnTo>
                  <a:pt x="836" y="2667"/>
                </a:lnTo>
                <a:lnTo>
                  <a:pt x="835" y="2655"/>
                </a:lnTo>
                <a:lnTo>
                  <a:pt x="834" y="2642"/>
                </a:lnTo>
                <a:lnTo>
                  <a:pt x="834" y="2629"/>
                </a:lnTo>
                <a:lnTo>
                  <a:pt x="835" y="2615"/>
                </a:lnTo>
                <a:lnTo>
                  <a:pt x="847" y="2604"/>
                </a:lnTo>
                <a:lnTo>
                  <a:pt x="857" y="2594"/>
                </a:lnTo>
                <a:lnTo>
                  <a:pt x="865" y="2583"/>
                </a:lnTo>
                <a:lnTo>
                  <a:pt x="870" y="2574"/>
                </a:lnTo>
                <a:lnTo>
                  <a:pt x="874" y="2564"/>
                </a:lnTo>
                <a:lnTo>
                  <a:pt x="877" y="2555"/>
                </a:lnTo>
                <a:lnTo>
                  <a:pt x="877" y="2544"/>
                </a:lnTo>
                <a:lnTo>
                  <a:pt x="875" y="2535"/>
                </a:lnTo>
                <a:lnTo>
                  <a:pt x="873" y="2527"/>
                </a:lnTo>
                <a:lnTo>
                  <a:pt x="868" y="2518"/>
                </a:lnTo>
                <a:lnTo>
                  <a:pt x="861" y="2512"/>
                </a:lnTo>
                <a:lnTo>
                  <a:pt x="853" y="2504"/>
                </a:lnTo>
                <a:lnTo>
                  <a:pt x="843" y="2498"/>
                </a:lnTo>
                <a:lnTo>
                  <a:pt x="832" y="2492"/>
                </a:lnTo>
                <a:lnTo>
                  <a:pt x="819" y="2487"/>
                </a:lnTo>
                <a:lnTo>
                  <a:pt x="805" y="2483"/>
                </a:lnTo>
                <a:lnTo>
                  <a:pt x="799" y="2475"/>
                </a:lnTo>
                <a:lnTo>
                  <a:pt x="793" y="2468"/>
                </a:lnTo>
                <a:lnTo>
                  <a:pt x="788" y="2461"/>
                </a:lnTo>
                <a:lnTo>
                  <a:pt x="782" y="2455"/>
                </a:lnTo>
                <a:lnTo>
                  <a:pt x="775" y="2451"/>
                </a:lnTo>
                <a:lnTo>
                  <a:pt x="767" y="2448"/>
                </a:lnTo>
                <a:lnTo>
                  <a:pt x="758" y="2448"/>
                </a:lnTo>
                <a:lnTo>
                  <a:pt x="749" y="2448"/>
                </a:lnTo>
                <a:lnTo>
                  <a:pt x="741" y="2462"/>
                </a:lnTo>
                <a:lnTo>
                  <a:pt x="736" y="2472"/>
                </a:lnTo>
                <a:lnTo>
                  <a:pt x="727" y="2478"/>
                </a:lnTo>
                <a:lnTo>
                  <a:pt x="714" y="2486"/>
                </a:lnTo>
                <a:lnTo>
                  <a:pt x="700" y="2479"/>
                </a:lnTo>
                <a:lnTo>
                  <a:pt x="687" y="2474"/>
                </a:lnTo>
                <a:lnTo>
                  <a:pt x="675" y="2470"/>
                </a:lnTo>
                <a:lnTo>
                  <a:pt x="663" y="2469"/>
                </a:lnTo>
                <a:lnTo>
                  <a:pt x="652" y="2468"/>
                </a:lnTo>
                <a:lnTo>
                  <a:pt x="641" y="2469"/>
                </a:lnTo>
                <a:lnTo>
                  <a:pt x="631" y="2470"/>
                </a:lnTo>
                <a:lnTo>
                  <a:pt x="622" y="2472"/>
                </a:lnTo>
                <a:lnTo>
                  <a:pt x="583" y="2486"/>
                </a:lnTo>
                <a:lnTo>
                  <a:pt x="541" y="2504"/>
                </a:lnTo>
                <a:lnTo>
                  <a:pt x="518" y="2488"/>
                </a:lnTo>
                <a:lnTo>
                  <a:pt x="497" y="2474"/>
                </a:lnTo>
                <a:lnTo>
                  <a:pt x="488" y="2468"/>
                </a:lnTo>
                <a:lnTo>
                  <a:pt x="480" y="2461"/>
                </a:lnTo>
                <a:lnTo>
                  <a:pt x="472" y="2453"/>
                </a:lnTo>
                <a:lnTo>
                  <a:pt x="464" y="2445"/>
                </a:lnTo>
                <a:lnTo>
                  <a:pt x="459" y="2438"/>
                </a:lnTo>
                <a:lnTo>
                  <a:pt x="454" y="2430"/>
                </a:lnTo>
                <a:lnTo>
                  <a:pt x="450" y="2421"/>
                </a:lnTo>
                <a:lnTo>
                  <a:pt x="446" y="2410"/>
                </a:lnTo>
                <a:lnTo>
                  <a:pt x="445" y="2400"/>
                </a:lnTo>
                <a:lnTo>
                  <a:pt x="443" y="2388"/>
                </a:lnTo>
                <a:lnTo>
                  <a:pt x="443" y="2375"/>
                </a:lnTo>
                <a:lnTo>
                  <a:pt x="445" y="2360"/>
                </a:lnTo>
                <a:lnTo>
                  <a:pt x="458" y="2358"/>
                </a:lnTo>
                <a:lnTo>
                  <a:pt x="471" y="2357"/>
                </a:lnTo>
                <a:lnTo>
                  <a:pt x="484" y="2356"/>
                </a:lnTo>
                <a:lnTo>
                  <a:pt x="497" y="2354"/>
                </a:lnTo>
                <a:lnTo>
                  <a:pt x="499" y="2351"/>
                </a:lnTo>
                <a:lnTo>
                  <a:pt x="502" y="2345"/>
                </a:lnTo>
                <a:lnTo>
                  <a:pt x="503" y="2341"/>
                </a:lnTo>
                <a:lnTo>
                  <a:pt x="503" y="2338"/>
                </a:lnTo>
                <a:lnTo>
                  <a:pt x="503" y="2328"/>
                </a:lnTo>
                <a:lnTo>
                  <a:pt x="499" y="2321"/>
                </a:lnTo>
                <a:lnTo>
                  <a:pt x="494" y="2313"/>
                </a:lnTo>
                <a:lnTo>
                  <a:pt x="488" y="2306"/>
                </a:lnTo>
                <a:lnTo>
                  <a:pt x="479" y="2298"/>
                </a:lnTo>
                <a:lnTo>
                  <a:pt x="469" y="2292"/>
                </a:lnTo>
                <a:lnTo>
                  <a:pt x="429" y="2266"/>
                </a:lnTo>
                <a:lnTo>
                  <a:pt x="397" y="2245"/>
                </a:lnTo>
                <a:lnTo>
                  <a:pt x="367" y="2244"/>
                </a:lnTo>
                <a:lnTo>
                  <a:pt x="337" y="2243"/>
                </a:lnTo>
                <a:lnTo>
                  <a:pt x="307" y="2240"/>
                </a:lnTo>
                <a:lnTo>
                  <a:pt x="277" y="2239"/>
                </a:lnTo>
                <a:lnTo>
                  <a:pt x="267" y="2230"/>
                </a:lnTo>
                <a:lnTo>
                  <a:pt x="256" y="2222"/>
                </a:lnTo>
                <a:lnTo>
                  <a:pt x="248" y="2215"/>
                </a:lnTo>
                <a:lnTo>
                  <a:pt x="239" y="2213"/>
                </a:lnTo>
                <a:lnTo>
                  <a:pt x="231" y="2210"/>
                </a:lnTo>
                <a:lnTo>
                  <a:pt x="225" y="2210"/>
                </a:lnTo>
                <a:lnTo>
                  <a:pt x="218" y="2210"/>
                </a:lnTo>
                <a:lnTo>
                  <a:pt x="211" y="2211"/>
                </a:lnTo>
                <a:lnTo>
                  <a:pt x="198" y="2213"/>
                </a:lnTo>
                <a:lnTo>
                  <a:pt x="183" y="2214"/>
                </a:lnTo>
                <a:lnTo>
                  <a:pt x="174" y="2214"/>
                </a:lnTo>
                <a:lnTo>
                  <a:pt x="165" y="2211"/>
                </a:lnTo>
                <a:lnTo>
                  <a:pt x="156" y="2207"/>
                </a:lnTo>
                <a:lnTo>
                  <a:pt x="144" y="2202"/>
                </a:lnTo>
                <a:lnTo>
                  <a:pt x="131" y="2201"/>
                </a:lnTo>
                <a:lnTo>
                  <a:pt x="117" y="2201"/>
                </a:lnTo>
                <a:lnTo>
                  <a:pt x="104" y="2201"/>
                </a:lnTo>
                <a:lnTo>
                  <a:pt x="91" y="2201"/>
                </a:lnTo>
                <a:lnTo>
                  <a:pt x="82" y="2159"/>
                </a:lnTo>
                <a:lnTo>
                  <a:pt x="75" y="2135"/>
                </a:lnTo>
                <a:lnTo>
                  <a:pt x="70" y="2119"/>
                </a:lnTo>
                <a:lnTo>
                  <a:pt x="62" y="2102"/>
                </a:lnTo>
                <a:lnTo>
                  <a:pt x="51" y="2096"/>
                </a:lnTo>
                <a:lnTo>
                  <a:pt x="38" y="2089"/>
                </a:lnTo>
                <a:lnTo>
                  <a:pt x="27" y="2080"/>
                </a:lnTo>
                <a:lnTo>
                  <a:pt x="17" y="2070"/>
                </a:lnTo>
                <a:lnTo>
                  <a:pt x="12" y="2064"/>
                </a:lnTo>
                <a:lnTo>
                  <a:pt x="8" y="2059"/>
                </a:lnTo>
                <a:lnTo>
                  <a:pt x="5" y="2053"/>
                </a:lnTo>
                <a:lnTo>
                  <a:pt x="2" y="2047"/>
                </a:lnTo>
                <a:lnTo>
                  <a:pt x="0" y="2041"/>
                </a:lnTo>
                <a:lnTo>
                  <a:pt x="0" y="2034"/>
                </a:lnTo>
                <a:lnTo>
                  <a:pt x="0" y="2027"/>
                </a:lnTo>
                <a:lnTo>
                  <a:pt x="1" y="2020"/>
                </a:lnTo>
                <a:lnTo>
                  <a:pt x="14" y="2016"/>
                </a:lnTo>
                <a:lnTo>
                  <a:pt x="26" y="2012"/>
                </a:lnTo>
                <a:lnTo>
                  <a:pt x="35" y="2008"/>
                </a:lnTo>
                <a:lnTo>
                  <a:pt x="44" y="2003"/>
                </a:lnTo>
                <a:lnTo>
                  <a:pt x="52" y="1998"/>
                </a:lnTo>
                <a:lnTo>
                  <a:pt x="57" y="1993"/>
                </a:lnTo>
                <a:lnTo>
                  <a:pt x="64" y="1986"/>
                </a:lnTo>
                <a:lnTo>
                  <a:pt x="67" y="1980"/>
                </a:lnTo>
                <a:lnTo>
                  <a:pt x="83" y="1947"/>
                </a:lnTo>
                <a:lnTo>
                  <a:pt x="104" y="1903"/>
                </a:lnTo>
                <a:lnTo>
                  <a:pt x="112" y="1897"/>
                </a:lnTo>
                <a:lnTo>
                  <a:pt x="118" y="1890"/>
                </a:lnTo>
                <a:lnTo>
                  <a:pt x="123" y="1885"/>
                </a:lnTo>
                <a:lnTo>
                  <a:pt x="126" y="1878"/>
                </a:lnTo>
                <a:lnTo>
                  <a:pt x="127" y="1872"/>
                </a:lnTo>
                <a:lnTo>
                  <a:pt x="129" y="1865"/>
                </a:lnTo>
                <a:lnTo>
                  <a:pt x="129" y="1859"/>
                </a:lnTo>
                <a:lnTo>
                  <a:pt x="129" y="1852"/>
                </a:lnTo>
                <a:lnTo>
                  <a:pt x="121" y="1824"/>
                </a:lnTo>
                <a:lnTo>
                  <a:pt x="114" y="1791"/>
                </a:lnTo>
                <a:lnTo>
                  <a:pt x="117" y="1773"/>
                </a:lnTo>
                <a:lnTo>
                  <a:pt x="121" y="1755"/>
                </a:lnTo>
                <a:lnTo>
                  <a:pt x="125" y="1737"/>
                </a:lnTo>
                <a:lnTo>
                  <a:pt x="130" y="1720"/>
                </a:lnTo>
                <a:lnTo>
                  <a:pt x="152" y="1722"/>
                </a:lnTo>
                <a:lnTo>
                  <a:pt x="175" y="1725"/>
                </a:lnTo>
                <a:lnTo>
                  <a:pt x="198" y="1726"/>
                </a:lnTo>
                <a:lnTo>
                  <a:pt x="222" y="1726"/>
                </a:lnTo>
                <a:lnTo>
                  <a:pt x="222" y="1716"/>
                </a:lnTo>
                <a:lnTo>
                  <a:pt x="224" y="1708"/>
                </a:lnTo>
                <a:lnTo>
                  <a:pt x="226" y="1700"/>
                </a:lnTo>
                <a:lnTo>
                  <a:pt x="229" y="1694"/>
                </a:lnTo>
                <a:lnTo>
                  <a:pt x="233" y="1688"/>
                </a:lnTo>
                <a:lnTo>
                  <a:pt x="237" y="1684"/>
                </a:lnTo>
                <a:lnTo>
                  <a:pt x="242" y="1681"/>
                </a:lnTo>
                <a:lnTo>
                  <a:pt x="247" y="1677"/>
                </a:lnTo>
                <a:lnTo>
                  <a:pt x="274" y="1669"/>
                </a:lnTo>
                <a:lnTo>
                  <a:pt x="307" y="1660"/>
                </a:lnTo>
                <a:lnTo>
                  <a:pt x="316" y="1648"/>
                </a:lnTo>
                <a:lnTo>
                  <a:pt x="325" y="1638"/>
                </a:lnTo>
                <a:lnTo>
                  <a:pt x="334" y="1629"/>
                </a:lnTo>
                <a:lnTo>
                  <a:pt x="343" y="1621"/>
                </a:lnTo>
                <a:lnTo>
                  <a:pt x="354" y="1616"/>
                </a:lnTo>
                <a:lnTo>
                  <a:pt x="364" y="1610"/>
                </a:lnTo>
                <a:lnTo>
                  <a:pt x="375" y="1605"/>
                </a:lnTo>
                <a:lnTo>
                  <a:pt x="385" y="1603"/>
                </a:lnTo>
                <a:lnTo>
                  <a:pt x="408" y="1597"/>
                </a:lnTo>
                <a:lnTo>
                  <a:pt x="433" y="1593"/>
                </a:lnTo>
                <a:lnTo>
                  <a:pt x="460" y="1591"/>
                </a:lnTo>
                <a:lnTo>
                  <a:pt x="492" y="1587"/>
                </a:lnTo>
                <a:lnTo>
                  <a:pt x="527" y="1587"/>
                </a:lnTo>
                <a:lnTo>
                  <a:pt x="554" y="1587"/>
                </a:lnTo>
                <a:lnTo>
                  <a:pt x="566" y="1586"/>
                </a:lnTo>
                <a:lnTo>
                  <a:pt x="575" y="1584"/>
                </a:lnTo>
                <a:lnTo>
                  <a:pt x="584" y="1582"/>
                </a:lnTo>
                <a:lnTo>
                  <a:pt x="592" y="1579"/>
                </a:lnTo>
                <a:lnTo>
                  <a:pt x="598" y="1574"/>
                </a:lnTo>
                <a:lnTo>
                  <a:pt x="605" y="1569"/>
                </a:lnTo>
                <a:lnTo>
                  <a:pt x="611" y="1562"/>
                </a:lnTo>
                <a:lnTo>
                  <a:pt x="618" y="1554"/>
                </a:lnTo>
                <a:lnTo>
                  <a:pt x="630" y="1532"/>
                </a:lnTo>
                <a:lnTo>
                  <a:pt x="645" y="1502"/>
                </a:lnTo>
                <a:lnTo>
                  <a:pt x="669" y="1498"/>
                </a:lnTo>
                <a:lnTo>
                  <a:pt x="692" y="1493"/>
                </a:lnTo>
                <a:lnTo>
                  <a:pt x="714" y="1487"/>
                </a:lnTo>
                <a:lnTo>
                  <a:pt x="736" y="1479"/>
                </a:lnTo>
                <a:lnTo>
                  <a:pt x="747" y="1474"/>
                </a:lnTo>
                <a:lnTo>
                  <a:pt x="756" y="1469"/>
                </a:lnTo>
                <a:lnTo>
                  <a:pt x="765" y="1462"/>
                </a:lnTo>
                <a:lnTo>
                  <a:pt x="774" y="1456"/>
                </a:lnTo>
                <a:lnTo>
                  <a:pt x="782" y="1446"/>
                </a:lnTo>
                <a:lnTo>
                  <a:pt x="788" y="1439"/>
                </a:lnTo>
                <a:lnTo>
                  <a:pt x="793" y="1428"/>
                </a:lnTo>
                <a:lnTo>
                  <a:pt x="799" y="1418"/>
                </a:lnTo>
                <a:lnTo>
                  <a:pt x="814" y="1415"/>
                </a:lnTo>
                <a:lnTo>
                  <a:pt x="831" y="1413"/>
                </a:lnTo>
                <a:lnTo>
                  <a:pt x="836" y="1402"/>
                </a:lnTo>
                <a:lnTo>
                  <a:pt x="838" y="1392"/>
                </a:lnTo>
                <a:lnTo>
                  <a:pt x="839" y="1384"/>
                </a:lnTo>
                <a:lnTo>
                  <a:pt x="838" y="1375"/>
                </a:lnTo>
                <a:lnTo>
                  <a:pt x="835" y="1367"/>
                </a:lnTo>
                <a:lnTo>
                  <a:pt x="832" y="1361"/>
                </a:lnTo>
                <a:lnTo>
                  <a:pt x="827" y="1354"/>
                </a:lnTo>
                <a:lnTo>
                  <a:pt x="822" y="1348"/>
                </a:lnTo>
                <a:lnTo>
                  <a:pt x="810" y="1335"/>
                </a:lnTo>
                <a:lnTo>
                  <a:pt x="796" y="1323"/>
                </a:lnTo>
                <a:lnTo>
                  <a:pt x="784" y="1310"/>
                </a:lnTo>
                <a:lnTo>
                  <a:pt x="774" y="1297"/>
                </a:lnTo>
                <a:lnTo>
                  <a:pt x="779" y="1279"/>
                </a:lnTo>
                <a:lnTo>
                  <a:pt x="786" y="1262"/>
                </a:lnTo>
                <a:lnTo>
                  <a:pt x="792" y="1245"/>
                </a:lnTo>
                <a:lnTo>
                  <a:pt x="800" y="1228"/>
                </a:lnTo>
                <a:lnTo>
                  <a:pt x="817" y="1195"/>
                </a:lnTo>
                <a:lnTo>
                  <a:pt x="835" y="1164"/>
                </a:lnTo>
                <a:lnTo>
                  <a:pt x="848" y="1164"/>
                </a:lnTo>
                <a:lnTo>
                  <a:pt x="856" y="1163"/>
                </a:lnTo>
                <a:lnTo>
                  <a:pt x="864" y="1159"/>
                </a:lnTo>
                <a:lnTo>
                  <a:pt x="875" y="1151"/>
                </a:lnTo>
                <a:lnTo>
                  <a:pt x="883" y="1135"/>
                </a:lnTo>
                <a:lnTo>
                  <a:pt x="887" y="1121"/>
                </a:lnTo>
                <a:lnTo>
                  <a:pt x="890" y="1107"/>
                </a:lnTo>
                <a:lnTo>
                  <a:pt x="890" y="1094"/>
                </a:lnTo>
                <a:lnTo>
                  <a:pt x="887" y="1082"/>
                </a:lnTo>
                <a:lnTo>
                  <a:pt x="883" y="1069"/>
                </a:lnTo>
                <a:lnTo>
                  <a:pt x="879" y="1057"/>
                </a:lnTo>
                <a:lnTo>
                  <a:pt x="873" y="1046"/>
                </a:lnTo>
                <a:lnTo>
                  <a:pt x="860" y="1024"/>
                </a:lnTo>
                <a:lnTo>
                  <a:pt x="845" y="1001"/>
                </a:lnTo>
                <a:lnTo>
                  <a:pt x="838" y="991"/>
                </a:lnTo>
                <a:lnTo>
                  <a:pt x="832" y="979"/>
                </a:lnTo>
                <a:lnTo>
                  <a:pt x="827" y="968"/>
                </a:lnTo>
                <a:lnTo>
                  <a:pt x="823" y="956"/>
                </a:lnTo>
                <a:lnTo>
                  <a:pt x="843" y="943"/>
                </a:lnTo>
                <a:lnTo>
                  <a:pt x="866" y="926"/>
                </a:lnTo>
                <a:lnTo>
                  <a:pt x="879" y="918"/>
                </a:lnTo>
                <a:lnTo>
                  <a:pt x="892" y="913"/>
                </a:lnTo>
                <a:lnTo>
                  <a:pt x="899" y="910"/>
                </a:lnTo>
                <a:lnTo>
                  <a:pt x="904" y="909"/>
                </a:lnTo>
                <a:lnTo>
                  <a:pt x="909" y="909"/>
                </a:lnTo>
                <a:lnTo>
                  <a:pt x="914" y="910"/>
                </a:lnTo>
                <a:lnTo>
                  <a:pt x="931" y="938"/>
                </a:lnTo>
                <a:lnTo>
                  <a:pt x="950" y="965"/>
                </a:lnTo>
                <a:lnTo>
                  <a:pt x="966" y="992"/>
                </a:lnTo>
                <a:lnTo>
                  <a:pt x="985" y="1020"/>
                </a:lnTo>
                <a:lnTo>
                  <a:pt x="1003" y="1047"/>
                </a:lnTo>
                <a:lnTo>
                  <a:pt x="1021" y="1074"/>
                </a:lnTo>
                <a:lnTo>
                  <a:pt x="1038" y="1102"/>
                </a:lnTo>
                <a:lnTo>
                  <a:pt x="1056" y="1129"/>
                </a:lnTo>
                <a:lnTo>
                  <a:pt x="1067" y="1176"/>
                </a:lnTo>
                <a:lnTo>
                  <a:pt x="1077" y="1212"/>
                </a:lnTo>
                <a:lnTo>
                  <a:pt x="1087" y="1249"/>
                </a:lnTo>
                <a:lnTo>
                  <a:pt x="1099" y="1293"/>
                </a:lnTo>
                <a:lnTo>
                  <a:pt x="1108" y="1297"/>
                </a:lnTo>
                <a:lnTo>
                  <a:pt x="1119" y="1302"/>
                </a:lnTo>
                <a:lnTo>
                  <a:pt x="1119" y="1315"/>
                </a:lnTo>
                <a:lnTo>
                  <a:pt x="1119" y="1328"/>
                </a:lnTo>
                <a:lnTo>
                  <a:pt x="1119" y="1341"/>
                </a:lnTo>
                <a:lnTo>
                  <a:pt x="1119" y="1354"/>
                </a:lnTo>
                <a:lnTo>
                  <a:pt x="1129" y="1353"/>
                </a:lnTo>
                <a:lnTo>
                  <a:pt x="1141" y="1353"/>
                </a:lnTo>
                <a:lnTo>
                  <a:pt x="1154" y="1353"/>
                </a:lnTo>
                <a:lnTo>
                  <a:pt x="1166" y="1353"/>
                </a:lnTo>
                <a:lnTo>
                  <a:pt x="1201" y="1315"/>
                </a:lnTo>
                <a:lnTo>
                  <a:pt x="1236" y="1279"/>
                </a:lnTo>
                <a:lnTo>
                  <a:pt x="1251" y="1260"/>
                </a:lnTo>
                <a:lnTo>
                  <a:pt x="1266" y="1241"/>
                </a:lnTo>
                <a:lnTo>
                  <a:pt x="1272" y="1230"/>
                </a:lnTo>
                <a:lnTo>
                  <a:pt x="1279" y="1220"/>
                </a:lnTo>
                <a:lnTo>
                  <a:pt x="1283" y="1208"/>
                </a:lnTo>
                <a:lnTo>
                  <a:pt x="1288" y="1197"/>
                </a:lnTo>
                <a:lnTo>
                  <a:pt x="1275" y="1186"/>
                </a:lnTo>
                <a:lnTo>
                  <a:pt x="1263" y="1177"/>
                </a:lnTo>
                <a:lnTo>
                  <a:pt x="1251" y="1167"/>
                </a:lnTo>
                <a:lnTo>
                  <a:pt x="1240" y="1156"/>
                </a:lnTo>
                <a:lnTo>
                  <a:pt x="1236" y="1122"/>
                </a:lnTo>
                <a:lnTo>
                  <a:pt x="1233" y="1089"/>
                </a:lnTo>
                <a:lnTo>
                  <a:pt x="1232" y="1055"/>
                </a:lnTo>
                <a:lnTo>
                  <a:pt x="1229" y="1022"/>
                </a:lnTo>
                <a:lnTo>
                  <a:pt x="1233" y="1013"/>
                </a:lnTo>
                <a:lnTo>
                  <a:pt x="1236" y="1004"/>
                </a:lnTo>
                <a:lnTo>
                  <a:pt x="1237" y="995"/>
                </a:lnTo>
                <a:lnTo>
                  <a:pt x="1237" y="986"/>
                </a:lnTo>
                <a:lnTo>
                  <a:pt x="1237" y="975"/>
                </a:lnTo>
                <a:lnTo>
                  <a:pt x="1234" y="965"/>
                </a:lnTo>
                <a:lnTo>
                  <a:pt x="1232" y="956"/>
                </a:lnTo>
                <a:lnTo>
                  <a:pt x="1229" y="946"/>
                </a:lnTo>
                <a:lnTo>
                  <a:pt x="1212" y="907"/>
                </a:lnTo>
                <a:lnTo>
                  <a:pt x="1195" y="874"/>
                </a:lnTo>
                <a:lnTo>
                  <a:pt x="1184" y="870"/>
                </a:lnTo>
                <a:lnTo>
                  <a:pt x="1173" y="868"/>
                </a:lnTo>
                <a:lnTo>
                  <a:pt x="1173" y="860"/>
                </a:lnTo>
                <a:lnTo>
                  <a:pt x="1175" y="849"/>
                </a:lnTo>
                <a:lnTo>
                  <a:pt x="1181" y="830"/>
                </a:lnTo>
                <a:lnTo>
                  <a:pt x="1195" y="797"/>
                </a:lnTo>
                <a:lnTo>
                  <a:pt x="1215" y="792"/>
                </a:lnTo>
                <a:lnTo>
                  <a:pt x="1231" y="787"/>
                </a:lnTo>
                <a:lnTo>
                  <a:pt x="1237" y="784"/>
                </a:lnTo>
                <a:lnTo>
                  <a:pt x="1242" y="782"/>
                </a:lnTo>
                <a:lnTo>
                  <a:pt x="1246" y="778"/>
                </a:lnTo>
                <a:lnTo>
                  <a:pt x="1250" y="774"/>
                </a:lnTo>
                <a:lnTo>
                  <a:pt x="1253" y="770"/>
                </a:lnTo>
                <a:lnTo>
                  <a:pt x="1255" y="765"/>
                </a:lnTo>
                <a:lnTo>
                  <a:pt x="1257" y="758"/>
                </a:lnTo>
                <a:lnTo>
                  <a:pt x="1259" y="750"/>
                </a:lnTo>
                <a:lnTo>
                  <a:pt x="1262" y="734"/>
                </a:lnTo>
                <a:lnTo>
                  <a:pt x="1264" y="710"/>
                </a:lnTo>
                <a:lnTo>
                  <a:pt x="1274" y="702"/>
                </a:lnTo>
                <a:lnTo>
                  <a:pt x="1283" y="693"/>
                </a:lnTo>
                <a:lnTo>
                  <a:pt x="1290" y="684"/>
                </a:lnTo>
                <a:lnTo>
                  <a:pt x="1298" y="675"/>
                </a:lnTo>
                <a:lnTo>
                  <a:pt x="1311" y="655"/>
                </a:lnTo>
                <a:lnTo>
                  <a:pt x="1322" y="635"/>
                </a:lnTo>
                <a:lnTo>
                  <a:pt x="1331" y="613"/>
                </a:lnTo>
                <a:lnTo>
                  <a:pt x="1339" y="589"/>
                </a:lnTo>
                <a:lnTo>
                  <a:pt x="1344" y="566"/>
                </a:lnTo>
                <a:lnTo>
                  <a:pt x="1349" y="541"/>
                </a:lnTo>
                <a:lnTo>
                  <a:pt x="1337" y="537"/>
                </a:lnTo>
                <a:lnTo>
                  <a:pt x="1327" y="532"/>
                </a:lnTo>
                <a:lnTo>
                  <a:pt x="1316" y="529"/>
                </a:lnTo>
                <a:lnTo>
                  <a:pt x="1306" y="525"/>
                </a:lnTo>
                <a:lnTo>
                  <a:pt x="1315" y="508"/>
                </a:lnTo>
                <a:lnTo>
                  <a:pt x="1324" y="492"/>
                </a:lnTo>
                <a:lnTo>
                  <a:pt x="1335" y="476"/>
                </a:lnTo>
                <a:lnTo>
                  <a:pt x="1346" y="462"/>
                </a:lnTo>
                <a:lnTo>
                  <a:pt x="1359" y="446"/>
                </a:lnTo>
                <a:lnTo>
                  <a:pt x="1374" y="433"/>
                </a:lnTo>
                <a:lnTo>
                  <a:pt x="1389" y="420"/>
                </a:lnTo>
                <a:lnTo>
                  <a:pt x="1406" y="408"/>
                </a:lnTo>
                <a:lnTo>
                  <a:pt x="1440" y="397"/>
                </a:lnTo>
                <a:lnTo>
                  <a:pt x="1470" y="385"/>
                </a:lnTo>
                <a:lnTo>
                  <a:pt x="1497" y="372"/>
                </a:lnTo>
                <a:lnTo>
                  <a:pt x="1523" y="358"/>
                </a:lnTo>
                <a:lnTo>
                  <a:pt x="1547" y="343"/>
                </a:lnTo>
                <a:lnTo>
                  <a:pt x="1568" y="328"/>
                </a:lnTo>
                <a:lnTo>
                  <a:pt x="1588" y="309"/>
                </a:lnTo>
                <a:lnTo>
                  <a:pt x="1607" y="291"/>
                </a:lnTo>
                <a:lnTo>
                  <a:pt x="1625" y="272"/>
                </a:lnTo>
                <a:lnTo>
                  <a:pt x="1642" y="251"/>
                </a:lnTo>
                <a:lnTo>
                  <a:pt x="1659" y="229"/>
                </a:lnTo>
                <a:lnTo>
                  <a:pt x="1676" y="204"/>
                </a:lnTo>
                <a:lnTo>
                  <a:pt x="1709" y="152"/>
                </a:lnTo>
                <a:lnTo>
                  <a:pt x="1744" y="92"/>
                </a:lnTo>
                <a:lnTo>
                  <a:pt x="1793" y="43"/>
                </a:lnTo>
                <a:lnTo>
                  <a:pt x="1820" y="17"/>
                </a:lnTo>
                <a:lnTo>
                  <a:pt x="1828" y="9"/>
                </a:lnTo>
                <a:lnTo>
                  <a:pt x="1833" y="5"/>
                </a:lnTo>
                <a:lnTo>
                  <a:pt x="1838" y="2"/>
                </a:lnTo>
                <a:lnTo>
                  <a:pt x="1843" y="0"/>
                </a:lnTo>
                <a:lnTo>
                  <a:pt x="1845" y="13"/>
                </a:lnTo>
                <a:lnTo>
                  <a:pt x="1847" y="27"/>
                </a:lnTo>
                <a:lnTo>
                  <a:pt x="1884" y="40"/>
                </a:lnTo>
                <a:lnTo>
                  <a:pt x="1928" y="56"/>
                </a:lnTo>
                <a:lnTo>
                  <a:pt x="1951" y="65"/>
                </a:lnTo>
                <a:lnTo>
                  <a:pt x="1975" y="75"/>
                </a:lnTo>
                <a:lnTo>
                  <a:pt x="1997" y="87"/>
                </a:lnTo>
                <a:lnTo>
                  <a:pt x="2018" y="99"/>
                </a:lnTo>
                <a:lnTo>
                  <a:pt x="2037" y="113"/>
                </a:lnTo>
                <a:lnTo>
                  <a:pt x="2054" y="127"/>
                </a:lnTo>
                <a:lnTo>
                  <a:pt x="2062" y="135"/>
                </a:lnTo>
                <a:lnTo>
                  <a:pt x="2068" y="144"/>
                </a:lnTo>
                <a:lnTo>
                  <a:pt x="2074" y="152"/>
                </a:lnTo>
                <a:lnTo>
                  <a:pt x="2079" y="161"/>
                </a:lnTo>
                <a:lnTo>
                  <a:pt x="2083" y="170"/>
                </a:lnTo>
                <a:lnTo>
                  <a:pt x="2085" y="181"/>
                </a:lnTo>
                <a:lnTo>
                  <a:pt x="2088" y="190"/>
                </a:lnTo>
                <a:lnTo>
                  <a:pt x="2088" y="200"/>
                </a:lnTo>
                <a:lnTo>
                  <a:pt x="2087" y="211"/>
                </a:lnTo>
                <a:lnTo>
                  <a:pt x="2085" y="222"/>
                </a:lnTo>
                <a:lnTo>
                  <a:pt x="2081" y="233"/>
                </a:lnTo>
                <a:lnTo>
                  <a:pt x="2076" y="244"/>
                </a:lnTo>
                <a:lnTo>
                  <a:pt x="2074" y="265"/>
                </a:lnTo>
                <a:lnTo>
                  <a:pt x="2070" y="285"/>
                </a:lnTo>
                <a:lnTo>
                  <a:pt x="2067" y="306"/>
                </a:lnTo>
                <a:lnTo>
                  <a:pt x="2065" y="328"/>
                </a:lnTo>
                <a:lnTo>
                  <a:pt x="2041" y="358"/>
                </a:lnTo>
                <a:lnTo>
                  <a:pt x="2018" y="387"/>
                </a:lnTo>
                <a:lnTo>
                  <a:pt x="1993" y="417"/>
                </a:lnTo>
                <a:lnTo>
                  <a:pt x="1968" y="446"/>
                </a:lnTo>
                <a:lnTo>
                  <a:pt x="1942" y="476"/>
                </a:lnTo>
                <a:lnTo>
                  <a:pt x="1918" y="505"/>
                </a:lnTo>
                <a:lnTo>
                  <a:pt x="1891" y="533"/>
                </a:lnTo>
                <a:lnTo>
                  <a:pt x="1864" y="560"/>
                </a:lnTo>
                <a:lnTo>
                  <a:pt x="1864" y="576"/>
                </a:lnTo>
                <a:lnTo>
                  <a:pt x="1865" y="592"/>
                </a:lnTo>
                <a:lnTo>
                  <a:pt x="1867" y="609"/>
                </a:lnTo>
                <a:lnTo>
                  <a:pt x="1868" y="626"/>
                </a:lnTo>
                <a:lnTo>
                  <a:pt x="1875" y="633"/>
                </a:lnTo>
                <a:lnTo>
                  <a:pt x="1881" y="641"/>
                </a:lnTo>
                <a:lnTo>
                  <a:pt x="1886" y="650"/>
                </a:lnTo>
                <a:lnTo>
                  <a:pt x="1889" y="659"/>
                </a:lnTo>
                <a:lnTo>
                  <a:pt x="1893" y="668"/>
                </a:lnTo>
                <a:lnTo>
                  <a:pt x="1894" y="679"/>
                </a:lnTo>
                <a:lnTo>
                  <a:pt x="1895" y="689"/>
                </a:lnTo>
                <a:lnTo>
                  <a:pt x="1897" y="700"/>
                </a:lnTo>
                <a:lnTo>
                  <a:pt x="1895" y="720"/>
                </a:lnTo>
                <a:lnTo>
                  <a:pt x="1890" y="744"/>
                </a:lnTo>
                <a:lnTo>
                  <a:pt x="1885" y="766"/>
                </a:lnTo>
                <a:lnTo>
                  <a:pt x="1876" y="789"/>
                </a:lnTo>
                <a:lnTo>
                  <a:pt x="1867" y="813"/>
                </a:lnTo>
                <a:lnTo>
                  <a:pt x="1855" y="835"/>
                </a:lnTo>
                <a:lnTo>
                  <a:pt x="1843" y="857"/>
                </a:lnTo>
                <a:lnTo>
                  <a:pt x="1832" y="878"/>
                </a:lnTo>
                <a:lnTo>
                  <a:pt x="1807" y="916"/>
                </a:lnTo>
                <a:lnTo>
                  <a:pt x="1783" y="947"/>
                </a:lnTo>
                <a:lnTo>
                  <a:pt x="1765" y="992"/>
                </a:lnTo>
                <a:lnTo>
                  <a:pt x="1752" y="1028"/>
                </a:lnTo>
                <a:lnTo>
                  <a:pt x="1742" y="1056"/>
                </a:lnTo>
                <a:lnTo>
                  <a:pt x="1733" y="1080"/>
                </a:lnTo>
                <a:lnTo>
                  <a:pt x="1726" y="1100"/>
                </a:lnTo>
                <a:lnTo>
                  <a:pt x="1720" y="1121"/>
                </a:lnTo>
                <a:lnTo>
                  <a:pt x="1713" y="1146"/>
                </a:lnTo>
                <a:lnTo>
                  <a:pt x="1704" y="1176"/>
                </a:lnTo>
                <a:lnTo>
                  <a:pt x="1685" y="1220"/>
                </a:lnTo>
                <a:lnTo>
                  <a:pt x="1668" y="1259"/>
                </a:lnTo>
                <a:lnTo>
                  <a:pt x="1661" y="1276"/>
                </a:lnTo>
                <a:lnTo>
                  <a:pt x="1656" y="1293"/>
                </a:lnTo>
                <a:lnTo>
                  <a:pt x="1652" y="1310"/>
                </a:lnTo>
                <a:lnTo>
                  <a:pt x="1649" y="1327"/>
                </a:lnTo>
                <a:lnTo>
                  <a:pt x="1649" y="1342"/>
                </a:lnTo>
                <a:lnTo>
                  <a:pt x="1649" y="1359"/>
                </a:lnTo>
                <a:lnTo>
                  <a:pt x="1653" y="1375"/>
                </a:lnTo>
                <a:lnTo>
                  <a:pt x="1657" y="1392"/>
                </a:lnTo>
                <a:lnTo>
                  <a:pt x="1665" y="1410"/>
                </a:lnTo>
                <a:lnTo>
                  <a:pt x="1674" y="1428"/>
                </a:lnTo>
                <a:lnTo>
                  <a:pt x="1685" y="1449"/>
                </a:lnTo>
                <a:lnTo>
                  <a:pt x="1699" y="1470"/>
                </a:lnTo>
                <a:lnTo>
                  <a:pt x="1695" y="1485"/>
                </a:lnTo>
                <a:lnTo>
                  <a:pt x="1690" y="1502"/>
                </a:lnTo>
                <a:lnTo>
                  <a:pt x="1686" y="1519"/>
                </a:lnTo>
                <a:lnTo>
                  <a:pt x="1682" y="1537"/>
                </a:lnTo>
                <a:lnTo>
                  <a:pt x="1668" y="1548"/>
                </a:lnTo>
                <a:lnTo>
                  <a:pt x="1655" y="1560"/>
                </a:lnTo>
                <a:lnTo>
                  <a:pt x="1644" y="1571"/>
                </a:lnTo>
                <a:lnTo>
                  <a:pt x="1636" y="1584"/>
                </a:lnTo>
                <a:lnTo>
                  <a:pt x="1622" y="1609"/>
                </a:lnTo>
                <a:lnTo>
                  <a:pt x="1610" y="1634"/>
                </a:lnTo>
                <a:lnTo>
                  <a:pt x="1599" y="1660"/>
                </a:lnTo>
                <a:lnTo>
                  <a:pt x="1584" y="1684"/>
                </a:lnTo>
                <a:lnTo>
                  <a:pt x="1577" y="1696"/>
                </a:lnTo>
                <a:lnTo>
                  <a:pt x="1566" y="1708"/>
                </a:lnTo>
                <a:lnTo>
                  <a:pt x="1555" y="1718"/>
                </a:lnTo>
                <a:lnTo>
                  <a:pt x="1542" y="1730"/>
                </a:lnTo>
                <a:lnTo>
                  <a:pt x="1526" y="1733"/>
                </a:lnTo>
                <a:lnTo>
                  <a:pt x="1509" y="1735"/>
                </a:lnTo>
                <a:lnTo>
                  <a:pt x="1493" y="1738"/>
                </a:lnTo>
                <a:lnTo>
                  <a:pt x="1478" y="1740"/>
                </a:lnTo>
                <a:lnTo>
                  <a:pt x="1458" y="1760"/>
                </a:lnTo>
                <a:lnTo>
                  <a:pt x="1434" y="1785"/>
                </a:lnTo>
                <a:lnTo>
                  <a:pt x="1422" y="1798"/>
                </a:lnTo>
                <a:lnTo>
                  <a:pt x="1410" y="1809"/>
                </a:lnTo>
                <a:lnTo>
                  <a:pt x="1401" y="1817"/>
                </a:lnTo>
                <a:lnTo>
                  <a:pt x="1394" y="1822"/>
                </a:lnTo>
                <a:lnTo>
                  <a:pt x="1394" y="1828"/>
                </a:lnTo>
                <a:lnTo>
                  <a:pt x="1394" y="1835"/>
                </a:lnTo>
                <a:lnTo>
                  <a:pt x="1353" y="1861"/>
                </a:lnTo>
                <a:lnTo>
                  <a:pt x="1319" y="1885"/>
                </a:lnTo>
                <a:lnTo>
                  <a:pt x="1311" y="1891"/>
                </a:lnTo>
                <a:lnTo>
                  <a:pt x="1305" y="1898"/>
                </a:lnTo>
                <a:lnTo>
                  <a:pt x="1298" y="1906"/>
                </a:lnTo>
                <a:lnTo>
                  <a:pt x="1292" y="1913"/>
                </a:lnTo>
                <a:lnTo>
                  <a:pt x="1287" y="1923"/>
                </a:lnTo>
                <a:lnTo>
                  <a:pt x="1281" y="1933"/>
                </a:lnTo>
                <a:lnTo>
                  <a:pt x="1276" y="1945"/>
                </a:lnTo>
                <a:lnTo>
                  <a:pt x="1272" y="1956"/>
                </a:lnTo>
                <a:lnTo>
                  <a:pt x="1241" y="1954"/>
                </a:lnTo>
                <a:lnTo>
                  <a:pt x="1210" y="1951"/>
                </a:lnTo>
                <a:lnTo>
                  <a:pt x="1179" y="1947"/>
                </a:lnTo>
                <a:lnTo>
                  <a:pt x="1149" y="1945"/>
                </a:lnTo>
                <a:lnTo>
                  <a:pt x="1146" y="1928"/>
                </a:lnTo>
                <a:lnTo>
                  <a:pt x="1145" y="1912"/>
                </a:lnTo>
                <a:lnTo>
                  <a:pt x="1154" y="1910"/>
                </a:lnTo>
                <a:lnTo>
                  <a:pt x="1162" y="1906"/>
                </a:lnTo>
                <a:lnTo>
                  <a:pt x="1168" y="1900"/>
                </a:lnTo>
                <a:lnTo>
                  <a:pt x="1173" y="1895"/>
                </a:lnTo>
                <a:lnTo>
                  <a:pt x="1184" y="1882"/>
                </a:lnTo>
                <a:lnTo>
                  <a:pt x="1195" y="1868"/>
                </a:lnTo>
                <a:lnTo>
                  <a:pt x="1175" y="1863"/>
                </a:lnTo>
                <a:lnTo>
                  <a:pt x="1156" y="1855"/>
                </a:lnTo>
                <a:lnTo>
                  <a:pt x="1138" y="1847"/>
                </a:lnTo>
                <a:lnTo>
                  <a:pt x="1123" y="1837"/>
                </a:lnTo>
                <a:lnTo>
                  <a:pt x="1094" y="1818"/>
                </a:lnTo>
                <a:lnTo>
                  <a:pt x="1071" y="1803"/>
                </a:lnTo>
                <a:lnTo>
                  <a:pt x="1067" y="1802"/>
                </a:lnTo>
                <a:lnTo>
                  <a:pt x="1061" y="1799"/>
                </a:lnTo>
                <a:lnTo>
                  <a:pt x="1056" y="1799"/>
                </a:lnTo>
                <a:lnTo>
                  <a:pt x="1052" y="1798"/>
                </a:lnTo>
                <a:lnTo>
                  <a:pt x="1048" y="1799"/>
                </a:lnTo>
                <a:lnTo>
                  <a:pt x="1045" y="1802"/>
                </a:lnTo>
                <a:lnTo>
                  <a:pt x="1041" y="1804"/>
                </a:lnTo>
                <a:lnTo>
                  <a:pt x="1037" y="1808"/>
                </a:lnTo>
                <a:lnTo>
                  <a:pt x="1034" y="1813"/>
                </a:lnTo>
                <a:lnTo>
                  <a:pt x="1032" y="1820"/>
                </a:lnTo>
                <a:lnTo>
                  <a:pt x="1029" y="1829"/>
                </a:lnTo>
                <a:lnTo>
                  <a:pt x="1026" y="1838"/>
                </a:lnTo>
                <a:lnTo>
                  <a:pt x="1021" y="1861"/>
                </a:lnTo>
                <a:lnTo>
                  <a:pt x="1019" y="1893"/>
                </a:lnTo>
                <a:lnTo>
                  <a:pt x="1030" y="1907"/>
                </a:lnTo>
                <a:lnTo>
                  <a:pt x="1045" y="1921"/>
                </a:lnTo>
                <a:lnTo>
                  <a:pt x="1061" y="1937"/>
                </a:lnTo>
                <a:lnTo>
                  <a:pt x="1081" y="1952"/>
                </a:lnTo>
                <a:lnTo>
                  <a:pt x="1102" y="1969"/>
                </a:lnTo>
                <a:lnTo>
                  <a:pt x="1123" y="1986"/>
                </a:lnTo>
                <a:lnTo>
                  <a:pt x="1146" y="2002"/>
                </a:lnTo>
                <a:lnTo>
                  <a:pt x="1169" y="2018"/>
                </a:lnTo>
                <a:lnTo>
                  <a:pt x="1193" y="2033"/>
                </a:lnTo>
                <a:lnTo>
                  <a:pt x="1216" y="2046"/>
                </a:lnTo>
                <a:lnTo>
                  <a:pt x="1240" y="2058"/>
                </a:lnTo>
                <a:lnTo>
                  <a:pt x="1263" y="2067"/>
                </a:lnTo>
                <a:lnTo>
                  <a:pt x="1285" y="2075"/>
                </a:lnTo>
                <a:lnTo>
                  <a:pt x="1306" y="2079"/>
                </a:lnTo>
                <a:lnTo>
                  <a:pt x="1316" y="2080"/>
                </a:lnTo>
                <a:lnTo>
                  <a:pt x="1326" y="2081"/>
                </a:lnTo>
                <a:lnTo>
                  <a:pt x="1335" y="2081"/>
                </a:lnTo>
                <a:lnTo>
                  <a:pt x="1344" y="2080"/>
                </a:lnTo>
                <a:lnTo>
                  <a:pt x="1353" y="2066"/>
                </a:lnTo>
                <a:lnTo>
                  <a:pt x="1363" y="2051"/>
                </a:lnTo>
                <a:lnTo>
                  <a:pt x="1374" y="2038"/>
                </a:lnTo>
                <a:lnTo>
                  <a:pt x="1385" y="2025"/>
                </a:lnTo>
                <a:lnTo>
                  <a:pt x="1406" y="2023"/>
                </a:lnTo>
                <a:lnTo>
                  <a:pt x="1426" y="2019"/>
                </a:lnTo>
                <a:lnTo>
                  <a:pt x="1447" y="2014"/>
                </a:lnTo>
                <a:lnTo>
                  <a:pt x="1466" y="2007"/>
                </a:lnTo>
                <a:lnTo>
                  <a:pt x="1486" y="2001"/>
                </a:lnTo>
                <a:lnTo>
                  <a:pt x="1504" y="1993"/>
                </a:lnTo>
                <a:lnTo>
                  <a:pt x="1523" y="1982"/>
                </a:lnTo>
                <a:lnTo>
                  <a:pt x="1540" y="1973"/>
                </a:lnTo>
                <a:lnTo>
                  <a:pt x="1557" y="1962"/>
                </a:lnTo>
                <a:lnTo>
                  <a:pt x="1573" y="1949"/>
                </a:lnTo>
                <a:lnTo>
                  <a:pt x="1587" y="1936"/>
                </a:lnTo>
                <a:lnTo>
                  <a:pt x="1600" y="1921"/>
                </a:lnTo>
                <a:lnTo>
                  <a:pt x="1612" y="1904"/>
                </a:lnTo>
                <a:lnTo>
                  <a:pt x="1622" y="1887"/>
                </a:lnTo>
                <a:lnTo>
                  <a:pt x="1631" y="1870"/>
                </a:lnTo>
                <a:lnTo>
                  <a:pt x="1638" y="1851"/>
                </a:lnTo>
                <a:lnTo>
                  <a:pt x="1657" y="1838"/>
                </a:lnTo>
                <a:lnTo>
                  <a:pt x="1678" y="1824"/>
                </a:lnTo>
                <a:lnTo>
                  <a:pt x="1698" y="1809"/>
                </a:lnTo>
                <a:lnTo>
                  <a:pt x="1717" y="1794"/>
                </a:lnTo>
                <a:lnTo>
                  <a:pt x="1735" y="1777"/>
                </a:lnTo>
                <a:lnTo>
                  <a:pt x="1752" y="1759"/>
                </a:lnTo>
                <a:lnTo>
                  <a:pt x="1768" y="1740"/>
                </a:lnTo>
                <a:lnTo>
                  <a:pt x="1782" y="1720"/>
                </a:lnTo>
                <a:lnTo>
                  <a:pt x="1785" y="1673"/>
                </a:lnTo>
                <a:lnTo>
                  <a:pt x="1789" y="1625"/>
                </a:lnTo>
                <a:lnTo>
                  <a:pt x="1793" y="1576"/>
                </a:lnTo>
                <a:lnTo>
                  <a:pt x="1797" y="1530"/>
                </a:lnTo>
                <a:lnTo>
                  <a:pt x="1813" y="1515"/>
                </a:lnTo>
                <a:lnTo>
                  <a:pt x="1829" y="1501"/>
                </a:lnTo>
                <a:lnTo>
                  <a:pt x="1846" y="1487"/>
                </a:lnTo>
                <a:lnTo>
                  <a:pt x="1863" y="1471"/>
                </a:lnTo>
                <a:lnTo>
                  <a:pt x="1897" y="1470"/>
                </a:lnTo>
                <a:lnTo>
                  <a:pt x="1923" y="1469"/>
                </a:lnTo>
                <a:lnTo>
                  <a:pt x="1945" y="1467"/>
                </a:lnTo>
                <a:lnTo>
                  <a:pt x="1964" y="1467"/>
                </a:lnTo>
                <a:lnTo>
                  <a:pt x="1985" y="1467"/>
                </a:lnTo>
                <a:lnTo>
                  <a:pt x="2007" y="1467"/>
                </a:lnTo>
                <a:lnTo>
                  <a:pt x="2035" y="1467"/>
                </a:lnTo>
                <a:lnTo>
                  <a:pt x="2070" y="1467"/>
                </a:lnTo>
                <a:lnTo>
                  <a:pt x="2076" y="1478"/>
                </a:lnTo>
                <a:lnTo>
                  <a:pt x="2080" y="1487"/>
                </a:lnTo>
                <a:lnTo>
                  <a:pt x="2081" y="1495"/>
                </a:lnTo>
                <a:lnTo>
                  <a:pt x="2083" y="1501"/>
                </a:lnTo>
                <a:lnTo>
                  <a:pt x="2080" y="1515"/>
                </a:lnTo>
                <a:lnTo>
                  <a:pt x="2076" y="1528"/>
                </a:lnTo>
                <a:lnTo>
                  <a:pt x="2075" y="1535"/>
                </a:lnTo>
                <a:lnTo>
                  <a:pt x="2074" y="1543"/>
                </a:lnTo>
                <a:lnTo>
                  <a:pt x="2072" y="1550"/>
                </a:lnTo>
                <a:lnTo>
                  <a:pt x="2072" y="1558"/>
                </a:lnTo>
                <a:lnTo>
                  <a:pt x="2075" y="1567"/>
                </a:lnTo>
                <a:lnTo>
                  <a:pt x="2078" y="1578"/>
                </a:lnTo>
                <a:lnTo>
                  <a:pt x="2084" y="1588"/>
                </a:lnTo>
                <a:lnTo>
                  <a:pt x="2092" y="1601"/>
                </a:lnTo>
                <a:lnTo>
                  <a:pt x="2092" y="1618"/>
                </a:lnTo>
                <a:lnTo>
                  <a:pt x="2092" y="1635"/>
                </a:lnTo>
                <a:lnTo>
                  <a:pt x="2092" y="1653"/>
                </a:lnTo>
                <a:lnTo>
                  <a:pt x="2092" y="1671"/>
                </a:lnTo>
                <a:lnTo>
                  <a:pt x="2085" y="1679"/>
                </a:lnTo>
                <a:lnTo>
                  <a:pt x="2083" y="1687"/>
                </a:lnTo>
                <a:lnTo>
                  <a:pt x="2080" y="1696"/>
                </a:lnTo>
                <a:lnTo>
                  <a:pt x="2079" y="1705"/>
                </a:lnTo>
                <a:lnTo>
                  <a:pt x="2079" y="1725"/>
                </a:lnTo>
                <a:lnTo>
                  <a:pt x="2080" y="1744"/>
                </a:lnTo>
                <a:lnTo>
                  <a:pt x="2068" y="1751"/>
                </a:lnTo>
                <a:lnTo>
                  <a:pt x="2058" y="1756"/>
                </a:lnTo>
                <a:lnTo>
                  <a:pt x="2052" y="1782"/>
                </a:lnTo>
                <a:lnTo>
                  <a:pt x="2042" y="1804"/>
                </a:lnTo>
                <a:lnTo>
                  <a:pt x="2035" y="1825"/>
                </a:lnTo>
                <a:lnTo>
                  <a:pt x="2027" y="1843"/>
                </a:lnTo>
                <a:lnTo>
                  <a:pt x="2025" y="1852"/>
                </a:lnTo>
                <a:lnTo>
                  <a:pt x="2023" y="1861"/>
                </a:lnTo>
                <a:lnTo>
                  <a:pt x="2023" y="1870"/>
                </a:lnTo>
                <a:lnTo>
                  <a:pt x="2024" y="1881"/>
                </a:lnTo>
                <a:lnTo>
                  <a:pt x="2027" y="1891"/>
                </a:lnTo>
                <a:lnTo>
                  <a:pt x="2031" y="1902"/>
                </a:lnTo>
                <a:lnTo>
                  <a:pt x="2037" y="1913"/>
                </a:lnTo>
                <a:lnTo>
                  <a:pt x="2045" y="1925"/>
                </a:lnTo>
                <a:lnTo>
                  <a:pt x="2045" y="1942"/>
                </a:lnTo>
                <a:lnTo>
                  <a:pt x="2045" y="1958"/>
                </a:lnTo>
                <a:lnTo>
                  <a:pt x="2046" y="1973"/>
                </a:lnTo>
                <a:lnTo>
                  <a:pt x="2048" y="1989"/>
                </a:lnTo>
                <a:lnTo>
                  <a:pt x="2059" y="1994"/>
                </a:lnTo>
                <a:lnTo>
                  <a:pt x="2067" y="1997"/>
                </a:lnTo>
                <a:lnTo>
                  <a:pt x="2074" y="1998"/>
                </a:lnTo>
                <a:lnTo>
                  <a:pt x="2081" y="1997"/>
                </a:lnTo>
                <a:lnTo>
                  <a:pt x="2088" y="1980"/>
                </a:lnTo>
                <a:lnTo>
                  <a:pt x="2093" y="1964"/>
                </a:lnTo>
                <a:lnTo>
                  <a:pt x="2122" y="1964"/>
                </a:lnTo>
                <a:lnTo>
                  <a:pt x="2150" y="1964"/>
                </a:lnTo>
                <a:lnTo>
                  <a:pt x="2180" y="1964"/>
                </a:lnTo>
                <a:lnTo>
                  <a:pt x="2209" y="1964"/>
                </a:lnTo>
                <a:lnTo>
                  <a:pt x="2209" y="1950"/>
                </a:lnTo>
                <a:lnTo>
                  <a:pt x="2209" y="1937"/>
                </a:lnTo>
                <a:lnTo>
                  <a:pt x="2171" y="1921"/>
                </a:lnTo>
                <a:lnTo>
                  <a:pt x="2128" y="1900"/>
                </a:lnTo>
                <a:lnTo>
                  <a:pt x="2119" y="1895"/>
                </a:lnTo>
                <a:lnTo>
                  <a:pt x="2109" y="1889"/>
                </a:lnTo>
                <a:lnTo>
                  <a:pt x="2101" y="1882"/>
                </a:lnTo>
                <a:lnTo>
                  <a:pt x="2094" y="1874"/>
                </a:lnTo>
                <a:lnTo>
                  <a:pt x="2088" y="1867"/>
                </a:lnTo>
                <a:lnTo>
                  <a:pt x="2084" y="1857"/>
                </a:lnTo>
                <a:lnTo>
                  <a:pt x="2080" y="1847"/>
                </a:lnTo>
                <a:lnTo>
                  <a:pt x="2080" y="1837"/>
                </a:lnTo>
                <a:lnTo>
                  <a:pt x="2097" y="1809"/>
                </a:lnTo>
                <a:lnTo>
                  <a:pt x="2107" y="1791"/>
                </a:lnTo>
                <a:lnTo>
                  <a:pt x="2115" y="1772"/>
                </a:lnTo>
                <a:lnTo>
                  <a:pt x="2126" y="1744"/>
                </a:lnTo>
                <a:lnTo>
                  <a:pt x="2140" y="1742"/>
                </a:lnTo>
                <a:lnTo>
                  <a:pt x="2154" y="1739"/>
                </a:lnTo>
                <a:lnTo>
                  <a:pt x="2169" y="1737"/>
                </a:lnTo>
                <a:lnTo>
                  <a:pt x="2184" y="1734"/>
                </a:lnTo>
                <a:lnTo>
                  <a:pt x="2187" y="1714"/>
                </a:lnTo>
                <a:lnTo>
                  <a:pt x="2188" y="1695"/>
                </a:lnTo>
                <a:lnTo>
                  <a:pt x="2188" y="1677"/>
                </a:lnTo>
                <a:lnTo>
                  <a:pt x="2187" y="1657"/>
                </a:lnTo>
                <a:lnTo>
                  <a:pt x="2183" y="1618"/>
                </a:lnTo>
                <a:lnTo>
                  <a:pt x="2180" y="1579"/>
                </a:lnTo>
                <a:lnTo>
                  <a:pt x="2187" y="1552"/>
                </a:lnTo>
                <a:lnTo>
                  <a:pt x="2189" y="1535"/>
                </a:lnTo>
                <a:lnTo>
                  <a:pt x="2191" y="1521"/>
                </a:lnTo>
                <a:lnTo>
                  <a:pt x="2189" y="1502"/>
                </a:lnTo>
                <a:lnTo>
                  <a:pt x="2182" y="1502"/>
                </a:lnTo>
                <a:lnTo>
                  <a:pt x="2176" y="1502"/>
                </a:lnTo>
                <a:lnTo>
                  <a:pt x="2153" y="1472"/>
                </a:lnTo>
                <a:lnTo>
                  <a:pt x="2132" y="1448"/>
                </a:lnTo>
                <a:lnTo>
                  <a:pt x="2114" y="1426"/>
                </a:lnTo>
                <a:lnTo>
                  <a:pt x="2096" y="1407"/>
                </a:lnTo>
                <a:lnTo>
                  <a:pt x="2079" y="1393"/>
                </a:lnTo>
                <a:lnTo>
                  <a:pt x="2062" y="1380"/>
                </a:lnTo>
                <a:lnTo>
                  <a:pt x="2046" y="1371"/>
                </a:lnTo>
                <a:lnTo>
                  <a:pt x="2029" y="1363"/>
                </a:lnTo>
                <a:lnTo>
                  <a:pt x="2011" y="1357"/>
                </a:lnTo>
                <a:lnTo>
                  <a:pt x="1992" y="1351"/>
                </a:lnTo>
                <a:lnTo>
                  <a:pt x="1971" y="1349"/>
                </a:lnTo>
                <a:lnTo>
                  <a:pt x="1947" y="1346"/>
                </a:lnTo>
                <a:lnTo>
                  <a:pt x="1893" y="1341"/>
                </a:lnTo>
                <a:lnTo>
                  <a:pt x="1824" y="1335"/>
                </a:lnTo>
                <a:lnTo>
                  <a:pt x="1824" y="1306"/>
                </a:lnTo>
                <a:lnTo>
                  <a:pt x="1825" y="1284"/>
                </a:lnTo>
                <a:lnTo>
                  <a:pt x="1828" y="1275"/>
                </a:lnTo>
                <a:lnTo>
                  <a:pt x="1832" y="1264"/>
                </a:lnTo>
                <a:lnTo>
                  <a:pt x="1837" y="1253"/>
                </a:lnTo>
                <a:lnTo>
                  <a:pt x="1845" y="1240"/>
                </a:lnTo>
                <a:lnTo>
                  <a:pt x="1847" y="1207"/>
                </a:lnTo>
                <a:lnTo>
                  <a:pt x="1850" y="1176"/>
                </a:lnTo>
                <a:lnTo>
                  <a:pt x="1852" y="1145"/>
                </a:lnTo>
                <a:lnTo>
                  <a:pt x="1855" y="1113"/>
                </a:lnTo>
                <a:lnTo>
                  <a:pt x="1880" y="1078"/>
                </a:lnTo>
                <a:lnTo>
                  <a:pt x="1901" y="1050"/>
                </a:lnTo>
                <a:lnTo>
                  <a:pt x="1916" y="1026"/>
                </a:lnTo>
                <a:lnTo>
                  <a:pt x="1932" y="1007"/>
                </a:lnTo>
                <a:lnTo>
                  <a:pt x="1946" y="987"/>
                </a:lnTo>
                <a:lnTo>
                  <a:pt x="1962" y="968"/>
                </a:lnTo>
                <a:lnTo>
                  <a:pt x="1981" y="943"/>
                </a:lnTo>
                <a:lnTo>
                  <a:pt x="2007" y="912"/>
                </a:lnTo>
                <a:lnTo>
                  <a:pt x="2012" y="873"/>
                </a:lnTo>
                <a:lnTo>
                  <a:pt x="2016" y="834"/>
                </a:lnTo>
                <a:lnTo>
                  <a:pt x="2018" y="792"/>
                </a:lnTo>
                <a:lnTo>
                  <a:pt x="2018" y="752"/>
                </a:lnTo>
                <a:lnTo>
                  <a:pt x="2016" y="710"/>
                </a:lnTo>
                <a:lnTo>
                  <a:pt x="2012" y="670"/>
                </a:lnTo>
                <a:lnTo>
                  <a:pt x="2009" y="629"/>
                </a:lnTo>
                <a:lnTo>
                  <a:pt x="2003" y="590"/>
                </a:lnTo>
                <a:lnTo>
                  <a:pt x="2016" y="585"/>
                </a:lnTo>
                <a:lnTo>
                  <a:pt x="2028" y="576"/>
                </a:lnTo>
                <a:lnTo>
                  <a:pt x="2038" y="566"/>
                </a:lnTo>
                <a:lnTo>
                  <a:pt x="2049" y="555"/>
                </a:lnTo>
                <a:lnTo>
                  <a:pt x="2068" y="531"/>
                </a:lnTo>
                <a:lnTo>
                  <a:pt x="2085" y="506"/>
                </a:lnTo>
                <a:lnTo>
                  <a:pt x="2110" y="499"/>
                </a:lnTo>
                <a:lnTo>
                  <a:pt x="2133" y="490"/>
                </a:lnTo>
                <a:lnTo>
                  <a:pt x="2158" y="481"/>
                </a:lnTo>
                <a:lnTo>
                  <a:pt x="2182" y="471"/>
                </a:lnTo>
                <a:lnTo>
                  <a:pt x="2227" y="450"/>
                </a:lnTo>
                <a:lnTo>
                  <a:pt x="2273" y="428"/>
                </a:lnTo>
                <a:lnTo>
                  <a:pt x="2283" y="403"/>
                </a:lnTo>
                <a:lnTo>
                  <a:pt x="2292" y="380"/>
                </a:lnTo>
                <a:lnTo>
                  <a:pt x="2299" y="356"/>
                </a:lnTo>
                <a:lnTo>
                  <a:pt x="2304" y="333"/>
                </a:lnTo>
                <a:lnTo>
                  <a:pt x="2309" y="308"/>
                </a:lnTo>
                <a:lnTo>
                  <a:pt x="2314" y="285"/>
                </a:lnTo>
                <a:lnTo>
                  <a:pt x="2321" y="261"/>
                </a:lnTo>
                <a:lnTo>
                  <a:pt x="2327" y="237"/>
                </a:lnTo>
                <a:lnTo>
                  <a:pt x="2335" y="237"/>
                </a:lnTo>
                <a:lnTo>
                  <a:pt x="2343" y="237"/>
                </a:lnTo>
                <a:lnTo>
                  <a:pt x="2349" y="256"/>
                </a:lnTo>
                <a:lnTo>
                  <a:pt x="2353" y="276"/>
                </a:lnTo>
                <a:lnTo>
                  <a:pt x="2355" y="295"/>
                </a:lnTo>
                <a:lnTo>
                  <a:pt x="2355" y="315"/>
                </a:lnTo>
                <a:lnTo>
                  <a:pt x="2352" y="334"/>
                </a:lnTo>
                <a:lnTo>
                  <a:pt x="2348" y="354"/>
                </a:lnTo>
                <a:lnTo>
                  <a:pt x="2342" y="373"/>
                </a:lnTo>
                <a:lnTo>
                  <a:pt x="2335" y="393"/>
                </a:lnTo>
                <a:lnTo>
                  <a:pt x="2326" y="411"/>
                </a:lnTo>
                <a:lnTo>
                  <a:pt x="2317" y="430"/>
                </a:lnTo>
                <a:lnTo>
                  <a:pt x="2306" y="449"/>
                </a:lnTo>
                <a:lnTo>
                  <a:pt x="2295" y="466"/>
                </a:lnTo>
                <a:lnTo>
                  <a:pt x="2270" y="499"/>
                </a:lnTo>
                <a:lnTo>
                  <a:pt x="2245" y="529"/>
                </a:lnTo>
                <a:lnTo>
                  <a:pt x="2240" y="544"/>
                </a:lnTo>
                <a:lnTo>
                  <a:pt x="2238" y="560"/>
                </a:lnTo>
                <a:lnTo>
                  <a:pt x="2236" y="590"/>
                </a:lnTo>
                <a:lnTo>
                  <a:pt x="2234" y="645"/>
                </a:lnTo>
                <a:lnTo>
                  <a:pt x="2223" y="655"/>
                </a:lnTo>
                <a:lnTo>
                  <a:pt x="2214" y="667"/>
                </a:lnTo>
                <a:lnTo>
                  <a:pt x="2208" y="678"/>
                </a:lnTo>
                <a:lnTo>
                  <a:pt x="2202" y="687"/>
                </a:lnTo>
                <a:lnTo>
                  <a:pt x="2199" y="697"/>
                </a:lnTo>
                <a:lnTo>
                  <a:pt x="2197" y="706"/>
                </a:lnTo>
                <a:lnTo>
                  <a:pt x="2197" y="715"/>
                </a:lnTo>
                <a:lnTo>
                  <a:pt x="2197" y="723"/>
                </a:lnTo>
                <a:lnTo>
                  <a:pt x="2200" y="731"/>
                </a:lnTo>
                <a:lnTo>
                  <a:pt x="2204" y="739"/>
                </a:lnTo>
                <a:lnTo>
                  <a:pt x="2208" y="747"/>
                </a:lnTo>
                <a:lnTo>
                  <a:pt x="2213" y="753"/>
                </a:lnTo>
                <a:lnTo>
                  <a:pt x="2219" y="761"/>
                </a:lnTo>
                <a:lnTo>
                  <a:pt x="2227" y="767"/>
                </a:lnTo>
                <a:lnTo>
                  <a:pt x="2235" y="774"/>
                </a:lnTo>
                <a:lnTo>
                  <a:pt x="2244" y="780"/>
                </a:lnTo>
                <a:lnTo>
                  <a:pt x="2262" y="792"/>
                </a:lnTo>
                <a:lnTo>
                  <a:pt x="2283" y="802"/>
                </a:lnTo>
                <a:lnTo>
                  <a:pt x="2305" y="814"/>
                </a:lnTo>
                <a:lnTo>
                  <a:pt x="2327" y="825"/>
                </a:lnTo>
                <a:lnTo>
                  <a:pt x="2348" y="835"/>
                </a:lnTo>
                <a:lnTo>
                  <a:pt x="2368" y="845"/>
                </a:lnTo>
                <a:lnTo>
                  <a:pt x="2386" y="856"/>
                </a:lnTo>
                <a:lnTo>
                  <a:pt x="2401" y="866"/>
                </a:lnTo>
                <a:lnTo>
                  <a:pt x="2407" y="882"/>
                </a:lnTo>
                <a:lnTo>
                  <a:pt x="2413" y="897"/>
                </a:lnTo>
                <a:lnTo>
                  <a:pt x="2420" y="914"/>
                </a:lnTo>
                <a:lnTo>
                  <a:pt x="2426" y="931"/>
                </a:lnTo>
                <a:lnTo>
                  <a:pt x="2438" y="931"/>
                </a:lnTo>
                <a:lnTo>
                  <a:pt x="2450" y="931"/>
                </a:lnTo>
                <a:lnTo>
                  <a:pt x="2460" y="931"/>
                </a:lnTo>
                <a:lnTo>
                  <a:pt x="2472" y="931"/>
                </a:lnTo>
                <a:lnTo>
                  <a:pt x="2477" y="916"/>
                </a:lnTo>
                <a:lnTo>
                  <a:pt x="2480" y="900"/>
                </a:lnTo>
                <a:lnTo>
                  <a:pt x="2482" y="886"/>
                </a:lnTo>
                <a:lnTo>
                  <a:pt x="2483" y="874"/>
                </a:lnTo>
                <a:lnTo>
                  <a:pt x="2483" y="862"/>
                </a:lnTo>
                <a:lnTo>
                  <a:pt x="2482" y="852"/>
                </a:lnTo>
                <a:lnTo>
                  <a:pt x="2480" y="841"/>
                </a:lnTo>
                <a:lnTo>
                  <a:pt x="2476" y="832"/>
                </a:lnTo>
                <a:lnTo>
                  <a:pt x="2470" y="825"/>
                </a:lnTo>
                <a:lnTo>
                  <a:pt x="2465" y="817"/>
                </a:lnTo>
                <a:lnTo>
                  <a:pt x="2457" y="810"/>
                </a:lnTo>
                <a:lnTo>
                  <a:pt x="2450" y="804"/>
                </a:lnTo>
                <a:lnTo>
                  <a:pt x="2439" y="799"/>
                </a:lnTo>
                <a:lnTo>
                  <a:pt x="2429" y="793"/>
                </a:lnTo>
                <a:lnTo>
                  <a:pt x="2416" y="788"/>
                </a:lnTo>
                <a:lnTo>
                  <a:pt x="2403" y="783"/>
                </a:lnTo>
                <a:lnTo>
                  <a:pt x="2385" y="750"/>
                </a:lnTo>
                <a:lnTo>
                  <a:pt x="2366" y="713"/>
                </a:lnTo>
                <a:lnTo>
                  <a:pt x="2359" y="692"/>
                </a:lnTo>
                <a:lnTo>
                  <a:pt x="2352" y="671"/>
                </a:lnTo>
                <a:lnTo>
                  <a:pt x="2347" y="652"/>
                </a:lnTo>
                <a:lnTo>
                  <a:pt x="2343" y="632"/>
                </a:lnTo>
                <a:lnTo>
                  <a:pt x="2343" y="622"/>
                </a:lnTo>
                <a:lnTo>
                  <a:pt x="2343" y="613"/>
                </a:lnTo>
                <a:lnTo>
                  <a:pt x="2343" y="605"/>
                </a:lnTo>
                <a:lnTo>
                  <a:pt x="2344" y="596"/>
                </a:lnTo>
                <a:lnTo>
                  <a:pt x="2347" y="588"/>
                </a:lnTo>
                <a:lnTo>
                  <a:pt x="2349" y="581"/>
                </a:lnTo>
                <a:lnTo>
                  <a:pt x="2353" y="575"/>
                </a:lnTo>
                <a:lnTo>
                  <a:pt x="2359" y="568"/>
                </a:lnTo>
                <a:lnTo>
                  <a:pt x="2365" y="563"/>
                </a:lnTo>
                <a:lnTo>
                  <a:pt x="2372" y="558"/>
                </a:lnTo>
                <a:lnTo>
                  <a:pt x="2379" y="555"/>
                </a:lnTo>
                <a:lnTo>
                  <a:pt x="2390" y="551"/>
                </a:lnTo>
                <a:lnTo>
                  <a:pt x="2400" y="550"/>
                </a:lnTo>
                <a:lnTo>
                  <a:pt x="2412" y="549"/>
                </a:lnTo>
                <a:lnTo>
                  <a:pt x="2425" y="549"/>
                </a:lnTo>
                <a:lnTo>
                  <a:pt x="2439" y="550"/>
                </a:lnTo>
                <a:lnTo>
                  <a:pt x="2444" y="564"/>
                </a:lnTo>
                <a:lnTo>
                  <a:pt x="2452" y="579"/>
                </a:lnTo>
                <a:lnTo>
                  <a:pt x="2460" y="592"/>
                </a:lnTo>
                <a:lnTo>
                  <a:pt x="2470" y="606"/>
                </a:lnTo>
                <a:lnTo>
                  <a:pt x="2481" y="618"/>
                </a:lnTo>
                <a:lnTo>
                  <a:pt x="2493" y="628"/>
                </a:lnTo>
                <a:lnTo>
                  <a:pt x="2506" y="637"/>
                </a:lnTo>
                <a:lnTo>
                  <a:pt x="2519" y="645"/>
                </a:lnTo>
                <a:lnTo>
                  <a:pt x="2529" y="639"/>
                </a:lnTo>
                <a:lnTo>
                  <a:pt x="2539" y="633"/>
                </a:lnTo>
                <a:lnTo>
                  <a:pt x="2550" y="628"/>
                </a:lnTo>
                <a:lnTo>
                  <a:pt x="2560" y="623"/>
                </a:lnTo>
                <a:lnTo>
                  <a:pt x="2561" y="598"/>
                </a:lnTo>
                <a:lnTo>
                  <a:pt x="2560" y="579"/>
                </a:lnTo>
                <a:lnTo>
                  <a:pt x="2556" y="570"/>
                </a:lnTo>
                <a:lnTo>
                  <a:pt x="2551" y="562"/>
                </a:lnTo>
                <a:lnTo>
                  <a:pt x="2542" y="554"/>
                </a:lnTo>
                <a:lnTo>
                  <a:pt x="2530" y="546"/>
                </a:lnTo>
                <a:lnTo>
                  <a:pt x="2534" y="536"/>
                </a:lnTo>
                <a:lnTo>
                  <a:pt x="2539" y="525"/>
                </a:lnTo>
                <a:lnTo>
                  <a:pt x="2554" y="525"/>
                </a:lnTo>
                <a:lnTo>
                  <a:pt x="2569" y="525"/>
                </a:lnTo>
                <a:lnTo>
                  <a:pt x="2585" y="525"/>
                </a:lnTo>
                <a:lnTo>
                  <a:pt x="2601" y="525"/>
                </a:lnTo>
                <a:lnTo>
                  <a:pt x="2604" y="537"/>
                </a:lnTo>
                <a:lnTo>
                  <a:pt x="2608" y="549"/>
                </a:lnTo>
                <a:lnTo>
                  <a:pt x="2614" y="559"/>
                </a:lnTo>
                <a:lnTo>
                  <a:pt x="2619" y="570"/>
                </a:lnTo>
                <a:lnTo>
                  <a:pt x="2625" y="579"/>
                </a:lnTo>
                <a:lnTo>
                  <a:pt x="2632" y="587"/>
                </a:lnTo>
                <a:lnTo>
                  <a:pt x="2638" y="594"/>
                </a:lnTo>
                <a:lnTo>
                  <a:pt x="2646" y="602"/>
                </a:lnTo>
                <a:lnTo>
                  <a:pt x="2664" y="616"/>
                </a:lnTo>
                <a:lnTo>
                  <a:pt x="2682" y="629"/>
                </a:lnTo>
                <a:lnTo>
                  <a:pt x="2703" y="641"/>
                </a:lnTo>
                <a:lnTo>
                  <a:pt x="2724" y="654"/>
                </a:lnTo>
                <a:lnTo>
                  <a:pt x="2724" y="676"/>
                </a:lnTo>
                <a:lnTo>
                  <a:pt x="2724" y="697"/>
                </a:lnTo>
                <a:lnTo>
                  <a:pt x="2725" y="719"/>
                </a:lnTo>
                <a:lnTo>
                  <a:pt x="2725" y="741"/>
                </a:lnTo>
                <a:lnTo>
                  <a:pt x="2716" y="749"/>
                </a:lnTo>
                <a:lnTo>
                  <a:pt x="2707" y="757"/>
                </a:lnTo>
                <a:lnTo>
                  <a:pt x="2698" y="762"/>
                </a:lnTo>
                <a:lnTo>
                  <a:pt x="2689" y="767"/>
                </a:lnTo>
                <a:lnTo>
                  <a:pt x="2668" y="774"/>
                </a:lnTo>
                <a:lnTo>
                  <a:pt x="2643" y="782"/>
                </a:lnTo>
                <a:lnTo>
                  <a:pt x="2636" y="805"/>
                </a:lnTo>
                <a:lnTo>
                  <a:pt x="2628" y="827"/>
                </a:lnTo>
                <a:lnTo>
                  <a:pt x="2625" y="839"/>
                </a:lnTo>
                <a:lnTo>
                  <a:pt x="2624" y="851"/>
                </a:lnTo>
                <a:lnTo>
                  <a:pt x="2623" y="862"/>
                </a:lnTo>
                <a:lnTo>
                  <a:pt x="2624" y="875"/>
                </a:lnTo>
                <a:lnTo>
                  <a:pt x="2650" y="903"/>
                </a:lnTo>
                <a:lnTo>
                  <a:pt x="2669" y="927"/>
                </a:lnTo>
                <a:lnTo>
                  <a:pt x="2677" y="938"/>
                </a:lnTo>
                <a:lnTo>
                  <a:pt x="2684" y="948"/>
                </a:lnTo>
                <a:lnTo>
                  <a:pt x="2689" y="959"/>
                </a:lnTo>
                <a:lnTo>
                  <a:pt x="2693" y="968"/>
                </a:lnTo>
                <a:lnTo>
                  <a:pt x="2699" y="988"/>
                </a:lnTo>
                <a:lnTo>
                  <a:pt x="2705" y="1011"/>
                </a:lnTo>
                <a:lnTo>
                  <a:pt x="2707" y="1037"/>
                </a:lnTo>
                <a:lnTo>
                  <a:pt x="2711" y="1068"/>
                </a:lnTo>
                <a:lnTo>
                  <a:pt x="2705" y="1077"/>
                </a:lnTo>
                <a:lnTo>
                  <a:pt x="2701" y="1086"/>
                </a:lnTo>
                <a:lnTo>
                  <a:pt x="2697" y="1095"/>
                </a:lnTo>
                <a:lnTo>
                  <a:pt x="2694" y="1103"/>
                </a:lnTo>
                <a:lnTo>
                  <a:pt x="2692" y="1121"/>
                </a:lnTo>
                <a:lnTo>
                  <a:pt x="2689" y="1143"/>
                </a:lnTo>
                <a:lnTo>
                  <a:pt x="2672" y="1143"/>
                </a:lnTo>
                <a:lnTo>
                  <a:pt x="2656" y="1146"/>
                </a:lnTo>
                <a:lnTo>
                  <a:pt x="2641" y="1148"/>
                </a:lnTo>
                <a:lnTo>
                  <a:pt x="2627" y="1154"/>
                </a:lnTo>
                <a:lnTo>
                  <a:pt x="2612" y="1159"/>
                </a:lnTo>
                <a:lnTo>
                  <a:pt x="2598" y="1165"/>
                </a:lnTo>
                <a:lnTo>
                  <a:pt x="2585" y="1172"/>
                </a:lnTo>
                <a:lnTo>
                  <a:pt x="2572" y="1180"/>
                </a:lnTo>
                <a:lnTo>
                  <a:pt x="2545" y="1194"/>
                </a:lnTo>
                <a:lnTo>
                  <a:pt x="2519" y="1210"/>
                </a:lnTo>
                <a:lnTo>
                  <a:pt x="2504" y="1217"/>
                </a:lnTo>
                <a:lnTo>
                  <a:pt x="2490" y="1225"/>
                </a:lnTo>
                <a:lnTo>
                  <a:pt x="2476" y="1232"/>
                </a:lnTo>
                <a:lnTo>
                  <a:pt x="2460" y="1237"/>
                </a:lnTo>
                <a:lnTo>
                  <a:pt x="2450" y="1250"/>
                </a:lnTo>
                <a:lnTo>
                  <a:pt x="2438" y="1263"/>
                </a:lnTo>
                <a:lnTo>
                  <a:pt x="2426" y="1277"/>
                </a:lnTo>
                <a:lnTo>
                  <a:pt x="2416" y="1290"/>
                </a:lnTo>
                <a:lnTo>
                  <a:pt x="2433" y="1385"/>
                </a:lnTo>
                <a:lnTo>
                  <a:pt x="2443" y="1436"/>
                </a:lnTo>
                <a:lnTo>
                  <a:pt x="2447" y="1452"/>
                </a:lnTo>
                <a:lnTo>
                  <a:pt x="2451" y="1463"/>
                </a:lnTo>
                <a:lnTo>
                  <a:pt x="2455" y="1472"/>
                </a:lnTo>
                <a:lnTo>
                  <a:pt x="2459" y="1483"/>
                </a:lnTo>
                <a:lnTo>
                  <a:pt x="2478" y="1488"/>
                </a:lnTo>
                <a:lnTo>
                  <a:pt x="2495" y="1493"/>
                </a:lnTo>
                <a:lnTo>
                  <a:pt x="2509" y="1500"/>
                </a:lnTo>
                <a:lnTo>
                  <a:pt x="2524" y="1508"/>
                </a:lnTo>
                <a:lnTo>
                  <a:pt x="2535" y="1517"/>
                </a:lnTo>
                <a:lnTo>
                  <a:pt x="2547" y="1528"/>
                </a:lnTo>
                <a:lnTo>
                  <a:pt x="2560" y="1540"/>
                </a:lnTo>
                <a:lnTo>
                  <a:pt x="2572" y="1554"/>
                </a:lnTo>
                <a:lnTo>
                  <a:pt x="2591" y="1553"/>
                </a:lnTo>
                <a:lnTo>
                  <a:pt x="2610" y="1553"/>
                </a:lnTo>
                <a:lnTo>
                  <a:pt x="2628" y="1553"/>
                </a:lnTo>
                <a:lnTo>
                  <a:pt x="2647" y="1553"/>
                </a:lnTo>
                <a:lnTo>
                  <a:pt x="2651" y="1541"/>
                </a:lnTo>
                <a:lnTo>
                  <a:pt x="2656" y="1531"/>
                </a:lnTo>
                <a:lnTo>
                  <a:pt x="2663" y="1521"/>
                </a:lnTo>
                <a:lnTo>
                  <a:pt x="2668" y="1510"/>
                </a:lnTo>
                <a:lnTo>
                  <a:pt x="2675" y="1514"/>
                </a:lnTo>
                <a:lnTo>
                  <a:pt x="2681" y="1519"/>
                </a:lnTo>
                <a:lnTo>
                  <a:pt x="2688" y="1526"/>
                </a:lnTo>
                <a:lnTo>
                  <a:pt x="2692" y="1532"/>
                </a:lnTo>
                <a:lnTo>
                  <a:pt x="2697" y="1540"/>
                </a:lnTo>
                <a:lnTo>
                  <a:pt x="2701" y="1548"/>
                </a:lnTo>
                <a:lnTo>
                  <a:pt x="2705" y="1557"/>
                </a:lnTo>
                <a:lnTo>
                  <a:pt x="2707" y="1567"/>
                </a:lnTo>
                <a:lnTo>
                  <a:pt x="2712" y="1588"/>
                </a:lnTo>
                <a:lnTo>
                  <a:pt x="2715" y="1612"/>
                </a:lnTo>
                <a:lnTo>
                  <a:pt x="2718" y="1635"/>
                </a:lnTo>
                <a:lnTo>
                  <a:pt x="2719" y="1661"/>
                </a:lnTo>
                <a:lnTo>
                  <a:pt x="2718" y="1710"/>
                </a:lnTo>
                <a:lnTo>
                  <a:pt x="2715" y="1759"/>
                </a:lnTo>
                <a:lnTo>
                  <a:pt x="2712" y="1799"/>
                </a:lnTo>
                <a:lnTo>
                  <a:pt x="2711" y="1829"/>
                </a:lnTo>
                <a:lnTo>
                  <a:pt x="2702" y="1860"/>
                </a:lnTo>
                <a:lnTo>
                  <a:pt x="2693" y="1890"/>
                </a:lnTo>
                <a:lnTo>
                  <a:pt x="2685" y="1920"/>
                </a:lnTo>
                <a:lnTo>
                  <a:pt x="2676" y="1951"/>
                </a:lnTo>
                <a:lnTo>
                  <a:pt x="2625" y="1956"/>
                </a:lnTo>
                <a:lnTo>
                  <a:pt x="2597" y="1960"/>
                </a:lnTo>
                <a:lnTo>
                  <a:pt x="2582" y="1963"/>
                </a:lnTo>
                <a:lnTo>
                  <a:pt x="2572" y="1968"/>
                </a:lnTo>
                <a:lnTo>
                  <a:pt x="2568" y="2004"/>
                </a:lnTo>
                <a:lnTo>
                  <a:pt x="2564" y="2042"/>
                </a:lnTo>
                <a:lnTo>
                  <a:pt x="2563" y="2051"/>
                </a:lnTo>
                <a:lnTo>
                  <a:pt x="2564" y="2059"/>
                </a:lnTo>
                <a:lnTo>
                  <a:pt x="2565" y="2068"/>
                </a:lnTo>
                <a:lnTo>
                  <a:pt x="2568" y="2076"/>
                </a:lnTo>
                <a:lnTo>
                  <a:pt x="2572" y="2084"/>
                </a:lnTo>
                <a:lnTo>
                  <a:pt x="2576" y="2090"/>
                </a:lnTo>
                <a:lnTo>
                  <a:pt x="2582" y="2097"/>
                </a:lnTo>
                <a:lnTo>
                  <a:pt x="2590" y="2102"/>
                </a:lnTo>
                <a:lnTo>
                  <a:pt x="2584" y="2115"/>
                </a:lnTo>
                <a:lnTo>
                  <a:pt x="2580" y="2127"/>
                </a:lnTo>
                <a:lnTo>
                  <a:pt x="2576" y="2140"/>
                </a:lnTo>
                <a:lnTo>
                  <a:pt x="2572" y="2153"/>
                </a:lnTo>
                <a:lnTo>
                  <a:pt x="2571" y="2166"/>
                </a:lnTo>
                <a:lnTo>
                  <a:pt x="2569" y="2179"/>
                </a:lnTo>
                <a:lnTo>
                  <a:pt x="2569" y="2192"/>
                </a:lnTo>
                <a:lnTo>
                  <a:pt x="2571" y="2204"/>
                </a:lnTo>
                <a:lnTo>
                  <a:pt x="2572" y="2217"/>
                </a:lnTo>
                <a:lnTo>
                  <a:pt x="2575" y="2230"/>
                </a:lnTo>
                <a:lnTo>
                  <a:pt x="2578" y="2243"/>
                </a:lnTo>
                <a:lnTo>
                  <a:pt x="2582" y="2254"/>
                </a:lnTo>
                <a:lnTo>
                  <a:pt x="2588" y="2267"/>
                </a:lnTo>
                <a:lnTo>
                  <a:pt x="2594" y="2279"/>
                </a:lnTo>
                <a:lnTo>
                  <a:pt x="2601" y="2291"/>
                </a:lnTo>
                <a:lnTo>
                  <a:pt x="2608" y="2302"/>
                </a:lnTo>
                <a:lnTo>
                  <a:pt x="2604" y="2345"/>
                </a:lnTo>
                <a:lnTo>
                  <a:pt x="2598" y="2391"/>
                </a:lnTo>
                <a:lnTo>
                  <a:pt x="2590" y="2439"/>
                </a:lnTo>
                <a:lnTo>
                  <a:pt x="2585" y="2487"/>
                </a:lnTo>
                <a:lnTo>
                  <a:pt x="2584" y="2512"/>
                </a:lnTo>
                <a:lnTo>
                  <a:pt x="2582" y="2535"/>
                </a:lnTo>
                <a:lnTo>
                  <a:pt x="2584" y="2560"/>
                </a:lnTo>
                <a:lnTo>
                  <a:pt x="2585" y="2582"/>
                </a:lnTo>
                <a:lnTo>
                  <a:pt x="2589" y="2604"/>
                </a:lnTo>
                <a:lnTo>
                  <a:pt x="2594" y="2625"/>
                </a:lnTo>
                <a:lnTo>
                  <a:pt x="2597" y="2635"/>
                </a:lnTo>
                <a:lnTo>
                  <a:pt x="2601" y="2646"/>
                </a:lnTo>
                <a:lnTo>
                  <a:pt x="2606" y="2655"/>
                </a:lnTo>
                <a:lnTo>
                  <a:pt x="2611" y="2664"/>
                </a:lnTo>
                <a:lnTo>
                  <a:pt x="2625" y="2677"/>
                </a:lnTo>
                <a:lnTo>
                  <a:pt x="2640" y="2690"/>
                </a:lnTo>
                <a:lnTo>
                  <a:pt x="2655" y="2704"/>
                </a:lnTo>
                <a:lnTo>
                  <a:pt x="2671" y="2717"/>
                </a:lnTo>
                <a:lnTo>
                  <a:pt x="2668" y="2756"/>
                </a:lnTo>
                <a:lnTo>
                  <a:pt x="2668" y="2798"/>
                </a:lnTo>
                <a:lnTo>
                  <a:pt x="2667" y="2819"/>
                </a:lnTo>
                <a:lnTo>
                  <a:pt x="2664" y="2838"/>
                </a:lnTo>
                <a:lnTo>
                  <a:pt x="2662" y="2858"/>
                </a:lnTo>
                <a:lnTo>
                  <a:pt x="2656" y="2873"/>
                </a:lnTo>
                <a:lnTo>
                  <a:pt x="2642" y="2875"/>
                </a:lnTo>
                <a:lnTo>
                  <a:pt x="2630" y="2877"/>
                </a:lnTo>
                <a:lnTo>
                  <a:pt x="2629" y="2889"/>
                </a:lnTo>
                <a:lnTo>
                  <a:pt x="2629" y="2900"/>
                </a:lnTo>
                <a:lnTo>
                  <a:pt x="2629" y="2909"/>
                </a:lnTo>
                <a:lnTo>
                  <a:pt x="2630" y="2916"/>
                </a:lnTo>
                <a:lnTo>
                  <a:pt x="2632" y="2923"/>
                </a:lnTo>
                <a:lnTo>
                  <a:pt x="2636" y="2929"/>
                </a:lnTo>
                <a:lnTo>
                  <a:pt x="2638" y="2935"/>
                </a:lnTo>
                <a:lnTo>
                  <a:pt x="2643" y="2940"/>
                </a:lnTo>
                <a:lnTo>
                  <a:pt x="2649" y="2944"/>
                </a:lnTo>
                <a:lnTo>
                  <a:pt x="2655" y="2948"/>
                </a:lnTo>
                <a:lnTo>
                  <a:pt x="2662" y="2950"/>
                </a:lnTo>
                <a:lnTo>
                  <a:pt x="2669" y="2953"/>
                </a:lnTo>
                <a:lnTo>
                  <a:pt x="2688" y="2958"/>
                </a:lnTo>
                <a:lnTo>
                  <a:pt x="2709" y="2965"/>
                </a:lnTo>
                <a:lnTo>
                  <a:pt x="2712" y="2975"/>
                </a:lnTo>
                <a:lnTo>
                  <a:pt x="2716" y="2984"/>
                </a:lnTo>
                <a:lnTo>
                  <a:pt x="2720" y="2991"/>
                </a:lnTo>
                <a:lnTo>
                  <a:pt x="2724" y="2997"/>
                </a:lnTo>
                <a:lnTo>
                  <a:pt x="2729" y="3002"/>
                </a:lnTo>
                <a:lnTo>
                  <a:pt x="2735" y="3007"/>
                </a:lnTo>
                <a:lnTo>
                  <a:pt x="2740" y="3011"/>
                </a:lnTo>
                <a:lnTo>
                  <a:pt x="2745" y="3014"/>
                </a:lnTo>
                <a:lnTo>
                  <a:pt x="2758" y="3018"/>
                </a:lnTo>
                <a:lnTo>
                  <a:pt x="2774" y="3020"/>
                </a:lnTo>
                <a:lnTo>
                  <a:pt x="2792" y="3023"/>
                </a:lnTo>
                <a:lnTo>
                  <a:pt x="2813" y="3026"/>
                </a:lnTo>
                <a:lnTo>
                  <a:pt x="2816" y="3044"/>
                </a:lnTo>
                <a:lnTo>
                  <a:pt x="2820" y="3062"/>
                </a:lnTo>
                <a:lnTo>
                  <a:pt x="2823" y="3079"/>
                </a:lnTo>
                <a:lnTo>
                  <a:pt x="2824" y="3097"/>
                </a:lnTo>
                <a:lnTo>
                  <a:pt x="2826" y="3134"/>
                </a:lnTo>
                <a:lnTo>
                  <a:pt x="2826" y="3170"/>
                </a:lnTo>
                <a:lnTo>
                  <a:pt x="2807" y="3196"/>
                </a:lnTo>
                <a:lnTo>
                  <a:pt x="2790" y="3221"/>
                </a:lnTo>
                <a:lnTo>
                  <a:pt x="2771" y="3247"/>
                </a:lnTo>
                <a:lnTo>
                  <a:pt x="2753" y="3272"/>
                </a:lnTo>
                <a:lnTo>
                  <a:pt x="2733" y="3296"/>
                </a:lnTo>
                <a:lnTo>
                  <a:pt x="2714" y="3321"/>
                </a:lnTo>
                <a:lnTo>
                  <a:pt x="2693" y="3344"/>
                </a:lnTo>
                <a:lnTo>
                  <a:pt x="2672" y="3368"/>
                </a:lnTo>
                <a:lnTo>
                  <a:pt x="2672" y="3378"/>
                </a:lnTo>
                <a:lnTo>
                  <a:pt x="2672" y="3390"/>
                </a:lnTo>
                <a:lnTo>
                  <a:pt x="2672" y="3400"/>
                </a:lnTo>
                <a:lnTo>
                  <a:pt x="2672" y="3412"/>
                </a:lnTo>
                <a:lnTo>
                  <a:pt x="2682" y="3424"/>
                </a:lnTo>
                <a:lnTo>
                  <a:pt x="2689" y="3435"/>
                </a:lnTo>
                <a:lnTo>
                  <a:pt x="2693" y="3447"/>
                </a:lnTo>
                <a:lnTo>
                  <a:pt x="2695" y="3459"/>
                </a:lnTo>
                <a:lnTo>
                  <a:pt x="2695" y="3471"/>
                </a:lnTo>
                <a:lnTo>
                  <a:pt x="2694" y="3482"/>
                </a:lnTo>
                <a:lnTo>
                  <a:pt x="2692" y="3495"/>
                </a:lnTo>
                <a:lnTo>
                  <a:pt x="2686" y="3507"/>
                </a:lnTo>
                <a:lnTo>
                  <a:pt x="2676" y="3533"/>
                </a:lnTo>
                <a:lnTo>
                  <a:pt x="2664" y="3559"/>
                </a:lnTo>
                <a:lnTo>
                  <a:pt x="2659" y="3572"/>
                </a:lnTo>
                <a:lnTo>
                  <a:pt x="2654" y="3585"/>
                </a:lnTo>
                <a:lnTo>
                  <a:pt x="2649" y="3598"/>
                </a:lnTo>
                <a:lnTo>
                  <a:pt x="2645" y="3612"/>
                </a:lnTo>
                <a:lnTo>
                  <a:pt x="2638" y="3612"/>
                </a:lnTo>
                <a:lnTo>
                  <a:pt x="2632" y="3612"/>
                </a:lnTo>
                <a:lnTo>
                  <a:pt x="2615" y="3635"/>
                </a:lnTo>
                <a:lnTo>
                  <a:pt x="2599" y="3650"/>
                </a:lnTo>
                <a:lnTo>
                  <a:pt x="2593" y="3657"/>
                </a:lnTo>
                <a:lnTo>
                  <a:pt x="2586" y="3662"/>
                </a:lnTo>
                <a:lnTo>
                  <a:pt x="2580" y="3666"/>
                </a:lnTo>
                <a:lnTo>
                  <a:pt x="2572" y="3668"/>
                </a:lnTo>
                <a:lnTo>
                  <a:pt x="2558" y="3674"/>
                </a:lnTo>
                <a:lnTo>
                  <a:pt x="2539" y="3676"/>
                </a:lnTo>
                <a:lnTo>
                  <a:pt x="2519" y="3679"/>
                </a:lnTo>
                <a:lnTo>
                  <a:pt x="2491" y="3681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90" name="Freeform 55"/>
          <p:cNvSpPr>
            <a:spLocks/>
          </p:cNvSpPr>
          <p:nvPr/>
        </p:nvSpPr>
        <p:spPr bwMode="auto">
          <a:xfrm>
            <a:off x="1992313" y="3024188"/>
            <a:ext cx="244475" cy="185737"/>
          </a:xfrm>
          <a:custGeom>
            <a:avLst/>
            <a:gdLst>
              <a:gd name="T0" fmla="*/ 2147483647 w 616"/>
              <a:gd name="T1" fmla="*/ 2147483647 h 468"/>
              <a:gd name="T2" fmla="*/ 2147483647 w 616"/>
              <a:gd name="T3" fmla="*/ 2147483647 h 468"/>
              <a:gd name="T4" fmla="*/ 2147483647 w 616"/>
              <a:gd name="T5" fmla="*/ 2147483647 h 468"/>
              <a:gd name="T6" fmla="*/ 2147483647 w 616"/>
              <a:gd name="T7" fmla="*/ 2147483647 h 468"/>
              <a:gd name="T8" fmla="*/ 2147483647 w 616"/>
              <a:gd name="T9" fmla="*/ 2147483647 h 468"/>
              <a:gd name="T10" fmla="*/ 2147483647 w 616"/>
              <a:gd name="T11" fmla="*/ 2147483647 h 468"/>
              <a:gd name="T12" fmla="*/ 2147483647 w 616"/>
              <a:gd name="T13" fmla="*/ 2147483647 h 468"/>
              <a:gd name="T14" fmla="*/ 2147483647 w 616"/>
              <a:gd name="T15" fmla="*/ 2147483647 h 468"/>
              <a:gd name="T16" fmla="*/ 2147483647 w 616"/>
              <a:gd name="T17" fmla="*/ 2147483647 h 468"/>
              <a:gd name="T18" fmla="*/ 2147483647 w 616"/>
              <a:gd name="T19" fmla="*/ 2147483647 h 468"/>
              <a:gd name="T20" fmla="*/ 2147483647 w 616"/>
              <a:gd name="T21" fmla="*/ 2147483647 h 468"/>
              <a:gd name="T22" fmla="*/ 2147483647 w 616"/>
              <a:gd name="T23" fmla="*/ 2147483647 h 468"/>
              <a:gd name="T24" fmla="*/ 2147483647 w 616"/>
              <a:gd name="T25" fmla="*/ 2147483647 h 468"/>
              <a:gd name="T26" fmla="*/ 2147483647 w 616"/>
              <a:gd name="T27" fmla="*/ 2147483647 h 468"/>
              <a:gd name="T28" fmla="*/ 2147483647 w 616"/>
              <a:gd name="T29" fmla="*/ 2147483647 h 468"/>
              <a:gd name="T30" fmla="*/ 2147483647 w 616"/>
              <a:gd name="T31" fmla="*/ 2147483647 h 468"/>
              <a:gd name="T32" fmla="*/ 2147483647 w 616"/>
              <a:gd name="T33" fmla="*/ 2147483647 h 468"/>
              <a:gd name="T34" fmla="*/ 2147483647 w 616"/>
              <a:gd name="T35" fmla="*/ 2147483647 h 468"/>
              <a:gd name="T36" fmla="*/ 2147483647 w 616"/>
              <a:gd name="T37" fmla="*/ 2147483647 h 468"/>
              <a:gd name="T38" fmla="*/ 2147483647 w 616"/>
              <a:gd name="T39" fmla="*/ 2147483647 h 468"/>
              <a:gd name="T40" fmla="*/ 2147483647 w 616"/>
              <a:gd name="T41" fmla="*/ 2147483647 h 468"/>
              <a:gd name="T42" fmla="*/ 2147483647 w 616"/>
              <a:gd name="T43" fmla="*/ 2147483647 h 468"/>
              <a:gd name="T44" fmla="*/ 2147483647 w 616"/>
              <a:gd name="T45" fmla="*/ 2147483647 h 468"/>
              <a:gd name="T46" fmla="*/ 2147483647 w 616"/>
              <a:gd name="T47" fmla="*/ 2147483647 h 468"/>
              <a:gd name="T48" fmla="*/ 2147483647 w 616"/>
              <a:gd name="T49" fmla="*/ 2147483647 h 468"/>
              <a:gd name="T50" fmla="*/ 2147483647 w 616"/>
              <a:gd name="T51" fmla="*/ 2147483647 h 468"/>
              <a:gd name="T52" fmla="*/ 2147483647 w 616"/>
              <a:gd name="T53" fmla="*/ 2147483647 h 468"/>
              <a:gd name="T54" fmla="*/ 2147483647 w 616"/>
              <a:gd name="T55" fmla="*/ 2147483647 h 468"/>
              <a:gd name="T56" fmla="*/ 2147483647 w 616"/>
              <a:gd name="T57" fmla="*/ 2147483647 h 468"/>
              <a:gd name="T58" fmla="*/ 2147483647 w 616"/>
              <a:gd name="T59" fmla="*/ 2147483647 h 468"/>
              <a:gd name="T60" fmla="*/ 2147483647 w 616"/>
              <a:gd name="T61" fmla="*/ 2147483647 h 468"/>
              <a:gd name="T62" fmla="*/ 2147483647 w 616"/>
              <a:gd name="T63" fmla="*/ 2147483647 h 468"/>
              <a:gd name="T64" fmla="*/ 2147483647 w 616"/>
              <a:gd name="T65" fmla="*/ 2147483647 h 468"/>
              <a:gd name="T66" fmla="*/ 2147483647 w 616"/>
              <a:gd name="T67" fmla="*/ 2147483647 h 468"/>
              <a:gd name="T68" fmla="*/ 2147483647 w 616"/>
              <a:gd name="T69" fmla="*/ 2147483647 h 468"/>
              <a:gd name="T70" fmla="*/ 2147483647 w 616"/>
              <a:gd name="T71" fmla="*/ 2147483647 h 468"/>
              <a:gd name="T72" fmla="*/ 2147483647 w 616"/>
              <a:gd name="T73" fmla="*/ 2147483647 h 468"/>
              <a:gd name="T74" fmla="*/ 2147483647 w 616"/>
              <a:gd name="T75" fmla="*/ 2147483647 h 468"/>
              <a:gd name="T76" fmla="*/ 2147483647 w 616"/>
              <a:gd name="T77" fmla="*/ 2147483647 h 468"/>
              <a:gd name="T78" fmla="*/ 2147483647 w 616"/>
              <a:gd name="T79" fmla="*/ 2147483647 h 468"/>
              <a:gd name="T80" fmla="*/ 2147483647 w 616"/>
              <a:gd name="T81" fmla="*/ 2147483647 h 468"/>
              <a:gd name="T82" fmla="*/ 2147483647 w 616"/>
              <a:gd name="T83" fmla="*/ 2147483647 h 468"/>
              <a:gd name="T84" fmla="*/ 2147483647 w 616"/>
              <a:gd name="T85" fmla="*/ 2147483647 h 468"/>
              <a:gd name="T86" fmla="*/ 2147483647 w 616"/>
              <a:gd name="T87" fmla="*/ 2147483647 h 468"/>
              <a:gd name="T88" fmla="*/ 2147483647 w 616"/>
              <a:gd name="T89" fmla="*/ 2147483647 h 468"/>
              <a:gd name="T90" fmla="*/ 2147483647 w 616"/>
              <a:gd name="T91" fmla="*/ 2147483647 h 468"/>
              <a:gd name="T92" fmla="*/ 2147483647 w 616"/>
              <a:gd name="T93" fmla="*/ 2147483647 h 468"/>
              <a:gd name="T94" fmla="*/ 2147483647 w 616"/>
              <a:gd name="T95" fmla="*/ 2147483647 h 468"/>
              <a:gd name="T96" fmla="*/ 2147483647 w 616"/>
              <a:gd name="T97" fmla="*/ 2147483647 h 468"/>
              <a:gd name="T98" fmla="*/ 2147483647 w 616"/>
              <a:gd name="T99" fmla="*/ 2147483647 h 468"/>
              <a:gd name="T100" fmla="*/ 2147483647 w 616"/>
              <a:gd name="T101" fmla="*/ 2147483647 h 468"/>
              <a:gd name="T102" fmla="*/ 2147483647 w 616"/>
              <a:gd name="T103" fmla="*/ 2147483647 h 468"/>
              <a:gd name="T104" fmla="*/ 2147483647 w 616"/>
              <a:gd name="T105" fmla="*/ 2147483647 h 468"/>
              <a:gd name="T106" fmla="*/ 2147483647 w 616"/>
              <a:gd name="T107" fmla="*/ 2147483647 h 468"/>
              <a:gd name="T108" fmla="*/ 2147483647 w 616"/>
              <a:gd name="T109" fmla="*/ 2147483647 h 46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616"/>
              <a:gd name="T166" fmla="*/ 0 h 468"/>
              <a:gd name="T167" fmla="*/ 616 w 616"/>
              <a:gd name="T168" fmla="*/ 468 h 468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616" h="468">
                <a:moveTo>
                  <a:pt x="280" y="468"/>
                </a:moveTo>
                <a:lnTo>
                  <a:pt x="258" y="450"/>
                </a:lnTo>
                <a:lnTo>
                  <a:pt x="244" y="438"/>
                </a:lnTo>
                <a:lnTo>
                  <a:pt x="229" y="425"/>
                </a:lnTo>
                <a:lnTo>
                  <a:pt x="211" y="404"/>
                </a:lnTo>
                <a:lnTo>
                  <a:pt x="209" y="363"/>
                </a:lnTo>
                <a:lnTo>
                  <a:pt x="206" y="324"/>
                </a:lnTo>
                <a:lnTo>
                  <a:pt x="203" y="303"/>
                </a:lnTo>
                <a:lnTo>
                  <a:pt x="203" y="283"/>
                </a:lnTo>
                <a:lnTo>
                  <a:pt x="203" y="264"/>
                </a:lnTo>
                <a:lnTo>
                  <a:pt x="203" y="243"/>
                </a:lnTo>
                <a:lnTo>
                  <a:pt x="173" y="239"/>
                </a:lnTo>
                <a:lnTo>
                  <a:pt x="144" y="235"/>
                </a:lnTo>
                <a:lnTo>
                  <a:pt x="114" y="233"/>
                </a:lnTo>
                <a:lnTo>
                  <a:pt x="85" y="229"/>
                </a:lnTo>
                <a:lnTo>
                  <a:pt x="68" y="217"/>
                </a:lnTo>
                <a:lnTo>
                  <a:pt x="54" y="208"/>
                </a:lnTo>
                <a:lnTo>
                  <a:pt x="46" y="205"/>
                </a:lnTo>
                <a:lnTo>
                  <a:pt x="37" y="201"/>
                </a:lnTo>
                <a:lnTo>
                  <a:pt x="28" y="200"/>
                </a:lnTo>
                <a:lnTo>
                  <a:pt x="17" y="199"/>
                </a:lnTo>
                <a:lnTo>
                  <a:pt x="13" y="181"/>
                </a:lnTo>
                <a:lnTo>
                  <a:pt x="8" y="164"/>
                </a:lnTo>
                <a:lnTo>
                  <a:pt x="4" y="147"/>
                </a:lnTo>
                <a:lnTo>
                  <a:pt x="0" y="131"/>
                </a:lnTo>
                <a:lnTo>
                  <a:pt x="6" y="125"/>
                </a:lnTo>
                <a:lnTo>
                  <a:pt x="10" y="119"/>
                </a:lnTo>
                <a:lnTo>
                  <a:pt x="13" y="113"/>
                </a:lnTo>
                <a:lnTo>
                  <a:pt x="17" y="106"/>
                </a:lnTo>
                <a:lnTo>
                  <a:pt x="21" y="93"/>
                </a:lnTo>
                <a:lnTo>
                  <a:pt x="25" y="79"/>
                </a:lnTo>
                <a:lnTo>
                  <a:pt x="28" y="50"/>
                </a:lnTo>
                <a:lnTo>
                  <a:pt x="30" y="19"/>
                </a:lnTo>
                <a:lnTo>
                  <a:pt x="52" y="22"/>
                </a:lnTo>
                <a:lnTo>
                  <a:pt x="75" y="23"/>
                </a:lnTo>
                <a:lnTo>
                  <a:pt x="80" y="23"/>
                </a:lnTo>
                <a:lnTo>
                  <a:pt x="85" y="22"/>
                </a:lnTo>
                <a:lnTo>
                  <a:pt x="90" y="21"/>
                </a:lnTo>
                <a:lnTo>
                  <a:pt x="94" y="18"/>
                </a:lnTo>
                <a:lnTo>
                  <a:pt x="98" y="15"/>
                </a:lnTo>
                <a:lnTo>
                  <a:pt x="102" y="11"/>
                </a:lnTo>
                <a:lnTo>
                  <a:pt x="104" y="6"/>
                </a:lnTo>
                <a:lnTo>
                  <a:pt x="107" y="0"/>
                </a:lnTo>
                <a:lnTo>
                  <a:pt x="125" y="4"/>
                </a:lnTo>
                <a:lnTo>
                  <a:pt x="141" y="8"/>
                </a:lnTo>
                <a:lnTo>
                  <a:pt x="157" y="13"/>
                </a:lnTo>
                <a:lnTo>
                  <a:pt x="171" y="19"/>
                </a:lnTo>
                <a:lnTo>
                  <a:pt x="198" y="32"/>
                </a:lnTo>
                <a:lnTo>
                  <a:pt x="229" y="44"/>
                </a:lnTo>
                <a:lnTo>
                  <a:pt x="229" y="50"/>
                </a:lnTo>
                <a:lnTo>
                  <a:pt x="229" y="58"/>
                </a:lnTo>
                <a:lnTo>
                  <a:pt x="240" y="62"/>
                </a:lnTo>
                <a:lnTo>
                  <a:pt x="250" y="67"/>
                </a:lnTo>
                <a:lnTo>
                  <a:pt x="262" y="71"/>
                </a:lnTo>
                <a:lnTo>
                  <a:pt x="274" y="76"/>
                </a:lnTo>
                <a:lnTo>
                  <a:pt x="279" y="96"/>
                </a:lnTo>
                <a:lnTo>
                  <a:pt x="285" y="112"/>
                </a:lnTo>
                <a:lnTo>
                  <a:pt x="291" y="123"/>
                </a:lnTo>
                <a:lnTo>
                  <a:pt x="297" y="131"/>
                </a:lnTo>
                <a:lnTo>
                  <a:pt x="304" y="138"/>
                </a:lnTo>
                <a:lnTo>
                  <a:pt x="310" y="142"/>
                </a:lnTo>
                <a:lnTo>
                  <a:pt x="317" y="144"/>
                </a:lnTo>
                <a:lnTo>
                  <a:pt x="324" y="145"/>
                </a:lnTo>
                <a:lnTo>
                  <a:pt x="340" y="145"/>
                </a:lnTo>
                <a:lnTo>
                  <a:pt x="357" y="145"/>
                </a:lnTo>
                <a:lnTo>
                  <a:pt x="366" y="147"/>
                </a:lnTo>
                <a:lnTo>
                  <a:pt x="376" y="148"/>
                </a:lnTo>
                <a:lnTo>
                  <a:pt x="387" y="152"/>
                </a:lnTo>
                <a:lnTo>
                  <a:pt x="398" y="158"/>
                </a:lnTo>
                <a:lnTo>
                  <a:pt x="419" y="160"/>
                </a:lnTo>
                <a:lnTo>
                  <a:pt x="441" y="161"/>
                </a:lnTo>
                <a:lnTo>
                  <a:pt x="464" y="164"/>
                </a:lnTo>
                <a:lnTo>
                  <a:pt x="484" y="165"/>
                </a:lnTo>
                <a:lnTo>
                  <a:pt x="493" y="183"/>
                </a:lnTo>
                <a:lnTo>
                  <a:pt x="503" y="200"/>
                </a:lnTo>
                <a:lnTo>
                  <a:pt x="513" y="218"/>
                </a:lnTo>
                <a:lnTo>
                  <a:pt x="523" y="236"/>
                </a:lnTo>
                <a:lnTo>
                  <a:pt x="540" y="231"/>
                </a:lnTo>
                <a:lnTo>
                  <a:pt x="559" y="226"/>
                </a:lnTo>
                <a:lnTo>
                  <a:pt x="575" y="222"/>
                </a:lnTo>
                <a:lnTo>
                  <a:pt x="594" y="217"/>
                </a:lnTo>
                <a:lnTo>
                  <a:pt x="586" y="233"/>
                </a:lnTo>
                <a:lnTo>
                  <a:pt x="581" y="246"/>
                </a:lnTo>
                <a:lnTo>
                  <a:pt x="577" y="256"/>
                </a:lnTo>
                <a:lnTo>
                  <a:pt x="574" y="266"/>
                </a:lnTo>
                <a:lnTo>
                  <a:pt x="573" y="276"/>
                </a:lnTo>
                <a:lnTo>
                  <a:pt x="573" y="285"/>
                </a:lnTo>
                <a:lnTo>
                  <a:pt x="574" y="292"/>
                </a:lnTo>
                <a:lnTo>
                  <a:pt x="575" y="300"/>
                </a:lnTo>
                <a:lnTo>
                  <a:pt x="592" y="335"/>
                </a:lnTo>
                <a:lnTo>
                  <a:pt x="616" y="387"/>
                </a:lnTo>
                <a:lnTo>
                  <a:pt x="605" y="403"/>
                </a:lnTo>
                <a:lnTo>
                  <a:pt x="599" y="419"/>
                </a:lnTo>
                <a:lnTo>
                  <a:pt x="592" y="437"/>
                </a:lnTo>
                <a:lnTo>
                  <a:pt x="588" y="456"/>
                </a:lnTo>
                <a:lnTo>
                  <a:pt x="577" y="454"/>
                </a:lnTo>
                <a:lnTo>
                  <a:pt x="566" y="451"/>
                </a:lnTo>
                <a:lnTo>
                  <a:pt x="559" y="447"/>
                </a:lnTo>
                <a:lnTo>
                  <a:pt x="552" y="443"/>
                </a:lnTo>
                <a:lnTo>
                  <a:pt x="546" y="438"/>
                </a:lnTo>
                <a:lnTo>
                  <a:pt x="539" y="432"/>
                </a:lnTo>
                <a:lnTo>
                  <a:pt x="533" y="424"/>
                </a:lnTo>
                <a:lnTo>
                  <a:pt x="525" y="413"/>
                </a:lnTo>
                <a:lnTo>
                  <a:pt x="490" y="413"/>
                </a:lnTo>
                <a:lnTo>
                  <a:pt x="457" y="415"/>
                </a:lnTo>
                <a:lnTo>
                  <a:pt x="427" y="419"/>
                </a:lnTo>
                <a:lnTo>
                  <a:pt x="397" y="423"/>
                </a:lnTo>
                <a:lnTo>
                  <a:pt x="370" y="429"/>
                </a:lnTo>
                <a:lnTo>
                  <a:pt x="341" y="439"/>
                </a:lnTo>
                <a:lnTo>
                  <a:pt x="311" y="451"/>
                </a:lnTo>
                <a:lnTo>
                  <a:pt x="280" y="468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91" name="Freeform 56"/>
          <p:cNvSpPr>
            <a:spLocks/>
          </p:cNvSpPr>
          <p:nvPr/>
        </p:nvSpPr>
        <p:spPr bwMode="auto">
          <a:xfrm>
            <a:off x="2551113" y="2859088"/>
            <a:ext cx="185737" cy="328612"/>
          </a:xfrm>
          <a:custGeom>
            <a:avLst/>
            <a:gdLst>
              <a:gd name="T0" fmla="*/ 2147483647 w 469"/>
              <a:gd name="T1" fmla="*/ 2147483647 h 827"/>
              <a:gd name="T2" fmla="*/ 2147483647 w 469"/>
              <a:gd name="T3" fmla="*/ 2147483647 h 827"/>
              <a:gd name="T4" fmla="*/ 2147483647 w 469"/>
              <a:gd name="T5" fmla="*/ 2147483647 h 827"/>
              <a:gd name="T6" fmla="*/ 2147483647 w 469"/>
              <a:gd name="T7" fmla="*/ 2147483647 h 827"/>
              <a:gd name="T8" fmla="*/ 2147483647 w 469"/>
              <a:gd name="T9" fmla="*/ 2147483647 h 827"/>
              <a:gd name="T10" fmla="*/ 2147483647 w 469"/>
              <a:gd name="T11" fmla="*/ 2147483647 h 827"/>
              <a:gd name="T12" fmla="*/ 2147483647 w 469"/>
              <a:gd name="T13" fmla="*/ 2147483647 h 827"/>
              <a:gd name="T14" fmla="*/ 2147483647 w 469"/>
              <a:gd name="T15" fmla="*/ 2147483647 h 827"/>
              <a:gd name="T16" fmla="*/ 2147483647 w 469"/>
              <a:gd name="T17" fmla="*/ 2147483647 h 827"/>
              <a:gd name="T18" fmla="*/ 2147483647 w 469"/>
              <a:gd name="T19" fmla="*/ 2147483647 h 827"/>
              <a:gd name="T20" fmla="*/ 0 w 469"/>
              <a:gd name="T21" fmla="*/ 2147483647 h 827"/>
              <a:gd name="T22" fmla="*/ 2147483647 w 469"/>
              <a:gd name="T23" fmla="*/ 2147483647 h 827"/>
              <a:gd name="T24" fmla="*/ 2147483647 w 469"/>
              <a:gd name="T25" fmla="*/ 2147483647 h 827"/>
              <a:gd name="T26" fmla="*/ 2147483647 w 469"/>
              <a:gd name="T27" fmla="*/ 2147483647 h 827"/>
              <a:gd name="T28" fmla="*/ 2147483647 w 469"/>
              <a:gd name="T29" fmla="*/ 2147483647 h 827"/>
              <a:gd name="T30" fmla="*/ 2147483647 w 469"/>
              <a:gd name="T31" fmla="*/ 2147483647 h 827"/>
              <a:gd name="T32" fmla="*/ 2147483647 w 469"/>
              <a:gd name="T33" fmla="*/ 2147483647 h 827"/>
              <a:gd name="T34" fmla="*/ 2147483647 w 469"/>
              <a:gd name="T35" fmla="*/ 2147483647 h 827"/>
              <a:gd name="T36" fmla="*/ 2147483647 w 469"/>
              <a:gd name="T37" fmla="*/ 2147483647 h 827"/>
              <a:gd name="T38" fmla="*/ 2147483647 w 469"/>
              <a:gd name="T39" fmla="*/ 2147483647 h 827"/>
              <a:gd name="T40" fmla="*/ 2147483647 w 469"/>
              <a:gd name="T41" fmla="*/ 2147483647 h 827"/>
              <a:gd name="T42" fmla="*/ 2147483647 w 469"/>
              <a:gd name="T43" fmla="*/ 2147483647 h 827"/>
              <a:gd name="T44" fmla="*/ 2147483647 w 469"/>
              <a:gd name="T45" fmla="*/ 2147483647 h 827"/>
              <a:gd name="T46" fmla="*/ 2147483647 w 469"/>
              <a:gd name="T47" fmla="*/ 2147483647 h 827"/>
              <a:gd name="T48" fmla="*/ 2147483647 w 469"/>
              <a:gd name="T49" fmla="*/ 2147483647 h 827"/>
              <a:gd name="T50" fmla="*/ 2147483647 w 469"/>
              <a:gd name="T51" fmla="*/ 2147483647 h 827"/>
              <a:gd name="T52" fmla="*/ 2147483647 w 469"/>
              <a:gd name="T53" fmla="*/ 2147483647 h 827"/>
              <a:gd name="T54" fmla="*/ 2147483647 w 469"/>
              <a:gd name="T55" fmla="*/ 2147483647 h 827"/>
              <a:gd name="T56" fmla="*/ 2147483647 w 469"/>
              <a:gd name="T57" fmla="*/ 0 h 827"/>
              <a:gd name="T58" fmla="*/ 2147483647 w 469"/>
              <a:gd name="T59" fmla="*/ 2147483647 h 827"/>
              <a:gd name="T60" fmla="*/ 2147483647 w 469"/>
              <a:gd name="T61" fmla="*/ 2147483647 h 827"/>
              <a:gd name="T62" fmla="*/ 2147483647 w 469"/>
              <a:gd name="T63" fmla="*/ 2147483647 h 827"/>
              <a:gd name="T64" fmla="*/ 2147483647 w 469"/>
              <a:gd name="T65" fmla="*/ 2147483647 h 827"/>
              <a:gd name="T66" fmla="*/ 2147483647 w 469"/>
              <a:gd name="T67" fmla="*/ 2147483647 h 827"/>
              <a:gd name="T68" fmla="*/ 2147483647 w 469"/>
              <a:gd name="T69" fmla="*/ 2147483647 h 827"/>
              <a:gd name="T70" fmla="*/ 2147483647 w 469"/>
              <a:gd name="T71" fmla="*/ 2147483647 h 827"/>
              <a:gd name="T72" fmla="*/ 2147483647 w 469"/>
              <a:gd name="T73" fmla="*/ 2147483647 h 827"/>
              <a:gd name="T74" fmla="*/ 2147483647 w 469"/>
              <a:gd name="T75" fmla="*/ 2147483647 h 827"/>
              <a:gd name="T76" fmla="*/ 2147483647 w 469"/>
              <a:gd name="T77" fmla="*/ 2147483647 h 827"/>
              <a:gd name="T78" fmla="*/ 2147483647 w 469"/>
              <a:gd name="T79" fmla="*/ 2147483647 h 827"/>
              <a:gd name="T80" fmla="*/ 2147483647 w 469"/>
              <a:gd name="T81" fmla="*/ 2147483647 h 827"/>
              <a:gd name="T82" fmla="*/ 2147483647 w 469"/>
              <a:gd name="T83" fmla="*/ 2147483647 h 827"/>
              <a:gd name="T84" fmla="*/ 2147483647 w 469"/>
              <a:gd name="T85" fmla="*/ 2147483647 h 827"/>
              <a:gd name="T86" fmla="*/ 2147483647 w 469"/>
              <a:gd name="T87" fmla="*/ 2147483647 h 827"/>
              <a:gd name="T88" fmla="*/ 2147483647 w 469"/>
              <a:gd name="T89" fmla="*/ 2147483647 h 827"/>
              <a:gd name="T90" fmla="*/ 2147483647 w 469"/>
              <a:gd name="T91" fmla="*/ 2147483647 h 827"/>
              <a:gd name="T92" fmla="*/ 2147483647 w 469"/>
              <a:gd name="T93" fmla="*/ 2147483647 h 827"/>
              <a:gd name="T94" fmla="*/ 2147483647 w 469"/>
              <a:gd name="T95" fmla="*/ 2147483647 h 827"/>
              <a:gd name="T96" fmla="*/ 2147483647 w 469"/>
              <a:gd name="T97" fmla="*/ 2147483647 h 827"/>
              <a:gd name="T98" fmla="*/ 2147483647 w 469"/>
              <a:gd name="T99" fmla="*/ 2147483647 h 827"/>
              <a:gd name="T100" fmla="*/ 2147483647 w 469"/>
              <a:gd name="T101" fmla="*/ 2147483647 h 827"/>
              <a:gd name="T102" fmla="*/ 2147483647 w 469"/>
              <a:gd name="T103" fmla="*/ 2147483647 h 827"/>
              <a:gd name="T104" fmla="*/ 2147483647 w 469"/>
              <a:gd name="T105" fmla="*/ 2147483647 h 827"/>
              <a:gd name="T106" fmla="*/ 2147483647 w 469"/>
              <a:gd name="T107" fmla="*/ 2147483647 h 827"/>
              <a:gd name="T108" fmla="*/ 2147483647 w 469"/>
              <a:gd name="T109" fmla="*/ 2147483647 h 827"/>
              <a:gd name="T110" fmla="*/ 2147483647 w 469"/>
              <a:gd name="T111" fmla="*/ 2147483647 h 827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69"/>
              <a:gd name="T169" fmla="*/ 0 h 827"/>
              <a:gd name="T170" fmla="*/ 469 w 469"/>
              <a:gd name="T171" fmla="*/ 827 h 827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69" h="827">
                <a:moveTo>
                  <a:pt x="301" y="827"/>
                </a:moveTo>
                <a:lnTo>
                  <a:pt x="294" y="823"/>
                </a:lnTo>
                <a:lnTo>
                  <a:pt x="289" y="819"/>
                </a:lnTo>
                <a:lnTo>
                  <a:pt x="283" y="815"/>
                </a:lnTo>
                <a:lnTo>
                  <a:pt x="272" y="811"/>
                </a:lnTo>
                <a:lnTo>
                  <a:pt x="240" y="798"/>
                </a:lnTo>
                <a:lnTo>
                  <a:pt x="180" y="774"/>
                </a:lnTo>
                <a:lnTo>
                  <a:pt x="180" y="769"/>
                </a:lnTo>
                <a:lnTo>
                  <a:pt x="180" y="763"/>
                </a:lnTo>
                <a:lnTo>
                  <a:pt x="164" y="756"/>
                </a:lnTo>
                <a:lnTo>
                  <a:pt x="150" y="750"/>
                </a:lnTo>
                <a:lnTo>
                  <a:pt x="136" y="745"/>
                </a:lnTo>
                <a:lnTo>
                  <a:pt x="124" y="742"/>
                </a:lnTo>
                <a:lnTo>
                  <a:pt x="117" y="743"/>
                </a:lnTo>
                <a:lnTo>
                  <a:pt x="112" y="743"/>
                </a:lnTo>
                <a:lnTo>
                  <a:pt x="107" y="746"/>
                </a:lnTo>
                <a:lnTo>
                  <a:pt x="103" y="748"/>
                </a:lnTo>
                <a:lnTo>
                  <a:pt x="98" y="754"/>
                </a:lnTo>
                <a:lnTo>
                  <a:pt x="95" y="759"/>
                </a:lnTo>
                <a:lnTo>
                  <a:pt x="91" y="767"/>
                </a:lnTo>
                <a:lnTo>
                  <a:pt x="89" y="774"/>
                </a:lnTo>
                <a:lnTo>
                  <a:pt x="82" y="773"/>
                </a:lnTo>
                <a:lnTo>
                  <a:pt x="75" y="769"/>
                </a:lnTo>
                <a:lnTo>
                  <a:pt x="68" y="765"/>
                </a:lnTo>
                <a:lnTo>
                  <a:pt x="62" y="761"/>
                </a:lnTo>
                <a:lnTo>
                  <a:pt x="50" y="750"/>
                </a:lnTo>
                <a:lnTo>
                  <a:pt x="39" y="738"/>
                </a:lnTo>
                <a:lnTo>
                  <a:pt x="20" y="711"/>
                </a:lnTo>
                <a:lnTo>
                  <a:pt x="0" y="686"/>
                </a:lnTo>
                <a:lnTo>
                  <a:pt x="4" y="673"/>
                </a:lnTo>
                <a:lnTo>
                  <a:pt x="6" y="660"/>
                </a:lnTo>
                <a:lnTo>
                  <a:pt x="4" y="647"/>
                </a:lnTo>
                <a:lnTo>
                  <a:pt x="0" y="633"/>
                </a:lnTo>
                <a:lnTo>
                  <a:pt x="12" y="625"/>
                </a:lnTo>
                <a:lnTo>
                  <a:pt x="25" y="618"/>
                </a:lnTo>
                <a:lnTo>
                  <a:pt x="38" y="611"/>
                </a:lnTo>
                <a:lnTo>
                  <a:pt x="51" y="604"/>
                </a:lnTo>
                <a:lnTo>
                  <a:pt x="51" y="590"/>
                </a:lnTo>
                <a:lnTo>
                  <a:pt x="52" y="577"/>
                </a:lnTo>
                <a:lnTo>
                  <a:pt x="34" y="559"/>
                </a:lnTo>
                <a:lnTo>
                  <a:pt x="21" y="542"/>
                </a:lnTo>
                <a:lnTo>
                  <a:pt x="16" y="533"/>
                </a:lnTo>
                <a:lnTo>
                  <a:pt x="13" y="523"/>
                </a:lnTo>
                <a:lnTo>
                  <a:pt x="11" y="512"/>
                </a:lnTo>
                <a:lnTo>
                  <a:pt x="11" y="497"/>
                </a:lnTo>
                <a:lnTo>
                  <a:pt x="62" y="460"/>
                </a:lnTo>
                <a:lnTo>
                  <a:pt x="111" y="421"/>
                </a:lnTo>
                <a:lnTo>
                  <a:pt x="121" y="409"/>
                </a:lnTo>
                <a:lnTo>
                  <a:pt x="132" y="397"/>
                </a:lnTo>
                <a:lnTo>
                  <a:pt x="142" y="386"/>
                </a:lnTo>
                <a:lnTo>
                  <a:pt x="150" y="373"/>
                </a:lnTo>
                <a:lnTo>
                  <a:pt x="158" y="359"/>
                </a:lnTo>
                <a:lnTo>
                  <a:pt x="164" y="345"/>
                </a:lnTo>
                <a:lnTo>
                  <a:pt x="168" y="330"/>
                </a:lnTo>
                <a:lnTo>
                  <a:pt x="172" y="314"/>
                </a:lnTo>
                <a:lnTo>
                  <a:pt x="153" y="307"/>
                </a:lnTo>
                <a:lnTo>
                  <a:pt x="127" y="300"/>
                </a:lnTo>
                <a:lnTo>
                  <a:pt x="98" y="288"/>
                </a:lnTo>
                <a:lnTo>
                  <a:pt x="68" y="275"/>
                </a:lnTo>
                <a:lnTo>
                  <a:pt x="54" y="267"/>
                </a:lnTo>
                <a:lnTo>
                  <a:pt x="42" y="258"/>
                </a:lnTo>
                <a:lnTo>
                  <a:pt x="30" y="249"/>
                </a:lnTo>
                <a:lnTo>
                  <a:pt x="21" y="240"/>
                </a:lnTo>
                <a:lnTo>
                  <a:pt x="17" y="235"/>
                </a:lnTo>
                <a:lnTo>
                  <a:pt x="13" y="229"/>
                </a:lnTo>
                <a:lnTo>
                  <a:pt x="11" y="224"/>
                </a:lnTo>
                <a:lnTo>
                  <a:pt x="9" y="218"/>
                </a:lnTo>
                <a:lnTo>
                  <a:pt x="8" y="212"/>
                </a:lnTo>
                <a:lnTo>
                  <a:pt x="8" y="206"/>
                </a:lnTo>
                <a:lnTo>
                  <a:pt x="8" y="201"/>
                </a:lnTo>
                <a:lnTo>
                  <a:pt x="11" y="194"/>
                </a:lnTo>
                <a:lnTo>
                  <a:pt x="20" y="181"/>
                </a:lnTo>
                <a:lnTo>
                  <a:pt x="26" y="170"/>
                </a:lnTo>
                <a:lnTo>
                  <a:pt x="32" y="158"/>
                </a:lnTo>
                <a:lnTo>
                  <a:pt x="34" y="147"/>
                </a:lnTo>
                <a:lnTo>
                  <a:pt x="36" y="136"/>
                </a:lnTo>
                <a:lnTo>
                  <a:pt x="36" y="125"/>
                </a:lnTo>
                <a:lnTo>
                  <a:pt x="36" y="115"/>
                </a:lnTo>
                <a:lnTo>
                  <a:pt x="34" y="105"/>
                </a:lnTo>
                <a:lnTo>
                  <a:pt x="32" y="82"/>
                </a:lnTo>
                <a:lnTo>
                  <a:pt x="32" y="59"/>
                </a:lnTo>
                <a:lnTo>
                  <a:pt x="33" y="47"/>
                </a:lnTo>
                <a:lnTo>
                  <a:pt x="37" y="33"/>
                </a:lnTo>
                <a:lnTo>
                  <a:pt x="42" y="19"/>
                </a:lnTo>
                <a:lnTo>
                  <a:pt x="49" y="4"/>
                </a:lnTo>
                <a:lnTo>
                  <a:pt x="62" y="0"/>
                </a:lnTo>
                <a:lnTo>
                  <a:pt x="76" y="0"/>
                </a:lnTo>
                <a:lnTo>
                  <a:pt x="85" y="12"/>
                </a:lnTo>
                <a:lnTo>
                  <a:pt x="93" y="26"/>
                </a:lnTo>
                <a:lnTo>
                  <a:pt x="117" y="29"/>
                </a:lnTo>
                <a:lnTo>
                  <a:pt x="140" y="32"/>
                </a:lnTo>
                <a:lnTo>
                  <a:pt x="160" y="34"/>
                </a:lnTo>
                <a:lnTo>
                  <a:pt x="180" y="39"/>
                </a:lnTo>
                <a:lnTo>
                  <a:pt x="198" y="45"/>
                </a:lnTo>
                <a:lnTo>
                  <a:pt x="218" y="52"/>
                </a:lnTo>
                <a:lnTo>
                  <a:pt x="236" y="63"/>
                </a:lnTo>
                <a:lnTo>
                  <a:pt x="257" y="75"/>
                </a:lnTo>
                <a:lnTo>
                  <a:pt x="257" y="92"/>
                </a:lnTo>
                <a:lnTo>
                  <a:pt x="258" y="106"/>
                </a:lnTo>
                <a:lnTo>
                  <a:pt x="258" y="118"/>
                </a:lnTo>
                <a:lnTo>
                  <a:pt x="261" y="129"/>
                </a:lnTo>
                <a:lnTo>
                  <a:pt x="263" y="137"/>
                </a:lnTo>
                <a:lnTo>
                  <a:pt x="266" y="145"/>
                </a:lnTo>
                <a:lnTo>
                  <a:pt x="271" y="151"/>
                </a:lnTo>
                <a:lnTo>
                  <a:pt x="276" y="155"/>
                </a:lnTo>
                <a:lnTo>
                  <a:pt x="283" y="160"/>
                </a:lnTo>
                <a:lnTo>
                  <a:pt x="289" y="163"/>
                </a:lnTo>
                <a:lnTo>
                  <a:pt x="298" y="166"/>
                </a:lnTo>
                <a:lnTo>
                  <a:pt x="309" y="168"/>
                </a:lnTo>
                <a:lnTo>
                  <a:pt x="333" y="171"/>
                </a:lnTo>
                <a:lnTo>
                  <a:pt x="365" y="175"/>
                </a:lnTo>
                <a:lnTo>
                  <a:pt x="376" y="190"/>
                </a:lnTo>
                <a:lnTo>
                  <a:pt x="388" y="207"/>
                </a:lnTo>
                <a:lnTo>
                  <a:pt x="401" y="223"/>
                </a:lnTo>
                <a:lnTo>
                  <a:pt x="414" y="240"/>
                </a:lnTo>
                <a:lnTo>
                  <a:pt x="423" y="244"/>
                </a:lnTo>
                <a:lnTo>
                  <a:pt x="432" y="248"/>
                </a:lnTo>
                <a:lnTo>
                  <a:pt x="441" y="254"/>
                </a:lnTo>
                <a:lnTo>
                  <a:pt x="449" y="261"/>
                </a:lnTo>
                <a:lnTo>
                  <a:pt x="457" y="267"/>
                </a:lnTo>
                <a:lnTo>
                  <a:pt x="464" y="276"/>
                </a:lnTo>
                <a:lnTo>
                  <a:pt x="466" y="285"/>
                </a:lnTo>
                <a:lnTo>
                  <a:pt x="469" y="296"/>
                </a:lnTo>
                <a:lnTo>
                  <a:pt x="456" y="302"/>
                </a:lnTo>
                <a:lnTo>
                  <a:pt x="443" y="307"/>
                </a:lnTo>
                <a:lnTo>
                  <a:pt x="431" y="314"/>
                </a:lnTo>
                <a:lnTo>
                  <a:pt x="421" y="319"/>
                </a:lnTo>
                <a:lnTo>
                  <a:pt x="410" y="343"/>
                </a:lnTo>
                <a:lnTo>
                  <a:pt x="401" y="366"/>
                </a:lnTo>
                <a:lnTo>
                  <a:pt x="395" y="391"/>
                </a:lnTo>
                <a:lnTo>
                  <a:pt x="391" y="414"/>
                </a:lnTo>
                <a:lnTo>
                  <a:pt x="388" y="439"/>
                </a:lnTo>
                <a:lnTo>
                  <a:pt x="388" y="462"/>
                </a:lnTo>
                <a:lnTo>
                  <a:pt x="389" y="475"/>
                </a:lnTo>
                <a:lnTo>
                  <a:pt x="391" y="488"/>
                </a:lnTo>
                <a:lnTo>
                  <a:pt x="393" y="500"/>
                </a:lnTo>
                <a:lnTo>
                  <a:pt x="397" y="513"/>
                </a:lnTo>
                <a:lnTo>
                  <a:pt x="384" y="518"/>
                </a:lnTo>
                <a:lnTo>
                  <a:pt x="372" y="523"/>
                </a:lnTo>
                <a:lnTo>
                  <a:pt x="363" y="530"/>
                </a:lnTo>
                <a:lnTo>
                  <a:pt x="356" y="536"/>
                </a:lnTo>
                <a:lnTo>
                  <a:pt x="349" y="544"/>
                </a:lnTo>
                <a:lnTo>
                  <a:pt x="344" y="552"/>
                </a:lnTo>
                <a:lnTo>
                  <a:pt x="339" y="560"/>
                </a:lnTo>
                <a:lnTo>
                  <a:pt x="335" y="569"/>
                </a:lnTo>
                <a:lnTo>
                  <a:pt x="327" y="587"/>
                </a:lnTo>
                <a:lnTo>
                  <a:pt x="320" y="607"/>
                </a:lnTo>
                <a:lnTo>
                  <a:pt x="315" y="616"/>
                </a:lnTo>
                <a:lnTo>
                  <a:pt x="310" y="626"/>
                </a:lnTo>
                <a:lnTo>
                  <a:pt x="305" y="638"/>
                </a:lnTo>
                <a:lnTo>
                  <a:pt x="297" y="648"/>
                </a:lnTo>
                <a:lnTo>
                  <a:pt x="297" y="660"/>
                </a:lnTo>
                <a:lnTo>
                  <a:pt x="297" y="672"/>
                </a:lnTo>
                <a:lnTo>
                  <a:pt x="298" y="682"/>
                </a:lnTo>
                <a:lnTo>
                  <a:pt x="298" y="694"/>
                </a:lnTo>
                <a:lnTo>
                  <a:pt x="310" y="703"/>
                </a:lnTo>
                <a:lnTo>
                  <a:pt x="322" y="712"/>
                </a:lnTo>
                <a:lnTo>
                  <a:pt x="335" y="720"/>
                </a:lnTo>
                <a:lnTo>
                  <a:pt x="346" y="729"/>
                </a:lnTo>
                <a:lnTo>
                  <a:pt x="346" y="743"/>
                </a:lnTo>
                <a:lnTo>
                  <a:pt x="343" y="756"/>
                </a:lnTo>
                <a:lnTo>
                  <a:pt x="339" y="767"/>
                </a:lnTo>
                <a:lnTo>
                  <a:pt x="335" y="778"/>
                </a:lnTo>
                <a:lnTo>
                  <a:pt x="328" y="789"/>
                </a:lnTo>
                <a:lnTo>
                  <a:pt x="323" y="799"/>
                </a:lnTo>
                <a:lnTo>
                  <a:pt x="318" y="812"/>
                </a:lnTo>
                <a:lnTo>
                  <a:pt x="314" y="827"/>
                </a:lnTo>
                <a:lnTo>
                  <a:pt x="307" y="827"/>
                </a:lnTo>
                <a:lnTo>
                  <a:pt x="301" y="827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92" name="Freeform 57"/>
          <p:cNvSpPr>
            <a:spLocks/>
          </p:cNvSpPr>
          <p:nvPr/>
        </p:nvSpPr>
        <p:spPr bwMode="auto">
          <a:xfrm>
            <a:off x="1335088" y="2833688"/>
            <a:ext cx="182562" cy="198437"/>
          </a:xfrm>
          <a:custGeom>
            <a:avLst/>
            <a:gdLst>
              <a:gd name="T0" fmla="*/ 2147483647 w 462"/>
              <a:gd name="T1" fmla="*/ 2147483647 h 498"/>
              <a:gd name="T2" fmla="*/ 2147483647 w 462"/>
              <a:gd name="T3" fmla="*/ 2147483647 h 498"/>
              <a:gd name="T4" fmla="*/ 2147483647 w 462"/>
              <a:gd name="T5" fmla="*/ 2147483647 h 498"/>
              <a:gd name="T6" fmla="*/ 2147483647 w 462"/>
              <a:gd name="T7" fmla="*/ 2147483647 h 498"/>
              <a:gd name="T8" fmla="*/ 2147483647 w 462"/>
              <a:gd name="T9" fmla="*/ 2147483647 h 498"/>
              <a:gd name="T10" fmla="*/ 2147483647 w 462"/>
              <a:gd name="T11" fmla="*/ 2147483647 h 498"/>
              <a:gd name="T12" fmla="*/ 2147483647 w 462"/>
              <a:gd name="T13" fmla="*/ 2147483647 h 498"/>
              <a:gd name="T14" fmla="*/ 2147483647 w 462"/>
              <a:gd name="T15" fmla="*/ 2147483647 h 498"/>
              <a:gd name="T16" fmla="*/ 2147483647 w 462"/>
              <a:gd name="T17" fmla="*/ 2147483647 h 498"/>
              <a:gd name="T18" fmla="*/ 2147483647 w 462"/>
              <a:gd name="T19" fmla="*/ 2147483647 h 498"/>
              <a:gd name="T20" fmla="*/ 2147483647 w 462"/>
              <a:gd name="T21" fmla="*/ 2147483647 h 498"/>
              <a:gd name="T22" fmla="*/ 2147483647 w 462"/>
              <a:gd name="T23" fmla="*/ 2147483647 h 498"/>
              <a:gd name="T24" fmla="*/ 2147483647 w 462"/>
              <a:gd name="T25" fmla="*/ 2147483647 h 498"/>
              <a:gd name="T26" fmla="*/ 0 w 462"/>
              <a:gd name="T27" fmla="*/ 2147483647 h 498"/>
              <a:gd name="T28" fmla="*/ 2147483647 w 462"/>
              <a:gd name="T29" fmla="*/ 2147483647 h 498"/>
              <a:gd name="T30" fmla="*/ 2147483647 w 462"/>
              <a:gd name="T31" fmla="*/ 2147483647 h 498"/>
              <a:gd name="T32" fmla="*/ 2147483647 w 462"/>
              <a:gd name="T33" fmla="*/ 2147483647 h 498"/>
              <a:gd name="T34" fmla="*/ 2147483647 w 462"/>
              <a:gd name="T35" fmla="*/ 2147483647 h 498"/>
              <a:gd name="T36" fmla="*/ 2147483647 w 462"/>
              <a:gd name="T37" fmla="*/ 2147483647 h 498"/>
              <a:gd name="T38" fmla="*/ 2147483647 w 462"/>
              <a:gd name="T39" fmla="*/ 2147483647 h 498"/>
              <a:gd name="T40" fmla="*/ 2147483647 w 462"/>
              <a:gd name="T41" fmla="*/ 2147483647 h 498"/>
              <a:gd name="T42" fmla="*/ 2147483647 w 462"/>
              <a:gd name="T43" fmla="*/ 2147483647 h 498"/>
              <a:gd name="T44" fmla="*/ 2147483647 w 462"/>
              <a:gd name="T45" fmla="*/ 2147483647 h 498"/>
              <a:gd name="T46" fmla="*/ 2147483647 w 462"/>
              <a:gd name="T47" fmla="*/ 2147483647 h 498"/>
              <a:gd name="T48" fmla="*/ 2147483647 w 462"/>
              <a:gd name="T49" fmla="*/ 2147483647 h 498"/>
              <a:gd name="T50" fmla="*/ 2147483647 w 462"/>
              <a:gd name="T51" fmla="*/ 2147483647 h 498"/>
              <a:gd name="T52" fmla="*/ 2147483647 w 462"/>
              <a:gd name="T53" fmla="*/ 2147483647 h 498"/>
              <a:gd name="T54" fmla="*/ 2147483647 w 462"/>
              <a:gd name="T55" fmla="*/ 2147483647 h 498"/>
              <a:gd name="T56" fmla="*/ 2147483647 w 462"/>
              <a:gd name="T57" fmla="*/ 2147483647 h 498"/>
              <a:gd name="T58" fmla="*/ 2147483647 w 462"/>
              <a:gd name="T59" fmla="*/ 2147483647 h 498"/>
              <a:gd name="T60" fmla="*/ 2147483647 w 462"/>
              <a:gd name="T61" fmla="*/ 2147483647 h 498"/>
              <a:gd name="T62" fmla="*/ 2147483647 w 462"/>
              <a:gd name="T63" fmla="*/ 2147483647 h 498"/>
              <a:gd name="T64" fmla="*/ 2147483647 w 462"/>
              <a:gd name="T65" fmla="*/ 2147483647 h 498"/>
              <a:gd name="T66" fmla="*/ 2147483647 w 462"/>
              <a:gd name="T67" fmla="*/ 2147483647 h 498"/>
              <a:gd name="T68" fmla="*/ 2147483647 w 462"/>
              <a:gd name="T69" fmla="*/ 2147483647 h 498"/>
              <a:gd name="T70" fmla="*/ 2147483647 w 462"/>
              <a:gd name="T71" fmla="*/ 2147483647 h 498"/>
              <a:gd name="T72" fmla="*/ 2147483647 w 462"/>
              <a:gd name="T73" fmla="*/ 2147483647 h 498"/>
              <a:gd name="T74" fmla="*/ 2147483647 w 462"/>
              <a:gd name="T75" fmla="*/ 2147483647 h 498"/>
              <a:gd name="T76" fmla="*/ 2147483647 w 462"/>
              <a:gd name="T77" fmla="*/ 2147483647 h 498"/>
              <a:gd name="T78" fmla="*/ 2147483647 w 462"/>
              <a:gd name="T79" fmla="*/ 2147483647 h 498"/>
              <a:gd name="T80" fmla="*/ 2147483647 w 462"/>
              <a:gd name="T81" fmla="*/ 2147483647 h 498"/>
              <a:gd name="T82" fmla="*/ 2147483647 w 462"/>
              <a:gd name="T83" fmla="*/ 2147483647 h 498"/>
              <a:gd name="T84" fmla="*/ 2147483647 w 462"/>
              <a:gd name="T85" fmla="*/ 2147483647 h 498"/>
              <a:gd name="T86" fmla="*/ 2147483647 w 462"/>
              <a:gd name="T87" fmla="*/ 2147483647 h 498"/>
              <a:gd name="T88" fmla="*/ 2147483647 w 462"/>
              <a:gd name="T89" fmla="*/ 2147483647 h 498"/>
              <a:gd name="T90" fmla="*/ 2147483647 w 462"/>
              <a:gd name="T91" fmla="*/ 2147483647 h 498"/>
              <a:gd name="T92" fmla="*/ 2147483647 w 462"/>
              <a:gd name="T93" fmla="*/ 2147483647 h 498"/>
              <a:gd name="T94" fmla="*/ 2147483647 w 462"/>
              <a:gd name="T95" fmla="*/ 2147483647 h 498"/>
              <a:gd name="T96" fmla="*/ 2147483647 w 462"/>
              <a:gd name="T97" fmla="*/ 2147483647 h 498"/>
              <a:gd name="T98" fmla="*/ 2147483647 w 462"/>
              <a:gd name="T99" fmla="*/ 2147483647 h 498"/>
              <a:gd name="T100" fmla="*/ 2147483647 w 462"/>
              <a:gd name="T101" fmla="*/ 2147483647 h 498"/>
              <a:gd name="T102" fmla="*/ 2147483647 w 462"/>
              <a:gd name="T103" fmla="*/ 2147483647 h 498"/>
              <a:gd name="T104" fmla="*/ 2147483647 w 462"/>
              <a:gd name="T105" fmla="*/ 2147483647 h 498"/>
              <a:gd name="T106" fmla="*/ 2147483647 w 462"/>
              <a:gd name="T107" fmla="*/ 2147483647 h 498"/>
              <a:gd name="T108" fmla="*/ 2147483647 w 462"/>
              <a:gd name="T109" fmla="*/ 2147483647 h 49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462"/>
              <a:gd name="T166" fmla="*/ 0 h 498"/>
              <a:gd name="T167" fmla="*/ 462 w 462"/>
              <a:gd name="T168" fmla="*/ 498 h 498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462" h="498">
                <a:moveTo>
                  <a:pt x="159" y="498"/>
                </a:moveTo>
                <a:lnTo>
                  <a:pt x="149" y="483"/>
                </a:lnTo>
                <a:lnTo>
                  <a:pt x="139" y="471"/>
                </a:lnTo>
                <a:lnTo>
                  <a:pt x="128" y="462"/>
                </a:lnTo>
                <a:lnTo>
                  <a:pt x="111" y="453"/>
                </a:lnTo>
                <a:lnTo>
                  <a:pt x="103" y="414"/>
                </a:lnTo>
                <a:lnTo>
                  <a:pt x="99" y="385"/>
                </a:lnTo>
                <a:lnTo>
                  <a:pt x="95" y="351"/>
                </a:lnTo>
                <a:lnTo>
                  <a:pt x="90" y="297"/>
                </a:lnTo>
                <a:lnTo>
                  <a:pt x="78" y="291"/>
                </a:lnTo>
                <a:lnTo>
                  <a:pt x="68" y="286"/>
                </a:lnTo>
                <a:lnTo>
                  <a:pt x="59" y="280"/>
                </a:lnTo>
                <a:lnTo>
                  <a:pt x="50" y="273"/>
                </a:lnTo>
                <a:lnTo>
                  <a:pt x="43" y="267"/>
                </a:lnTo>
                <a:lnTo>
                  <a:pt x="35" y="259"/>
                </a:lnTo>
                <a:lnTo>
                  <a:pt x="30" y="251"/>
                </a:lnTo>
                <a:lnTo>
                  <a:pt x="25" y="242"/>
                </a:lnTo>
                <a:lnTo>
                  <a:pt x="21" y="233"/>
                </a:lnTo>
                <a:lnTo>
                  <a:pt x="17" y="224"/>
                </a:lnTo>
                <a:lnTo>
                  <a:pt x="15" y="215"/>
                </a:lnTo>
                <a:lnTo>
                  <a:pt x="13" y="204"/>
                </a:lnTo>
                <a:lnTo>
                  <a:pt x="11" y="182"/>
                </a:lnTo>
                <a:lnTo>
                  <a:pt x="9" y="157"/>
                </a:lnTo>
                <a:lnTo>
                  <a:pt x="5" y="147"/>
                </a:lnTo>
                <a:lnTo>
                  <a:pt x="3" y="137"/>
                </a:lnTo>
                <a:lnTo>
                  <a:pt x="2" y="127"/>
                </a:lnTo>
                <a:lnTo>
                  <a:pt x="0" y="120"/>
                </a:lnTo>
                <a:lnTo>
                  <a:pt x="0" y="113"/>
                </a:lnTo>
                <a:lnTo>
                  <a:pt x="2" y="107"/>
                </a:lnTo>
                <a:lnTo>
                  <a:pt x="3" y="100"/>
                </a:lnTo>
                <a:lnTo>
                  <a:pt x="5" y="95"/>
                </a:lnTo>
                <a:lnTo>
                  <a:pt x="11" y="83"/>
                </a:lnTo>
                <a:lnTo>
                  <a:pt x="16" y="72"/>
                </a:lnTo>
                <a:lnTo>
                  <a:pt x="21" y="56"/>
                </a:lnTo>
                <a:lnTo>
                  <a:pt x="25" y="36"/>
                </a:lnTo>
                <a:lnTo>
                  <a:pt x="52" y="35"/>
                </a:lnTo>
                <a:lnTo>
                  <a:pt x="68" y="33"/>
                </a:lnTo>
                <a:lnTo>
                  <a:pt x="81" y="29"/>
                </a:lnTo>
                <a:lnTo>
                  <a:pt x="96" y="23"/>
                </a:lnTo>
                <a:lnTo>
                  <a:pt x="99" y="16"/>
                </a:lnTo>
                <a:lnTo>
                  <a:pt x="104" y="10"/>
                </a:lnTo>
                <a:lnTo>
                  <a:pt x="111" y="7"/>
                </a:lnTo>
                <a:lnTo>
                  <a:pt x="119" y="5"/>
                </a:lnTo>
                <a:lnTo>
                  <a:pt x="126" y="5"/>
                </a:lnTo>
                <a:lnTo>
                  <a:pt x="134" y="8"/>
                </a:lnTo>
                <a:lnTo>
                  <a:pt x="143" y="12"/>
                </a:lnTo>
                <a:lnTo>
                  <a:pt x="154" y="16"/>
                </a:lnTo>
                <a:lnTo>
                  <a:pt x="191" y="39"/>
                </a:lnTo>
                <a:lnTo>
                  <a:pt x="221" y="60"/>
                </a:lnTo>
                <a:lnTo>
                  <a:pt x="230" y="59"/>
                </a:lnTo>
                <a:lnTo>
                  <a:pt x="241" y="57"/>
                </a:lnTo>
                <a:lnTo>
                  <a:pt x="253" y="56"/>
                </a:lnTo>
                <a:lnTo>
                  <a:pt x="263" y="56"/>
                </a:lnTo>
                <a:lnTo>
                  <a:pt x="267" y="44"/>
                </a:lnTo>
                <a:lnTo>
                  <a:pt x="273" y="35"/>
                </a:lnTo>
                <a:lnTo>
                  <a:pt x="298" y="31"/>
                </a:lnTo>
                <a:lnTo>
                  <a:pt x="322" y="25"/>
                </a:lnTo>
                <a:lnTo>
                  <a:pt x="333" y="21"/>
                </a:lnTo>
                <a:lnTo>
                  <a:pt x="344" y="16"/>
                </a:lnTo>
                <a:lnTo>
                  <a:pt x="354" y="9"/>
                </a:lnTo>
                <a:lnTo>
                  <a:pt x="363" y="0"/>
                </a:lnTo>
                <a:lnTo>
                  <a:pt x="378" y="17"/>
                </a:lnTo>
                <a:lnTo>
                  <a:pt x="388" y="30"/>
                </a:lnTo>
                <a:lnTo>
                  <a:pt x="396" y="43"/>
                </a:lnTo>
                <a:lnTo>
                  <a:pt x="402" y="53"/>
                </a:lnTo>
                <a:lnTo>
                  <a:pt x="406" y="57"/>
                </a:lnTo>
                <a:lnTo>
                  <a:pt x="410" y="61"/>
                </a:lnTo>
                <a:lnTo>
                  <a:pt x="415" y="66"/>
                </a:lnTo>
                <a:lnTo>
                  <a:pt x="422" y="69"/>
                </a:lnTo>
                <a:lnTo>
                  <a:pt x="430" y="73"/>
                </a:lnTo>
                <a:lnTo>
                  <a:pt x="439" y="75"/>
                </a:lnTo>
                <a:lnTo>
                  <a:pt x="449" y="78"/>
                </a:lnTo>
                <a:lnTo>
                  <a:pt x="462" y="81"/>
                </a:lnTo>
                <a:lnTo>
                  <a:pt x="456" y="92"/>
                </a:lnTo>
                <a:lnTo>
                  <a:pt x="452" y="104"/>
                </a:lnTo>
                <a:lnTo>
                  <a:pt x="448" y="114"/>
                </a:lnTo>
                <a:lnTo>
                  <a:pt x="446" y="126"/>
                </a:lnTo>
                <a:lnTo>
                  <a:pt x="445" y="137"/>
                </a:lnTo>
                <a:lnTo>
                  <a:pt x="446" y="148"/>
                </a:lnTo>
                <a:lnTo>
                  <a:pt x="449" y="160"/>
                </a:lnTo>
                <a:lnTo>
                  <a:pt x="454" y="172"/>
                </a:lnTo>
                <a:lnTo>
                  <a:pt x="435" y="189"/>
                </a:lnTo>
                <a:lnTo>
                  <a:pt x="423" y="203"/>
                </a:lnTo>
                <a:lnTo>
                  <a:pt x="418" y="208"/>
                </a:lnTo>
                <a:lnTo>
                  <a:pt x="414" y="215"/>
                </a:lnTo>
                <a:lnTo>
                  <a:pt x="411" y="220"/>
                </a:lnTo>
                <a:lnTo>
                  <a:pt x="410" y="226"/>
                </a:lnTo>
                <a:lnTo>
                  <a:pt x="409" y="238"/>
                </a:lnTo>
                <a:lnTo>
                  <a:pt x="409" y="252"/>
                </a:lnTo>
                <a:lnTo>
                  <a:pt x="409" y="271"/>
                </a:lnTo>
                <a:lnTo>
                  <a:pt x="410" y="294"/>
                </a:lnTo>
                <a:lnTo>
                  <a:pt x="394" y="310"/>
                </a:lnTo>
                <a:lnTo>
                  <a:pt x="381" y="324"/>
                </a:lnTo>
                <a:lnTo>
                  <a:pt x="371" y="338"/>
                </a:lnTo>
                <a:lnTo>
                  <a:pt x="361" y="353"/>
                </a:lnTo>
                <a:lnTo>
                  <a:pt x="353" y="368"/>
                </a:lnTo>
                <a:lnTo>
                  <a:pt x="345" y="384"/>
                </a:lnTo>
                <a:lnTo>
                  <a:pt x="338" y="402"/>
                </a:lnTo>
                <a:lnTo>
                  <a:pt x="332" y="421"/>
                </a:lnTo>
                <a:lnTo>
                  <a:pt x="318" y="423"/>
                </a:lnTo>
                <a:lnTo>
                  <a:pt x="306" y="425"/>
                </a:lnTo>
                <a:lnTo>
                  <a:pt x="294" y="428"/>
                </a:lnTo>
                <a:lnTo>
                  <a:pt x="283" y="431"/>
                </a:lnTo>
                <a:lnTo>
                  <a:pt x="254" y="440"/>
                </a:lnTo>
                <a:lnTo>
                  <a:pt x="207" y="453"/>
                </a:lnTo>
                <a:lnTo>
                  <a:pt x="203" y="462"/>
                </a:lnTo>
                <a:lnTo>
                  <a:pt x="199" y="472"/>
                </a:lnTo>
                <a:lnTo>
                  <a:pt x="195" y="483"/>
                </a:lnTo>
                <a:lnTo>
                  <a:pt x="193" y="493"/>
                </a:lnTo>
                <a:lnTo>
                  <a:pt x="175" y="496"/>
                </a:lnTo>
                <a:lnTo>
                  <a:pt x="159" y="498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93" name="Freeform 58"/>
          <p:cNvSpPr>
            <a:spLocks/>
          </p:cNvSpPr>
          <p:nvPr/>
        </p:nvSpPr>
        <p:spPr bwMode="auto">
          <a:xfrm>
            <a:off x="1162050" y="2478088"/>
            <a:ext cx="309563" cy="249237"/>
          </a:xfrm>
          <a:custGeom>
            <a:avLst/>
            <a:gdLst>
              <a:gd name="T0" fmla="*/ 2147483647 w 783"/>
              <a:gd name="T1" fmla="*/ 2147483647 h 625"/>
              <a:gd name="T2" fmla="*/ 2147483647 w 783"/>
              <a:gd name="T3" fmla="*/ 2147483647 h 625"/>
              <a:gd name="T4" fmla="*/ 2147483647 w 783"/>
              <a:gd name="T5" fmla="*/ 2147483647 h 625"/>
              <a:gd name="T6" fmla="*/ 2147483647 w 783"/>
              <a:gd name="T7" fmla="*/ 2147483647 h 625"/>
              <a:gd name="T8" fmla="*/ 2147483647 w 783"/>
              <a:gd name="T9" fmla="*/ 2147483647 h 625"/>
              <a:gd name="T10" fmla="*/ 2147483647 w 783"/>
              <a:gd name="T11" fmla="*/ 2147483647 h 625"/>
              <a:gd name="T12" fmla="*/ 2147483647 w 783"/>
              <a:gd name="T13" fmla="*/ 2147483647 h 625"/>
              <a:gd name="T14" fmla="*/ 2147483647 w 783"/>
              <a:gd name="T15" fmla="*/ 2147483647 h 625"/>
              <a:gd name="T16" fmla="*/ 2147483647 w 783"/>
              <a:gd name="T17" fmla="*/ 2147483647 h 625"/>
              <a:gd name="T18" fmla="*/ 2147483647 w 783"/>
              <a:gd name="T19" fmla="*/ 2147483647 h 625"/>
              <a:gd name="T20" fmla="*/ 2147483647 w 783"/>
              <a:gd name="T21" fmla="*/ 2147483647 h 625"/>
              <a:gd name="T22" fmla="*/ 2147483647 w 783"/>
              <a:gd name="T23" fmla="*/ 2147483647 h 625"/>
              <a:gd name="T24" fmla="*/ 2147483647 w 783"/>
              <a:gd name="T25" fmla="*/ 2147483647 h 625"/>
              <a:gd name="T26" fmla="*/ 2147483647 w 783"/>
              <a:gd name="T27" fmla="*/ 2147483647 h 625"/>
              <a:gd name="T28" fmla="*/ 2147483647 w 783"/>
              <a:gd name="T29" fmla="*/ 2147483647 h 625"/>
              <a:gd name="T30" fmla="*/ 2147483647 w 783"/>
              <a:gd name="T31" fmla="*/ 2147483647 h 625"/>
              <a:gd name="T32" fmla="*/ 2147483647 w 783"/>
              <a:gd name="T33" fmla="*/ 2147483647 h 625"/>
              <a:gd name="T34" fmla="*/ 2147483647 w 783"/>
              <a:gd name="T35" fmla="*/ 2147483647 h 625"/>
              <a:gd name="T36" fmla="*/ 2147483647 w 783"/>
              <a:gd name="T37" fmla="*/ 2147483647 h 625"/>
              <a:gd name="T38" fmla="*/ 2147483647 w 783"/>
              <a:gd name="T39" fmla="*/ 2147483647 h 625"/>
              <a:gd name="T40" fmla="*/ 2147483647 w 783"/>
              <a:gd name="T41" fmla="*/ 2147483647 h 625"/>
              <a:gd name="T42" fmla="*/ 2147483647 w 783"/>
              <a:gd name="T43" fmla="*/ 2147483647 h 625"/>
              <a:gd name="T44" fmla="*/ 2147483647 w 783"/>
              <a:gd name="T45" fmla="*/ 2147483647 h 625"/>
              <a:gd name="T46" fmla="*/ 2147483647 w 783"/>
              <a:gd name="T47" fmla="*/ 2147483647 h 625"/>
              <a:gd name="T48" fmla="*/ 2147483647 w 783"/>
              <a:gd name="T49" fmla="*/ 2147483647 h 625"/>
              <a:gd name="T50" fmla="*/ 2147483647 w 783"/>
              <a:gd name="T51" fmla="*/ 2147483647 h 625"/>
              <a:gd name="T52" fmla="*/ 2147483647 w 783"/>
              <a:gd name="T53" fmla="*/ 2147483647 h 625"/>
              <a:gd name="T54" fmla="*/ 2147483647 w 783"/>
              <a:gd name="T55" fmla="*/ 2147483647 h 625"/>
              <a:gd name="T56" fmla="*/ 2147483647 w 783"/>
              <a:gd name="T57" fmla="*/ 2147483647 h 625"/>
              <a:gd name="T58" fmla="*/ 2147483647 w 783"/>
              <a:gd name="T59" fmla="*/ 2147483647 h 625"/>
              <a:gd name="T60" fmla="*/ 2147483647 w 783"/>
              <a:gd name="T61" fmla="*/ 2147483647 h 625"/>
              <a:gd name="T62" fmla="*/ 2147483647 w 783"/>
              <a:gd name="T63" fmla="*/ 2147483647 h 625"/>
              <a:gd name="T64" fmla="*/ 2147483647 w 783"/>
              <a:gd name="T65" fmla="*/ 2147483647 h 625"/>
              <a:gd name="T66" fmla="*/ 2147483647 w 783"/>
              <a:gd name="T67" fmla="*/ 2147483647 h 625"/>
              <a:gd name="T68" fmla="*/ 2147483647 w 783"/>
              <a:gd name="T69" fmla="*/ 2147483647 h 625"/>
              <a:gd name="T70" fmla="*/ 2147483647 w 783"/>
              <a:gd name="T71" fmla="*/ 2147483647 h 625"/>
              <a:gd name="T72" fmla="*/ 2147483647 w 783"/>
              <a:gd name="T73" fmla="*/ 2147483647 h 625"/>
              <a:gd name="T74" fmla="*/ 2147483647 w 783"/>
              <a:gd name="T75" fmla="*/ 2147483647 h 625"/>
              <a:gd name="T76" fmla="*/ 2147483647 w 783"/>
              <a:gd name="T77" fmla="*/ 2147483647 h 625"/>
              <a:gd name="T78" fmla="*/ 2147483647 w 783"/>
              <a:gd name="T79" fmla="*/ 2147483647 h 625"/>
              <a:gd name="T80" fmla="*/ 2147483647 w 783"/>
              <a:gd name="T81" fmla="*/ 2147483647 h 625"/>
              <a:gd name="T82" fmla="*/ 2147483647 w 783"/>
              <a:gd name="T83" fmla="*/ 2147483647 h 625"/>
              <a:gd name="T84" fmla="*/ 2147483647 w 783"/>
              <a:gd name="T85" fmla="*/ 2147483647 h 625"/>
              <a:gd name="T86" fmla="*/ 2147483647 w 783"/>
              <a:gd name="T87" fmla="*/ 2147483647 h 625"/>
              <a:gd name="T88" fmla="*/ 2147483647 w 783"/>
              <a:gd name="T89" fmla="*/ 2147483647 h 625"/>
              <a:gd name="T90" fmla="*/ 2147483647 w 783"/>
              <a:gd name="T91" fmla="*/ 2147483647 h 625"/>
              <a:gd name="T92" fmla="*/ 2147483647 w 783"/>
              <a:gd name="T93" fmla="*/ 2147483647 h 625"/>
              <a:gd name="T94" fmla="*/ 2147483647 w 783"/>
              <a:gd name="T95" fmla="*/ 2147483647 h 625"/>
              <a:gd name="T96" fmla="*/ 2147483647 w 783"/>
              <a:gd name="T97" fmla="*/ 2147483647 h 625"/>
              <a:gd name="T98" fmla="*/ 2147483647 w 783"/>
              <a:gd name="T99" fmla="*/ 2147483647 h 625"/>
              <a:gd name="T100" fmla="*/ 2147483647 w 783"/>
              <a:gd name="T101" fmla="*/ 2147483647 h 62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783"/>
              <a:gd name="T154" fmla="*/ 0 h 625"/>
              <a:gd name="T155" fmla="*/ 783 w 783"/>
              <a:gd name="T156" fmla="*/ 625 h 625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783" h="625">
                <a:moveTo>
                  <a:pt x="0" y="625"/>
                </a:moveTo>
                <a:lnTo>
                  <a:pt x="1" y="608"/>
                </a:lnTo>
                <a:lnTo>
                  <a:pt x="5" y="593"/>
                </a:lnTo>
                <a:lnTo>
                  <a:pt x="9" y="579"/>
                </a:lnTo>
                <a:lnTo>
                  <a:pt x="14" y="566"/>
                </a:lnTo>
                <a:lnTo>
                  <a:pt x="20" y="553"/>
                </a:lnTo>
                <a:lnTo>
                  <a:pt x="25" y="540"/>
                </a:lnTo>
                <a:lnTo>
                  <a:pt x="27" y="525"/>
                </a:lnTo>
                <a:lnTo>
                  <a:pt x="29" y="510"/>
                </a:lnTo>
                <a:lnTo>
                  <a:pt x="25" y="497"/>
                </a:lnTo>
                <a:lnTo>
                  <a:pt x="21" y="485"/>
                </a:lnTo>
                <a:lnTo>
                  <a:pt x="20" y="473"/>
                </a:lnTo>
                <a:lnTo>
                  <a:pt x="18" y="463"/>
                </a:lnTo>
                <a:lnTo>
                  <a:pt x="17" y="445"/>
                </a:lnTo>
                <a:lnTo>
                  <a:pt x="20" y="426"/>
                </a:lnTo>
                <a:lnTo>
                  <a:pt x="22" y="409"/>
                </a:lnTo>
                <a:lnTo>
                  <a:pt x="25" y="390"/>
                </a:lnTo>
                <a:lnTo>
                  <a:pt x="27" y="368"/>
                </a:lnTo>
                <a:lnTo>
                  <a:pt x="29" y="342"/>
                </a:lnTo>
                <a:lnTo>
                  <a:pt x="37" y="322"/>
                </a:lnTo>
                <a:lnTo>
                  <a:pt x="42" y="307"/>
                </a:lnTo>
                <a:lnTo>
                  <a:pt x="47" y="286"/>
                </a:lnTo>
                <a:lnTo>
                  <a:pt x="52" y="252"/>
                </a:lnTo>
                <a:lnTo>
                  <a:pt x="61" y="247"/>
                </a:lnTo>
                <a:lnTo>
                  <a:pt x="68" y="243"/>
                </a:lnTo>
                <a:lnTo>
                  <a:pt x="74" y="238"/>
                </a:lnTo>
                <a:lnTo>
                  <a:pt x="79" y="233"/>
                </a:lnTo>
                <a:lnTo>
                  <a:pt x="85" y="227"/>
                </a:lnTo>
                <a:lnTo>
                  <a:pt x="89" y="222"/>
                </a:lnTo>
                <a:lnTo>
                  <a:pt x="91" y="216"/>
                </a:lnTo>
                <a:lnTo>
                  <a:pt x="92" y="210"/>
                </a:lnTo>
                <a:lnTo>
                  <a:pt x="98" y="183"/>
                </a:lnTo>
                <a:lnTo>
                  <a:pt x="102" y="148"/>
                </a:lnTo>
                <a:lnTo>
                  <a:pt x="115" y="140"/>
                </a:lnTo>
                <a:lnTo>
                  <a:pt x="125" y="134"/>
                </a:lnTo>
                <a:lnTo>
                  <a:pt x="134" y="126"/>
                </a:lnTo>
                <a:lnTo>
                  <a:pt x="143" y="118"/>
                </a:lnTo>
                <a:lnTo>
                  <a:pt x="151" y="110"/>
                </a:lnTo>
                <a:lnTo>
                  <a:pt x="158" y="101"/>
                </a:lnTo>
                <a:lnTo>
                  <a:pt x="165" y="89"/>
                </a:lnTo>
                <a:lnTo>
                  <a:pt x="172" y="76"/>
                </a:lnTo>
                <a:lnTo>
                  <a:pt x="186" y="71"/>
                </a:lnTo>
                <a:lnTo>
                  <a:pt x="200" y="63"/>
                </a:lnTo>
                <a:lnTo>
                  <a:pt x="212" y="56"/>
                </a:lnTo>
                <a:lnTo>
                  <a:pt x="224" y="48"/>
                </a:lnTo>
                <a:lnTo>
                  <a:pt x="234" y="37"/>
                </a:lnTo>
                <a:lnTo>
                  <a:pt x="243" y="26"/>
                </a:lnTo>
                <a:lnTo>
                  <a:pt x="252" y="14"/>
                </a:lnTo>
                <a:lnTo>
                  <a:pt x="262" y="0"/>
                </a:lnTo>
                <a:lnTo>
                  <a:pt x="269" y="1"/>
                </a:lnTo>
                <a:lnTo>
                  <a:pt x="276" y="1"/>
                </a:lnTo>
                <a:lnTo>
                  <a:pt x="284" y="4"/>
                </a:lnTo>
                <a:lnTo>
                  <a:pt x="290" y="5"/>
                </a:lnTo>
                <a:lnTo>
                  <a:pt x="303" y="11"/>
                </a:lnTo>
                <a:lnTo>
                  <a:pt x="315" y="19"/>
                </a:lnTo>
                <a:lnTo>
                  <a:pt x="327" y="30"/>
                </a:lnTo>
                <a:lnTo>
                  <a:pt x="337" y="41"/>
                </a:lnTo>
                <a:lnTo>
                  <a:pt x="347" y="53"/>
                </a:lnTo>
                <a:lnTo>
                  <a:pt x="358" y="66"/>
                </a:lnTo>
                <a:lnTo>
                  <a:pt x="377" y="95"/>
                </a:lnTo>
                <a:lnTo>
                  <a:pt x="397" y="122"/>
                </a:lnTo>
                <a:lnTo>
                  <a:pt x="406" y="135"/>
                </a:lnTo>
                <a:lnTo>
                  <a:pt x="416" y="147"/>
                </a:lnTo>
                <a:lnTo>
                  <a:pt x="427" y="158"/>
                </a:lnTo>
                <a:lnTo>
                  <a:pt x="437" y="167"/>
                </a:lnTo>
                <a:lnTo>
                  <a:pt x="444" y="179"/>
                </a:lnTo>
                <a:lnTo>
                  <a:pt x="450" y="191"/>
                </a:lnTo>
                <a:lnTo>
                  <a:pt x="457" y="203"/>
                </a:lnTo>
                <a:lnTo>
                  <a:pt x="465" y="213"/>
                </a:lnTo>
                <a:lnTo>
                  <a:pt x="472" y="222"/>
                </a:lnTo>
                <a:lnTo>
                  <a:pt x="481" y="231"/>
                </a:lnTo>
                <a:lnTo>
                  <a:pt x="491" y="239"/>
                </a:lnTo>
                <a:lnTo>
                  <a:pt x="500" y="247"/>
                </a:lnTo>
                <a:lnTo>
                  <a:pt x="510" y="253"/>
                </a:lnTo>
                <a:lnTo>
                  <a:pt x="520" y="260"/>
                </a:lnTo>
                <a:lnTo>
                  <a:pt x="532" y="265"/>
                </a:lnTo>
                <a:lnTo>
                  <a:pt x="544" y="269"/>
                </a:lnTo>
                <a:lnTo>
                  <a:pt x="556" y="273"/>
                </a:lnTo>
                <a:lnTo>
                  <a:pt x="569" y="277"/>
                </a:lnTo>
                <a:lnTo>
                  <a:pt x="583" y="279"/>
                </a:lnTo>
                <a:lnTo>
                  <a:pt x="596" y="281"/>
                </a:lnTo>
                <a:lnTo>
                  <a:pt x="614" y="277"/>
                </a:lnTo>
                <a:lnTo>
                  <a:pt x="630" y="275"/>
                </a:lnTo>
                <a:lnTo>
                  <a:pt x="641" y="275"/>
                </a:lnTo>
                <a:lnTo>
                  <a:pt x="653" y="278"/>
                </a:lnTo>
                <a:lnTo>
                  <a:pt x="662" y="282"/>
                </a:lnTo>
                <a:lnTo>
                  <a:pt x="669" y="287"/>
                </a:lnTo>
                <a:lnTo>
                  <a:pt x="675" y="295"/>
                </a:lnTo>
                <a:lnTo>
                  <a:pt x="681" y="303"/>
                </a:lnTo>
                <a:lnTo>
                  <a:pt x="690" y="322"/>
                </a:lnTo>
                <a:lnTo>
                  <a:pt x="699" y="344"/>
                </a:lnTo>
                <a:lnTo>
                  <a:pt x="704" y="356"/>
                </a:lnTo>
                <a:lnTo>
                  <a:pt x="709" y="368"/>
                </a:lnTo>
                <a:lnTo>
                  <a:pt x="716" y="380"/>
                </a:lnTo>
                <a:lnTo>
                  <a:pt x="723" y="390"/>
                </a:lnTo>
                <a:lnTo>
                  <a:pt x="738" y="399"/>
                </a:lnTo>
                <a:lnTo>
                  <a:pt x="752" y="408"/>
                </a:lnTo>
                <a:lnTo>
                  <a:pt x="768" y="416"/>
                </a:lnTo>
                <a:lnTo>
                  <a:pt x="783" y="425"/>
                </a:lnTo>
                <a:lnTo>
                  <a:pt x="782" y="438"/>
                </a:lnTo>
                <a:lnTo>
                  <a:pt x="779" y="450"/>
                </a:lnTo>
                <a:lnTo>
                  <a:pt x="774" y="461"/>
                </a:lnTo>
                <a:lnTo>
                  <a:pt x="769" y="472"/>
                </a:lnTo>
                <a:lnTo>
                  <a:pt x="761" y="482"/>
                </a:lnTo>
                <a:lnTo>
                  <a:pt x="753" y="491"/>
                </a:lnTo>
                <a:lnTo>
                  <a:pt x="744" y="501"/>
                </a:lnTo>
                <a:lnTo>
                  <a:pt x="735" y="510"/>
                </a:lnTo>
                <a:lnTo>
                  <a:pt x="717" y="528"/>
                </a:lnTo>
                <a:lnTo>
                  <a:pt x="699" y="546"/>
                </a:lnTo>
                <a:lnTo>
                  <a:pt x="691" y="555"/>
                </a:lnTo>
                <a:lnTo>
                  <a:pt x="683" y="566"/>
                </a:lnTo>
                <a:lnTo>
                  <a:pt x="678" y="576"/>
                </a:lnTo>
                <a:lnTo>
                  <a:pt x="674" y="586"/>
                </a:lnTo>
                <a:lnTo>
                  <a:pt x="644" y="590"/>
                </a:lnTo>
                <a:lnTo>
                  <a:pt x="615" y="594"/>
                </a:lnTo>
                <a:lnTo>
                  <a:pt x="587" y="598"/>
                </a:lnTo>
                <a:lnTo>
                  <a:pt x="558" y="602"/>
                </a:lnTo>
                <a:lnTo>
                  <a:pt x="544" y="610"/>
                </a:lnTo>
                <a:lnTo>
                  <a:pt x="532" y="615"/>
                </a:lnTo>
                <a:lnTo>
                  <a:pt x="520" y="619"/>
                </a:lnTo>
                <a:lnTo>
                  <a:pt x="510" y="620"/>
                </a:lnTo>
                <a:lnTo>
                  <a:pt x="500" y="619"/>
                </a:lnTo>
                <a:lnTo>
                  <a:pt x="488" y="616"/>
                </a:lnTo>
                <a:lnTo>
                  <a:pt x="475" y="610"/>
                </a:lnTo>
                <a:lnTo>
                  <a:pt x="462" y="602"/>
                </a:lnTo>
                <a:lnTo>
                  <a:pt x="446" y="601"/>
                </a:lnTo>
                <a:lnTo>
                  <a:pt x="433" y="598"/>
                </a:lnTo>
                <a:lnTo>
                  <a:pt x="423" y="595"/>
                </a:lnTo>
                <a:lnTo>
                  <a:pt x="414" y="590"/>
                </a:lnTo>
                <a:lnTo>
                  <a:pt x="405" y="584"/>
                </a:lnTo>
                <a:lnTo>
                  <a:pt x="398" y="577"/>
                </a:lnTo>
                <a:lnTo>
                  <a:pt x="392" y="571"/>
                </a:lnTo>
                <a:lnTo>
                  <a:pt x="385" y="564"/>
                </a:lnTo>
                <a:lnTo>
                  <a:pt x="379" y="556"/>
                </a:lnTo>
                <a:lnTo>
                  <a:pt x="372" y="550"/>
                </a:lnTo>
                <a:lnTo>
                  <a:pt x="366" y="545"/>
                </a:lnTo>
                <a:lnTo>
                  <a:pt x="358" y="540"/>
                </a:lnTo>
                <a:lnTo>
                  <a:pt x="349" y="536"/>
                </a:lnTo>
                <a:lnTo>
                  <a:pt x="338" y="533"/>
                </a:lnTo>
                <a:lnTo>
                  <a:pt x="327" y="532"/>
                </a:lnTo>
                <a:lnTo>
                  <a:pt x="312" y="533"/>
                </a:lnTo>
                <a:lnTo>
                  <a:pt x="303" y="545"/>
                </a:lnTo>
                <a:lnTo>
                  <a:pt x="294" y="554"/>
                </a:lnTo>
                <a:lnTo>
                  <a:pt x="286" y="563"/>
                </a:lnTo>
                <a:lnTo>
                  <a:pt x="278" y="569"/>
                </a:lnTo>
                <a:lnTo>
                  <a:pt x="271" y="576"/>
                </a:lnTo>
                <a:lnTo>
                  <a:pt x="263" y="580"/>
                </a:lnTo>
                <a:lnTo>
                  <a:pt x="255" y="584"/>
                </a:lnTo>
                <a:lnTo>
                  <a:pt x="247" y="588"/>
                </a:lnTo>
                <a:lnTo>
                  <a:pt x="210" y="598"/>
                </a:lnTo>
                <a:lnTo>
                  <a:pt x="161" y="614"/>
                </a:lnTo>
                <a:lnTo>
                  <a:pt x="121" y="616"/>
                </a:lnTo>
                <a:lnTo>
                  <a:pt x="81" y="619"/>
                </a:lnTo>
                <a:lnTo>
                  <a:pt x="40" y="623"/>
                </a:lnTo>
                <a:lnTo>
                  <a:pt x="0" y="625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94" name="Freeform 59"/>
          <p:cNvSpPr>
            <a:spLocks/>
          </p:cNvSpPr>
          <p:nvPr/>
        </p:nvSpPr>
        <p:spPr bwMode="auto">
          <a:xfrm>
            <a:off x="1304925" y="2384425"/>
            <a:ext cx="481013" cy="334963"/>
          </a:xfrm>
          <a:custGeom>
            <a:avLst/>
            <a:gdLst>
              <a:gd name="T0" fmla="*/ 2147483647 w 1211"/>
              <a:gd name="T1" fmla="*/ 2147483647 h 843"/>
              <a:gd name="T2" fmla="*/ 2147483647 w 1211"/>
              <a:gd name="T3" fmla="*/ 2147483647 h 843"/>
              <a:gd name="T4" fmla="*/ 2147483647 w 1211"/>
              <a:gd name="T5" fmla="*/ 2147483647 h 843"/>
              <a:gd name="T6" fmla="*/ 2147483647 w 1211"/>
              <a:gd name="T7" fmla="*/ 2147483647 h 843"/>
              <a:gd name="T8" fmla="*/ 2147483647 w 1211"/>
              <a:gd name="T9" fmla="*/ 2147483647 h 843"/>
              <a:gd name="T10" fmla="*/ 2147483647 w 1211"/>
              <a:gd name="T11" fmla="*/ 2147483647 h 843"/>
              <a:gd name="T12" fmla="*/ 2147483647 w 1211"/>
              <a:gd name="T13" fmla="*/ 2147483647 h 843"/>
              <a:gd name="T14" fmla="*/ 2147483647 w 1211"/>
              <a:gd name="T15" fmla="*/ 2147483647 h 843"/>
              <a:gd name="T16" fmla="*/ 2147483647 w 1211"/>
              <a:gd name="T17" fmla="*/ 2147483647 h 843"/>
              <a:gd name="T18" fmla="*/ 2147483647 w 1211"/>
              <a:gd name="T19" fmla="*/ 2147483647 h 843"/>
              <a:gd name="T20" fmla="*/ 2147483647 w 1211"/>
              <a:gd name="T21" fmla="*/ 2147483647 h 843"/>
              <a:gd name="T22" fmla="*/ 2147483647 w 1211"/>
              <a:gd name="T23" fmla="*/ 2147483647 h 843"/>
              <a:gd name="T24" fmla="*/ 2147483647 w 1211"/>
              <a:gd name="T25" fmla="*/ 2147483647 h 843"/>
              <a:gd name="T26" fmla="*/ 2147483647 w 1211"/>
              <a:gd name="T27" fmla="*/ 2147483647 h 843"/>
              <a:gd name="T28" fmla="*/ 2147483647 w 1211"/>
              <a:gd name="T29" fmla="*/ 2147483647 h 843"/>
              <a:gd name="T30" fmla="*/ 2147483647 w 1211"/>
              <a:gd name="T31" fmla="*/ 2147483647 h 843"/>
              <a:gd name="T32" fmla="*/ 2147483647 w 1211"/>
              <a:gd name="T33" fmla="*/ 2147483647 h 843"/>
              <a:gd name="T34" fmla="*/ 0 w 1211"/>
              <a:gd name="T35" fmla="*/ 2147483647 h 843"/>
              <a:gd name="T36" fmla="*/ 2147483647 w 1211"/>
              <a:gd name="T37" fmla="*/ 2147483647 h 843"/>
              <a:gd name="T38" fmla="*/ 2147483647 w 1211"/>
              <a:gd name="T39" fmla="*/ 2147483647 h 843"/>
              <a:gd name="T40" fmla="*/ 2147483647 w 1211"/>
              <a:gd name="T41" fmla="*/ 2147483647 h 843"/>
              <a:gd name="T42" fmla="*/ 2147483647 w 1211"/>
              <a:gd name="T43" fmla="*/ 2147483647 h 843"/>
              <a:gd name="T44" fmla="*/ 2147483647 w 1211"/>
              <a:gd name="T45" fmla="*/ 2147483647 h 843"/>
              <a:gd name="T46" fmla="*/ 2147483647 w 1211"/>
              <a:gd name="T47" fmla="*/ 2147483647 h 843"/>
              <a:gd name="T48" fmla="*/ 2147483647 w 1211"/>
              <a:gd name="T49" fmla="*/ 2147483647 h 843"/>
              <a:gd name="T50" fmla="*/ 2147483647 w 1211"/>
              <a:gd name="T51" fmla="*/ 2147483647 h 843"/>
              <a:gd name="T52" fmla="*/ 2147483647 w 1211"/>
              <a:gd name="T53" fmla="*/ 2147483647 h 843"/>
              <a:gd name="T54" fmla="*/ 2147483647 w 1211"/>
              <a:gd name="T55" fmla="*/ 2147483647 h 843"/>
              <a:gd name="T56" fmla="*/ 2147483647 w 1211"/>
              <a:gd name="T57" fmla="*/ 2147483647 h 843"/>
              <a:gd name="T58" fmla="*/ 2147483647 w 1211"/>
              <a:gd name="T59" fmla="*/ 2147483647 h 843"/>
              <a:gd name="T60" fmla="*/ 2147483647 w 1211"/>
              <a:gd name="T61" fmla="*/ 2147483647 h 843"/>
              <a:gd name="T62" fmla="*/ 2147483647 w 1211"/>
              <a:gd name="T63" fmla="*/ 2147483647 h 843"/>
              <a:gd name="T64" fmla="*/ 2147483647 w 1211"/>
              <a:gd name="T65" fmla="*/ 2147483647 h 843"/>
              <a:gd name="T66" fmla="*/ 2147483647 w 1211"/>
              <a:gd name="T67" fmla="*/ 2147483647 h 843"/>
              <a:gd name="T68" fmla="*/ 2147483647 w 1211"/>
              <a:gd name="T69" fmla="*/ 2147483647 h 843"/>
              <a:gd name="T70" fmla="*/ 2147483647 w 1211"/>
              <a:gd name="T71" fmla="*/ 2147483647 h 843"/>
              <a:gd name="T72" fmla="*/ 2147483647 w 1211"/>
              <a:gd name="T73" fmla="*/ 2147483647 h 843"/>
              <a:gd name="T74" fmla="*/ 2147483647 w 1211"/>
              <a:gd name="T75" fmla="*/ 2147483647 h 843"/>
              <a:gd name="T76" fmla="*/ 2147483647 w 1211"/>
              <a:gd name="T77" fmla="*/ 2147483647 h 843"/>
              <a:gd name="T78" fmla="*/ 2147483647 w 1211"/>
              <a:gd name="T79" fmla="*/ 2147483647 h 843"/>
              <a:gd name="T80" fmla="*/ 2147483647 w 1211"/>
              <a:gd name="T81" fmla="*/ 2147483647 h 843"/>
              <a:gd name="T82" fmla="*/ 2147483647 w 1211"/>
              <a:gd name="T83" fmla="*/ 2147483647 h 843"/>
              <a:gd name="T84" fmla="*/ 2147483647 w 1211"/>
              <a:gd name="T85" fmla="*/ 2147483647 h 843"/>
              <a:gd name="T86" fmla="*/ 2147483647 w 1211"/>
              <a:gd name="T87" fmla="*/ 2147483647 h 843"/>
              <a:gd name="T88" fmla="*/ 2147483647 w 1211"/>
              <a:gd name="T89" fmla="*/ 2147483647 h 843"/>
              <a:gd name="T90" fmla="*/ 2147483647 w 1211"/>
              <a:gd name="T91" fmla="*/ 2147483647 h 843"/>
              <a:gd name="T92" fmla="*/ 2147483647 w 1211"/>
              <a:gd name="T93" fmla="*/ 2147483647 h 843"/>
              <a:gd name="T94" fmla="*/ 2147483647 w 1211"/>
              <a:gd name="T95" fmla="*/ 2147483647 h 843"/>
              <a:gd name="T96" fmla="*/ 2147483647 w 1211"/>
              <a:gd name="T97" fmla="*/ 2147483647 h 843"/>
              <a:gd name="T98" fmla="*/ 2147483647 w 1211"/>
              <a:gd name="T99" fmla="*/ 2147483647 h 843"/>
              <a:gd name="T100" fmla="*/ 2147483647 w 1211"/>
              <a:gd name="T101" fmla="*/ 2147483647 h 843"/>
              <a:gd name="T102" fmla="*/ 2147483647 w 1211"/>
              <a:gd name="T103" fmla="*/ 2147483647 h 84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211"/>
              <a:gd name="T157" fmla="*/ 0 h 843"/>
              <a:gd name="T158" fmla="*/ 1211 w 1211"/>
              <a:gd name="T159" fmla="*/ 843 h 843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211" h="843">
                <a:moveTo>
                  <a:pt x="935" y="843"/>
                </a:moveTo>
                <a:lnTo>
                  <a:pt x="931" y="826"/>
                </a:lnTo>
                <a:lnTo>
                  <a:pt x="926" y="809"/>
                </a:lnTo>
                <a:lnTo>
                  <a:pt x="921" y="795"/>
                </a:lnTo>
                <a:lnTo>
                  <a:pt x="914" y="780"/>
                </a:lnTo>
                <a:lnTo>
                  <a:pt x="908" y="769"/>
                </a:lnTo>
                <a:lnTo>
                  <a:pt x="899" y="757"/>
                </a:lnTo>
                <a:lnTo>
                  <a:pt x="890" y="748"/>
                </a:lnTo>
                <a:lnTo>
                  <a:pt x="881" y="739"/>
                </a:lnTo>
                <a:lnTo>
                  <a:pt x="869" y="732"/>
                </a:lnTo>
                <a:lnTo>
                  <a:pt x="857" y="727"/>
                </a:lnTo>
                <a:lnTo>
                  <a:pt x="844" y="725"/>
                </a:lnTo>
                <a:lnTo>
                  <a:pt x="830" y="722"/>
                </a:lnTo>
                <a:lnTo>
                  <a:pt x="815" y="723"/>
                </a:lnTo>
                <a:lnTo>
                  <a:pt x="799" y="725"/>
                </a:lnTo>
                <a:lnTo>
                  <a:pt x="782" y="728"/>
                </a:lnTo>
                <a:lnTo>
                  <a:pt x="763" y="735"/>
                </a:lnTo>
                <a:lnTo>
                  <a:pt x="747" y="723"/>
                </a:lnTo>
                <a:lnTo>
                  <a:pt x="727" y="713"/>
                </a:lnTo>
                <a:lnTo>
                  <a:pt x="706" y="702"/>
                </a:lnTo>
                <a:lnTo>
                  <a:pt x="684" y="693"/>
                </a:lnTo>
                <a:lnTo>
                  <a:pt x="640" y="678"/>
                </a:lnTo>
                <a:lnTo>
                  <a:pt x="598" y="665"/>
                </a:lnTo>
                <a:lnTo>
                  <a:pt x="590" y="650"/>
                </a:lnTo>
                <a:lnTo>
                  <a:pt x="584" y="636"/>
                </a:lnTo>
                <a:lnTo>
                  <a:pt x="576" y="623"/>
                </a:lnTo>
                <a:lnTo>
                  <a:pt x="570" y="610"/>
                </a:lnTo>
                <a:lnTo>
                  <a:pt x="549" y="611"/>
                </a:lnTo>
                <a:lnTo>
                  <a:pt x="531" y="614"/>
                </a:lnTo>
                <a:lnTo>
                  <a:pt x="515" y="617"/>
                </a:lnTo>
                <a:lnTo>
                  <a:pt x="502" y="622"/>
                </a:lnTo>
                <a:lnTo>
                  <a:pt x="479" y="631"/>
                </a:lnTo>
                <a:lnTo>
                  <a:pt x="459" y="639"/>
                </a:lnTo>
                <a:lnTo>
                  <a:pt x="450" y="643"/>
                </a:lnTo>
                <a:lnTo>
                  <a:pt x="441" y="644"/>
                </a:lnTo>
                <a:lnTo>
                  <a:pt x="432" y="644"/>
                </a:lnTo>
                <a:lnTo>
                  <a:pt x="420" y="641"/>
                </a:lnTo>
                <a:lnTo>
                  <a:pt x="408" y="637"/>
                </a:lnTo>
                <a:lnTo>
                  <a:pt x="395" y="631"/>
                </a:lnTo>
                <a:lnTo>
                  <a:pt x="380" y="620"/>
                </a:lnTo>
                <a:lnTo>
                  <a:pt x="361" y="606"/>
                </a:lnTo>
                <a:lnTo>
                  <a:pt x="355" y="588"/>
                </a:lnTo>
                <a:lnTo>
                  <a:pt x="350" y="572"/>
                </a:lnTo>
                <a:lnTo>
                  <a:pt x="342" y="558"/>
                </a:lnTo>
                <a:lnTo>
                  <a:pt x="335" y="546"/>
                </a:lnTo>
                <a:lnTo>
                  <a:pt x="319" y="523"/>
                </a:lnTo>
                <a:lnTo>
                  <a:pt x="300" y="494"/>
                </a:lnTo>
                <a:lnTo>
                  <a:pt x="277" y="496"/>
                </a:lnTo>
                <a:lnTo>
                  <a:pt x="250" y="499"/>
                </a:lnTo>
                <a:lnTo>
                  <a:pt x="222" y="502"/>
                </a:lnTo>
                <a:lnTo>
                  <a:pt x="196" y="505"/>
                </a:lnTo>
                <a:lnTo>
                  <a:pt x="178" y="494"/>
                </a:lnTo>
                <a:lnTo>
                  <a:pt x="158" y="483"/>
                </a:lnTo>
                <a:lnTo>
                  <a:pt x="139" y="471"/>
                </a:lnTo>
                <a:lnTo>
                  <a:pt x="121" y="455"/>
                </a:lnTo>
                <a:lnTo>
                  <a:pt x="113" y="449"/>
                </a:lnTo>
                <a:lnTo>
                  <a:pt x="105" y="440"/>
                </a:lnTo>
                <a:lnTo>
                  <a:pt x="97" y="432"/>
                </a:lnTo>
                <a:lnTo>
                  <a:pt x="91" y="423"/>
                </a:lnTo>
                <a:lnTo>
                  <a:pt x="86" y="412"/>
                </a:lnTo>
                <a:lnTo>
                  <a:pt x="80" y="403"/>
                </a:lnTo>
                <a:lnTo>
                  <a:pt x="78" y="393"/>
                </a:lnTo>
                <a:lnTo>
                  <a:pt x="75" y="381"/>
                </a:lnTo>
                <a:lnTo>
                  <a:pt x="58" y="368"/>
                </a:lnTo>
                <a:lnTo>
                  <a:pt x="41" y="355"/>
                </a:lnTo>
                <a:lnTo>
                  <a:pt x="26" y="339"/>
                </a:lnTo>
                <a:lnTo>
                  <a:pt x="13" y="324"/>
                </a:lnTo>
                <a:lnTo>
                  <a:pt x="8" y="315"/>
                </a:lnTo>
                <a:lnTo>
                  <a:pt x="4" y="307"/>
                </a:lnTo>
                <a:lnTo>
                  <a:pt x="1" y="298"/>
                </a:lnTo>
                <a:lnTo>
                  <a:pt x="0" y="289"/>
                </a:lnTo>
                <a:lnTo>
                  <a:pt x="0" y="278"/>
                </a:lnTo>
                <a:lnTo>
                  <a:pt x="1" y="269"/>
                </a:lnTo>
                <a:lnTo>
                  <a:pt x="4" y="259"/>
                </a:lnTo>
                <a:lnTo>
                  <a:pt x="9" y="248"/>
                </a:lnTo>
                <a:lnTo>
                  <a:pt x="40" y="226"/>
                </a:lnTo>
                <a:lnTo>
                  <a:pt x="65" y="211"/>
                </a:lnTo>
                <a:lnTo>
                  <a:pt x="74" y="203"/>
                </a:lnTo>
                <a:lnTo>
                  <a:pt x="82" y="196"/>
                </a:lnTo>
                <a:lnTo>
                  <a:pt x="90" y="190"/>
                </a:lnTo>
                <a:lnTo>
                  <a:pt x="95" y="183"/>
                </a:lnTo>
                <a:lnTo>
                  <a:pt x="99" y="176"/>
                </a:lnTo>
                <a:lnTo>
                  <a:pt x="103" y="166"/>
                </a:lnTo>
                <a:lnTo>
                  <a:pt x="105" y="156"/>
                </a:lnTo>
                <a:lnTo>
                  <a:pt x="108" y="144"/>
                </a:lnTo>
                <a:lnTo>
                  <a:pt x="112" y="114"/>
                </a:lnTo>
                <a:lnTo>
                  <a:pt x="113" y="74"/>
                </a:lnTo>
                <a:lnTo>
                  <a:pt x="123" y="66"/>
                </a:lnTo>
                <a:lnTo>
                  <a:pt x="130" y="60"/>
                </a:lnTo>
                <a:lnTo>
                  <a:pt x="135" y="53"/>
                </a:lnTo>
                <a:lnTo>
                  <a:pt x="139" y="47"/>
                </a:lnTo>
                <a:lnTo>
                  <a:pt x="142" y="39"/>
                </a:lnTo>
                <a:lnTo>
                  <a:pt x="143" y="31"/>
                </a:lnTo>
                <a:lnTo>
                  <a:pt x="144" y="21"/>
                </a:lnTo>
                <a:lnTo>
                  <a:pt x="145" y="8"/>
                </a:lnTo>
                <a:lnTo>
                  <a:pt x="169" y="3"/>
                </a:lnTo>
                <a:lnTo>
                  <a:pt x="183" y="0"/>
                </a:lnTo>
                <a:lnTo>
                  <a:pt x="195" y="0"/>
                </a:lnTo>
                <a:lnTo>
                  <a:pt x="209" y="3"/>
                </a:lnTo>
                <a:lnTo>
                  <a:pt x="220" y="18"/>
                </a:lnTo>
                <a:lnTo>
                  <a:pt x="231" y="34"/>
                </a:lnTo>
                <a:lnTo>
                  <a:pt x="242" y="51"/>
                </a:lnTo>
                <a:lnTo>
                  <a:pt x="253" y="66"/>
                </a:lnTo>
                <a:lnTo>
                  <a:pt x="286" y="69"/>
                </a:lnTo>
                <a:lnTo>
                  <a:pt x="316" y="74"/>
                </a:lnTo>
                <a:lnTo>
                  <a:pt x="346" y="82"/>
                </a:lnTo>
                <a:lnTo>
                  <a:pt x="374" y="90"/>
                </a:lnTo>
                <a:lnTo>
                  <a:pt x="403" y="97"/>
                </a:lnTo>
                <a:lnTo>
                  <a:pt x="432" y="104"/>
                </a:lnTo>
                <a:lnTo>
                  <a:pt x="462" y="110"/>
                </a:lnTo>
                <a:lnTo>
                  <a:pt x="493" y="114"/>
                </a:lnTo>
                <a:lnTo>
                  <a:pt x="502" y="121"/>
                </a:lnTo>
                <a:lnTo>
                  <a:pt x="512" y="126"/>
                </a:lnTo>
                <a:lnTo>
                  <a:pt x="523" y="130"/>
                </a:lnTo>
                <a:lnTo>
                  <a:pt x="533" y="133"/>
                </a:lnTo>
                <a:lnTo>
                  <a:pt x="544" y="135"/>
                </a:lnTo>
                <a:lnTo>
                  <a:pt x="554" y="137"/>
                </a:lnTo>
                <a:lnTo>
                  <a:pt x="564" y="137"/>
                </a:lnTo>
                <a:lnTo>
                  <a:pt x="576" y="135"/>
                </a:lnTo>
                <a:lnTo>
                  <a:pt x="598" y="133"/>
                </a:lnTo>
                <a:lnTo>
                  <a:pt x="620" y="127"/>
                </a:lnTo>
                <a:lnTo>
                  <a:pt x="642" y="121"/>
                </a:lnTo>
                <a:lnTo>
                  <a:pt x="666" y="114"/>
                </a:lnTo>
                <a:lnTo>
                  <a:pt x="688" y="95"/>
                </a:lnTo>
                <a:lnTo>
                  <a:pt x="701" y="84"/>
                </a:lnTo>
                <a:lnTo>
                  <a:pt x="710" y="79"/>
                </a:lnTo>
                <a:lnTo>
                  <a:pt x="719" y="75"/>
                </a:lnTo>
                <a:lnTo>
                  <a:pt x="732" y="86"/>
                </a:lnTo>
                <a:lnTo>
                  <a:pt x="747" y="96"/>
                </a:lnTo>
                <a:lnTo>
                  <a:pt x="761" y="105"/>
                </a:lnTo>
                <a:lnTo>
                  <a:pt x="775" y="116"/>
                </a:lnTo>
                <a:lnTo>
                  <a:pt x="780" y="127"/>
                </a:lnTo>
                <a:lnTo>
                  <a:pt x="787" y="139"/>
                </a:lnTo>
                <a:lnTo>
                  <a:pt x="793" y="148"/>
                </a:lnTo>
                <a:lnTo>
                  <a:pt x="800" y="157"/>
                </a:lnTo>
                <a:lnTo>
                  <a:pt x="808" y="165"/>
                </a:lnTo>
                <a:lnTo>
                  <a:pt x="817" y="173"/>
                </a:lnTo>
                <a:lnTo>
                  <a:pt x="825" y="179"/>
                </a:lnTo>
                <a:lnTo>
                  <a:pt x="834" y="185"/>
                </a:lnTo>
                <a:lnTo>
                  <a:pt x="853" y="194"/>
                </a:lnTo>
                <a:lnTo>
                  <a:pt x="874" y="202"/>
                </a:lnTo>
                <a:lnTo>
                  <a:pt x="896" y="208"/>
                </a:lnTo>
                <a:lnTo>
                  <a:pt x="917" y="213"/>
                </a:lnTo>
                <a:lnTo>
                  <a:pt x="939" y="218"/>
                </a:lnTo>
                <a:lnTo>
                  <a:pt x="961" y="224"/>
                </a:lnTo>
                <a:lnTo>
                  <a:pt x="983" y="230"/>
                </a:lnTo>
                <a:lnTo>
                  <a:pt x="1004" y="239"/>
                </a:lnTo>
                <a:lnTo>
                  <a:pt x="1015" y="243"/>
                </a:lnTo>
                <a:lnTo>
                  <a:pt x="1024" y="248"/>
                </a:lnTo>
                <a:lnTo>
                  <a:pt x="1033" y="255"/>
                </a:lnTo>
                <a:lnTo>
                  <a:pt x="1042" y="263"/>
                </a:lnTo>
                <a:lnTo>
                  <a:pt x="1051" y="269"/>
                </a:lnTo>
                <a:lnTo>
                  <a:pt x="1059" y="278"/>
                </a:lnTo>
                <a:lnTo>
                  <a:pt x="1067" y="287"/>
                </a:lnTo>
                <a:lnTo>
                  <a:pt x="1073" y="299"/>
                </a:lnTo>
                <a:lnTo>
                  <a:pt x="1112" y="299"/>
                </a:lnTo>
                <a:lnTo>
                  <a:pt x="1142" y="297"/>
                </a:lnTo>
                <a:lnTo>
                  <a:pt x="1169" y="293"/>
                </a:lnTo>
                <a:lnTo>
                  <a:pt x="1197" y="291"/>
                </a:lnTo>
                <a:lnTo>
                  <a:pt x="1202" y="308"/>
                </a:lnTo>
                <a:lnTo>
                  <a:pt x="1206" y="323"/>
                </a:lnTo>
                <a:lnTo>
                  <a:pt x="1210" y="337"/>
                </a:lnTo>
                <a:lnTo>
                  <a:pt x="1211" y="350"/>
                </a:lnTo>
                <a:lnTo>
                  <a:pt x="1211" y="363"/>
                </a:lnTo>
                <a:lnTo>
                  <a:pt x="1210" y="373"/>
                </a:lnTo>
                <a:lnTo>
                  <a:pt x="1207" y="384"/>
                </a:lnTo>
                <a:lnTo>
                  <a:pt x="1204" y="393"/>
                </a:lnTo>
                <a:lnTo>
                  <a:pt x="1199" y="402"/>
                </a:lnTo>
                <a:lnTo>
                  <a:pt x="1193" y="410"/>
                </a:lnTo>
                <a:lnTo>
                  <a:pt x="1185" y="418"/>
                </a:lnTo>
                <a:lnTo>
                  <a:pt x="1177" y="424"/>
                </a:lnTo>
                <a:lnTo>
                  <a:pt x="1167" y="431"/>
                </a:lnTo>
                <a:lnTo>
                  <a:pt x="1156" y="437"/>
                </a:lnTo>
                <a:lnTo>
                  <a:pt x="1143" y="442"/>
                </a:lnTo>
                <a:lnTo>
                  <a:pt x="1130" y="449"/>
                </a:lnTo>
                <a:lnTo>
                  <a:pt x="1129" y="459"/>
                </a:lnTo>
                <a:lnTo>
                  <a:pt x="1128" y="468"/>
                </a:lnTo>
                <a:lnTo>
                  <a:pt x="1128" y="479"/>
                </a:lnTo>
                <a:lnTo>
                  <a:pt x="1126" y="489"/>
                </a:lnTo>
                <a:lnTo>
                  <a:pt x="1110" y="494"/>
                </a:lnTo>
                <a:lnTo>
                  <a:pt x="1095" y="499"/>
                </a:lnTo>
                <a:lnTo>
                  <a:pt x="1090" y="502"/>
                </a:lnTo>
                <a:lnTo>
                  <a:pt x="1085" y="506"/>
                </a:lnTo>
                <a:lnTo>
                  <a:pt x="1081" y="509"/>
                </a:lnTo>
                <a:lnTo>
                  <a:pt x="1078" y="512"/>
                </a:lnTo>
                <a:lnTo>
                  <a:pt x="1073" y="522"/>
                </a:lnTo>
                <a:lnTo>
                  <a:pt x="1070" y="532"/>
                </a:lnTo>
                <a:lnTo>
                  <a:pt x="1068" y="548"/>
                </a:lnTo>
                <a:lnTo>
                  <a:pt x="1065" y="566"/>
                </a:lnTo>
                <a:lnTo>
                  <a:pt x="1054" y="580"/>
                </a:lnTo>
                <a:lnTo>
                  <a:pt x="1044" y="592"/>
                </a:lnTo>
                <a:lnTo>
                  <a:pt x="1037" y="604"/>
                </a:lnTo>
                <a:lnTo>
                  <a:pt x="1030" y="614"/>
                </a:lnTo>
                <a:lnTo>
                  <a:pt x="1025" y="624"/>
                </a:lnTo>
                <a:lnTo>
                  <a:pt x="1022" y="637"/>
                </a:lnTo>
                <a:lnTo>
                  <a:pt x="1020" y="652"/>
                </a:lnTo>
                <a:lnTo>
                  <a:pt x="1020" y="670"/>
                </a:lnTo>
                <a:lnTo>
                  <a:pt x="1030" y="688"/>
                </a:lnTo>
                <a:lnTo>
                  <a:pt x="1037" y="700"/>
                </a:lnTo>
                <a:lnTo>
                  <a:pt x="1039" y="712"/>
                </a:lnTo>
                <a:lnTo>
                  <a:pt x="1042" y="727"/>
                </a:lnTo>
                <a:lnTo>
                  <a:pt x="1037" y="728"/>
                </a:lnTo>
                <a:lnTo>
                  <a:pt x="1030" y="731"/>
                </a:lnTo>
                <a:lnTo>
                  <a:pt x="1022" y="736"/>
                </a:lnTo>
                <a:lnTo>
                  <a:pt x="1015" y="743"/>
                </a:lnTo>
                <a:lnTo>
                  <a:pt x="999" y="758"/>
                </a:lnTo>
                <a:lnTo>
                  <a:pt x="983" y="777"/>
                </a:lnTo>
                <a:lnTo>
                  <a:pt x="955" y="816"/>
                </a:lnTo>
                <a:lnTo>
                  <a:pt x="935" y="843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95" name="Freeform 60"/>
          <p:cNvSpPr>
            <a:spLocks/>
          </p:cNvSpPr>
          <p:nvPr/>
        </p:nvSpPr>
        <p:spPr bwMode="auto">
          <a:xfrm>
            <a:off x="2668588" y="1874838"/>
            <a:ext cx="985837" cy="638175"/>
          </a:xfrm>
          <a:custGeom>
            <a:avLst/>
            <a:gdLst>
              <a:gd name="T0" fmla="*/ 2147483647 w 2488"/>
              <a:gd name="T1" fmla="*/ 2147483647 h 1608"/>
              <a:gd name="T2" fmla="*/ 2147483647 w 2488"/>
              <a:gd name="T3" fmla="*/ 2147483647 h 1608"/>
              <a:gd name="T4" fmla="*/ 2147483647 w 2488"/>
              <a:gd name="T5" fmla="*/ 2147483647 h 1608"/>
              <a:gd name="T6" fmla="*/ 2147483647 w 2488"/>
              <a:gd name="T7" fmla="*/ 2147483647 h 1608"/>
              <a:gd name="T8" fmla="*/ 2147483647 w 2488"/>
              <a:gd name="T9" fmla="*/ 2147483647 h 1608"/>
              <a:gd name="T10" fmla="*/ 2147483647 w 2488"/>
              <a:gd name="T11" fmla="*/ 2147483647 h 1608"/>
              <a:gd name="T12" fmla="*/ 2147483647 w 2488"/>
              <a:gd name="T13" fmla="*/ 2147483647 h 1608"/>
              <a:gd name="T14" fmla="*/ 2147483647 w 2488"/>
              <a:gd name="T15" fmla="*/ 2147483647 h 1608"/>
              <a:gd name="T16" fmla="*/ 2147483647 w 2488"/>
              <a:gd name="T17" fmla="*/ 2147483647 h 1608"/>
              <a:gd name="T18" fmla="*/ 2147483647 w 2488"/>
              <a:gd name="T19" fmla="*/ 2147483647 h 1608"/>
              <a:gd name="T20" fmla="*/ 2147483647 w 2488"/>
              <a:gd name="T21" fmla="*/ 2147483647 h 1608"/>
              <a:gd name="T22" fmla="*/ 2147483647 w 2488"/>
              <a:gd name="T23" fmla="*/ 2147483647 h 1608"/>
              <a:gd name="T24" fmla="*/ 2147483647 w 2488"/>
              <a:gd name="T25" fmla="*/ 2147483647 h 1608"/>
              <a:gd name="T26" fmla="*/ 2147483647 w 2488"/>
              <a:gd name="T27" fmla="*/ 2147483647 h 1608"/>
              <a:gd name="T28" fmla="*/ 2147483647 w 2488"/>
              <a:gd name="T29" fmla="*/ 2147483647 h 1608"/>
              <a:gd name="T30" fmla="*/ 2147483647 w 2488"/>
              <a:gd name="T31" fmla="*/ 2147483647 h 1608"/>
              <a:gd name="T32" fmla="*/ 2147483647 w 2488"/>
              <a:gd name="T33" fmla="*/ 2147483647 h 1608"/>
              <a:gd name="T34" fmla="*/ 2147483647 w 2488"/>
              <a:gd name="T35" fmla="*/ 2147483647 h 1608"/>
              <a:gd name="T36" fmla="*/ 2147483647 w 2488"/>
              <a:gd name="T37" fmla="*/ 2147483647 h 1608"/>
              <a:gd name="T38" fmla="*/ 2147483647 w 2488"/>
              <a:gd name="T39" fmla="*/ 2147483647 h 1608"/>
              <a:gd name="T40" fmla="*/ 2147483647 w 2488"/>
              <a:gd name="T41" fmla="*/ 2147483647 h 1608"/>
              <a:gd name="T42" fmla="*/ 2147483647 w 2488"/>
              <a:gd name="T43" fmla="*/ 2147483647 h 1608"/>
              <a:gd name="T44" fmla="*/ 2147483647 w 2488"/>
              <a:gd name="T45" fmla="*/ 2147483647 h 1608"/>
              <a:gd name="T46" fmla="*/ 2147483647 w 2488"/>
              <a:gd name="T47" fmla="*/ 2147483647 h 1608"/>
              <a:gd name="T48" fmla="*/ 2147483647 w 2488"/>
              <a:gd name="T49" fmla="*/ 2147483647 h 1608"/>
              <a:gd name="T50" fmla="*/ 2147483647 w 2488"/>
              <a:gd name="T51" fmla="*/ 2147483647 h 1608"/>
              <a:gd name="T52" fmla="*/ 2147483647 w 2488"/>
              <a:gd name="T53" fmla="*/ 2147483647 h 1608"/>
              <a:gd name="T54" fmla="*/ 2147483647 w 2488"/>
              <a:gd name="T55" fmla="*/ 2147483647 h 1608"/>
              <a:gd name="T56" fmla="*/ 2147483647 w 2488"/>
              <a:gd name="T57" fmla="*/ 2147483647 h 1608"/>
              <a:gd name="T58" fmla="*/ 2147483647 w 2488"/>
              <a:gd name="T59" fmla="*/ 2147483647 h 1608"/>
              <a:gd name="T60" fmla="*/ 2147483647 w 2488"/>
              <a:gd name="T61" fmla="*/ 2147483647 h 1608"/>
              <a:gd name="T62" fmla="*/ 2147483647 w 2488"/>
              <a:gd name="T63" fmla="*/ 2147483647 h 1608"/>
              <a:gd name="T64" fmla="*/ 2147483647 w 2488"/>
              <a:gd name="T65" fmla="*/ 2147483647 h 1608"/>
              <a:gd name="T66" fmla="*/ 2147483647 w 2488"/>
              <a:gd name="T67" fmla="*/ 2147483647 h 1608"/>
              <a:gd name="T68" fmla="*/ 2147483647 w 2488"/>
              <a:gd name="T69" fmla="*/ 2147483647 h 1608"/>
              <a:gd name="T70" fmla="*/ 2147483647 w 2488"/>
              <a:gd name="T71" fmla="*/ 2147483647 h 1608"/>
              <a:gd name="T72" fmla="*/ 2147483647 w 2488"/>
              <a:gd name="T73" fmla="*/ 2147483647 h 1608"/>
              <a:gd name="T74" fmla="*/ 2147483647 w 2488"/>
              <a:gd name="T75" fmla="*/ 2147483647 h 1608"/>
              <a:gd name="T76" fmla="*/ 2147483647 w 2488"/>
              <a:gd name="T77" fmla="*/ 2147483647 h 1608"/>
              <a:gd name="T78" fmla="*/ 2147483647 w 2488"/>
              <a:gd name="T79" fmla="*/ 2147483647 h 1608"/>
              <a:gd name="T80" fmla="*/ 2147483647 w 2488"/>
              <a:gd name="T81" fmla="*/ 2147483647 h 1608"/>
              <a:gd name="T82" fmla="*/ 2147483647 w 2488"/>
              <a:gd name="T83" fmla="*/ 2147483647 h 1608"/>
              <a:gd name="T84" fmla="*/ 2147483647 w 2488"/>
              <a:gd name="T85" fmla="*/ 2147483647 h 1608"/>
              <a:gd name="T86" fmla="*/ 2147483647 w 2488"/>
              <a:gd name="T87" fmla="*/ 2147483647 h 1608"/>
              <a:gd name="T88" fmla="*/ 2147483647 w 2488"/>
              <a:gd name="T89" fmla="*/ 2147483647 h 1608"/>
              <a:gd name="T90" fmla="*/ 2147483647 w 2488"/>
              <a:gd name="T91" fmla="*/ 2147483647 h 1608"/>
              <a:gd name="T92" fmla="*/ 2147483647 w 2488"/>
              <a:gd name="T93" fmla="*/ 2147483647 h 1608"/>
              <a:gd name="T94" fmla="*/ 2147483647 w 2488"/>
              <a:gd name="T95" fmla="*/ 2147483647 h 1608"/>
              <a:gd name="T96" fmla="*/ 2147483647 w 2488"/>
              <a:gd name="T97" fmla="*/ 2147483647 h 1608"/>
              <a:gd name="T98" fmla="*/ 2147483647 w 2488"/>
              <a:gd name="T99" fmla="*/ 2147483647 h 1608"/>
              <a:gd name="T100" fmla="*/ 2147483647 w 2488"/>
              <a:gd name="T101" fmla="*/ 2147483647 h 1608"/>
              <a:gd name="T102" fmla="*/ 2147483647 w 2488"/>
              <a:gd name="T103" fmla="*/ 2147483647 h 1608"/>
              <a:gd name="T104" fmla="*/ 2147483647 w 2488"/>
              <a:gd name="T105" fmla="*/ 2147483647 h 1608"/>
              <a:gd name="T106" fmla="*/ 2147483647 w 2488"/>
              <a:gd name="T107" fmla="*/ 2147483647 h 1608"/>
              <a:gd name="T108" fmla="*/ 2147483647 w 2488"/>
              <a:gd name="T109" fmla="*/ 2147483647 h 1608"/>
              <a:gd name="T110" fmla="*/ 2147483647 w 2488"/>
              <a:gd name="T111" fmla="*/ 2147483647 h 1608"/>
              <a:gd name="T112" fmla="*/ 2147483647 w 2488"/>
              <a:gd name="T113" fmla="*/ 2147483647 h 1608"/>
              <a:gd name="T114" fmla="*/ 2147483647 w 2488"/>
              <a:gd name="T115" fmla="*/ 2147483647 h 1608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488"/>
              <a:gd name="T175" fmla="*/ 0 h 1608"/>
              <a:gd name="T176" fmla="*/ 2488 w 2488"/>
              <a:gd name="T177" fmla="*/ 1608 h 1608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488" h="1608">
                <a:moveTo>
                  <a:pt x="1807" y="1608"/>
                </a:moveTo>
                <a:lnTo>
                  <a:pt x="1744" y="1568"/>
                </a:lnTo>
                <a:lnTo>
                  <a:pt x="1681" y="1527"/>
                </a:lnTo>
                <a:lnTo>
                  <a:pt x="1619" y="1487"/>
                </a:lnTo>
                <a:lnTo>
                  <a:pt x="1556" y="1448"/>
                </a:lnTo>
                <a:lnTo>
                  <a:pt x="1494" y="1407"/>
                </a:lnTo>
                <a:lnTo>
                  <a:pt x="1432" y="1367"/>
                </a:lnTo>
                <a:lnTo>
                  <a:pt x="1369" y="1328"/>
                </a:lnTo>
                <a:lnTo>
                  <a:pt x="1307" y="1288"/>
                </a:lnTo>
                <a:lnTo>
                  <a:pt x="1286" y="1279"/>
                </a:lnTo>
                <a:lnTo>
                  <a:pt x="1265" y="1268"/>
                </a:lnTo>
                <a:lnTo>
                  <a:pt x="1243" y="1258"/>
                </a:lnTo>
                <a:lnTo>
                  <a:pt x="1221" y="1245"/>
                </a:lnTo>
                <a:lnTo>
                  <a:pt x="1199" y="1232"/>
                </a:lnTo>
                <a:lnTo>
                  <a:pt x="1177" y="1219"/>
                </a:lnTo>
                <a:lnTo>
                  <a:pt x="1156" y="1205"/>
                </a:lnTo>
                <a:lnTo>
                  <a:pt x="1134" y="1189"/>
                </a:lnTo>
                <a:lnTo>
                  <a:pt x="1093" y="1158"/>
                </a:lnTo>
                <a:lnTo>
                  <a:pt x="1053" y="1124"/>
                </a:lnTo>
                <a:lnTo>
                  <a:pt x="1035" y="1108"/>
                </a:lnTo>
                <a:lnTo>
                  <a:pt x="1018" y="1091"/>
                </a:lnTo>
                <a:lnTo>
                  <a:pt x="1001" y="1074"/>
                </a:lnTo>
                <a:lnTo>
                  <a:pt x="985" y="1058"/>
                </a:lnTo>
                <a:lnTo>
                  <a:pt x="954" y="1032"/>
                </a:lnTo>
                <a:lnTo>
                  <a:pt x="922" y="1007"/>
                </a:lnTo>
                <a:lnTo>
                  <a:pt x="912" y="1003"/>
                </a:lnTo>
                <a:lnTo>
                  <a:pt x="905" y="999"/>
                </a:lnTo>
                <a:lnTo>
                  <a:pt x="895" y="995"/>
                </a:lnTo>
                <a:lnTo>
                  <a:pt x="885" y="994"/>
                </a:lnTo>
                <a:lnTo>
                  <a:pt x="876" y="993"/>
                </a:lnTo>
                <a:lnTo>
                  <a:pt x="867" y="994"/>
                </a:lnTo>
                <a:lnTo>
                  <a:pt x="856" y="996"/>
                </a:lnTo>
                <a:lnTo>
                  <a:pt x="845" y="1000"/>
                </a:lnTo>
                <a:lnTo>
                  <a:pt x="827" y="993"/>
                </a:lnTo>
                <a:lnTo>
                  <a:pt x="811" y="987"/>
                </a:lnTo>
                <a:lnTo>
                  <a:pt x="799" y="983"/>
                </a:lnTo>
                <a:lnTo>
                  <a:pt x="789" y="983"/>
                </a:lnTo>
                <a:lnTo>
                  <a:pt x="785" y="983"/>
                </a:lnTo>
                <a:lnTo>
                  <a:pt x="780" y="985"/>
                </a:lnTo>
                <a:lnTo>
                  <a:pt x="774" y="987"/>
                </a:lnTo>
                <a:lnTo>
                  <a:pt x="768" y="990"/>
                </a:lnTo>
                <a:lnTo>
                  <a:pt x="755" y="999"/>
                </a:lnTo>
                <a:lnTo>
                  <a:pt x="738" y="1013"/>
                </a:lnTo>
                <a:lnTo>
                  <a:pt x="700" y="1013"/>
                </a:lnTo>
                <a:lnTo>
                  <a:pt x="664" y="1012"/>
                </a:lnTo>
                <a:lnTo>
                  <a:pt x="627" y="1012"/>
                </a:lnTo>
                <a:lnTo>
                  <a:pt x="591" y="1009"/>
                </a:lnTo>
                <a:lnTo>
                  <a:pt x="556" y="1007"/>
                </a:lnTo>
                <a:lnTo>
                  <a:pt x="520" y="1000"/>
                </a:lnTo>
                <a:lnTo>
                  <a:pt x="503" y="998"/>
                </a:lnTo>
                <a:lnTo>
                  <a:pt x="484" y="993"/>
                </a:lnTo>
                <a:lnTo>
                  <a:pt x="467" y="987"/>
                </a:lnTo>
                <a:lnTo>
                  <a:pt x="449" y="981"/>
                </a:lnTo>
                <a:lnTo>
                  <a:pt x="428" y="979"/>
                </a:lnTo>
                <a:lnTo>
                  <a:pt x="409" y="978"/>
                </a:lnTo>
                <a:lnTo>
                  <a:pt x="388" y="977"/>
                </a:lnTo>
                <a:lnTo>
                  <a:pt x="369" y="977"/>
                </a:lnTo>
                <a:lnTo>
                  <a:pt x="361" y="964"/>
                </a:lnTo>
                <a:lnTo>
                  <a:pt x="353" y="953"/>
                </a:lnTo>
                <a:lnTo>
                  <a:pt x="346" y="946"/>
                </a:lnTo>
                <a:lnTo>
                  <a:pt x="340" y="939"/>
                </a:lnTo>
                <a:lnTo>
                  <a:pt x="333" y="934"/>
                </a:lnTo>
                <a:lnTo>
                  <a:pt x="327" y="930"/>
                </a:lnTo>
                <a:lnTo>
                  <a:pt x="320" y="927"/>
                </a:lnTo>
                <a:lnTo>
                  <a:pt x="314" y="926"/>
                </a:lnTo>
                <a:lnTo>
                  <a:pt x="306" y="927"/>
                </a:lnTo>
                <a:lnTo>
                  <a:pt x="300" y="929"/>
                </a:lnTo>
                <a:lnTo>
                  <a:pt x="292" y="931"/>
                </a:lnTo>
                <a:lnTo>
                  <a:pt x="284" y="935"/>
                </a:lnTo>
                <a:lnTo>
                  <a:pt x="265" y="944"/>
                </a:lnTo>
                <a:lnTo>
                  <a:pt x="241" y="957"/>
                </a:lnTo>
                <a:lnTo>
                  <a:pt x="238" y="968"/>
                </a:lnTo>
                <a:lnTo>
                  <a:pt x="237" y="978"/>
                </a:lnTo>
                <a:lnTo>
                  <a:pt x="229" y="977"/>
                </a:lnTo>
                <a:lnTo>
                  <a:pt x="222" y="974"/>
                </a:lnTo>
                <a:lnTo>
                  <a:pt x="214" y="970"/>
                </a:lnTo>
                <a:lnTo>
                  <a:pt x="206" y="966"/>
                </a:lnTo>
                <a:lnTo>
                  <a:pt x="192" y="956"/>
                </a:lnTo>
                <a:lnTo>
                  <a:pt x="179" y="942"/>
                </a:lnTo>
                <a:lnTo>
                  <a:pt x="166" y="926"/>
                </a:lnTo>
                <a:lnTo>
                  <a:pt x="154" y="909"/>
                </a:lnTo>
                <a:lnTo>
                  <a:pt x="142" y="890"/>
                </a:lnTo>
                <a:lnTo>
                  <a:pt x="132" y="870"/>
                </a:lnTo>
                <a:lnTo>
                  <a:pt x="111" y="829"/>
                </a:lnTo>
                <a:lnTo>
                  <a:pt x="91" y="787"/>
                </a:lnTo>
                <a:lnTo>
                  <a:pt x="84" y="767"/>
                </a:lnTo>
                <a:lnTo>
                  <a:pt x="75" y="749"/>
                </a:lnTo>
                <a:lnTo>
                  <a:pt x="65" y="734"/>
                </a:lnTo>
                <a:lnTo>
                  <a:pt x="56" y="719"/>
                </a:lnTo>
                <a:lnTo>
                  <a:pt x="41" y="700"/>
                </a:lnTo>
                <a:lnTo>
                  <a:pt x="26" y="682"/>
                </a:lnTo>
                <a:lnTo>
                  <a:pt x="16" y="666"/>
                </a:lnTo>
                <a:lnTo>
                  <a:pt x="8" y="652"/>
                </a:lnTo>
                <a:lnTo>
                  <a:pt x="6" y="643"/>
                </a:lnTo>
                <a:lnTo>
                  <a:pt x="3" y="635"/>
                </a:lnTo>
                <a:lnTo>
                  <a:pt x="2" y="626"/>
                </a:lnTo>
                <a:lnTo>
                  <a:pt x="0" y="617"/>
                </a:lnTo>
                <a:lnTo>
                  <a:pt x="0" y="594"/>
                </a:lnTo>
                <a:lnTo>
                  <a:pt x="0" y="567"/>
                </a:lnTo>
                <a:lnTo>
                  <a:pt x="16" y="561"/>
                </a:lnTo>
                <a:lnTo>
                  <a:pt x="29" y="554"/>
                </a:lnTo>
                <a:lnTo>
                  <a:pt x="39" y="548"/>
                </a:lnTo>
                <a:lnTo>
                  <a:pt x="50" y="540"/>
                </a:lnTo>
                <a:lnTo>
                  <a:pt x="56" y="531"/>
                </a:lnTo>
                <a:lnTo>
                  <a:pt x="63" y="519"/>
                </a:lnTo>
                <a:lnTo>
                  <a:pt x="67" y="506"/>
                </a:lnTo>
                <a:lnTo>
                  <a:pt x="71" y="490"/>
                </a:lnTo>
                <a:lnTo>
                  <a:pt x="80" y="486"/>
                </a:lnTo>
                <a:lnTo>
                  <a:pt x="90" y="483"/>
                </a:lnTo>
                <a:lnTo>
                  <a:pt x="102" y="480"/>
                </a:lnTo>
                <a:lnTo>
                  <a:pt x="112" y="477"/>
                </a:lnTo>
                <a:lnTo>
                  <a:pt x="115" y="458"/>
                </a:lnTo>
                <a:lnTo>
                  <a:pt x="117" y="438"/>
                </a:lnTo>
                <a:lnTo>
                  <a:pt x="119" y="420"/>
                </a:lnTo>
                <a:lnTo>
                  <a:pt x="119" y="401"/>
                </a:lnTo>
                <a:lnTo>
                  <a:pt x="119" y="364"/>
                </a:lnTo>
                <a:lnTo>
                  <a:pt x="120" y="326"/>
                </a:lnTo>
                <a:lnTo>
                  <a:pt x="153" y="307"/>
                </a:lnTo>
                <a:lnTo>
                  <a:pt x="183" y="289"/>
                </a:lnTo>
                <a:lnTo>
                  <a:pt x="198" y="281"/>
                </a:lnTo>
                <a:lnTo>
                  <a:pt x="215" y="273"/>
                </a:lnTo>
                <a:lnTo>
                  <a:pt x="232" y="267"/>
                </a:lnTo>
                <a:lnTo>
                  <a:pt x="251" y="259"/>
                </a:lnTo>
                <a:lnTo>
                  <a:pt x="261" y="241"/>
                </a:lnTo>
                <a:lnTo>
                  <a:pt x="270" y="224"/>
                </a:lnTo>
                <a:lnTo>
                  <a:pt x="279" y="211"/>
                </a:lnTo>
                <a:lnTo>
                  <a:pt x="289" y="198"/>
                </a:lnTo>
                <a:lnTo>
                  <a:pt x="300" y="187"/>
                </a:lnTo>
                <a:lnTo>
                  <a:pt x="313" y="176"/>
                </a:lnTo>
                <a:lnTo>
                  <a:pt x="327" y="164"/>
                </a:lnTo>
                <a:lnTo>
                  <a:pt x="344" y="150"/>
                </a:lnTo>
                <a:lnTo>
                  <a:pt x="348" y="140"/>
                </a:lnTo>
                <a:lnTo>
                  <a:pt x="350" y="130"/>
                </a:lnTo>
                <a:lnTo>
                  <a:pt x="353" y="121"/>
                </a:lnTo>
                <a:lnTo>
                  <a:pt x="354" y="110"/>
                </a:lnTo>
                <a:lnTo>
                  <a:pt x="356" y="92"/>
                </a:lnTo>
                <a:lnTo>
                  <a:pt x="356" y="73"/>
                </a:lnTo>
                <a:lnTo>
                  <a:pt x="353" y="55"/>
                </a:lnTo>
                <a:lnTo>
                  <a:pt x="352" y="36"/>
                </a:lnTo>
                <a:lnTo>
                  <a:pt x="350" y="18"/>
                </a:lnTo>
                <a:lnTo>
                  <a:pt x="352" y="0"/>
                </a:lnTo>
                <a:lnTo>
                  <a:pt x="357" y="9"/>
                </a:lnTo>
                <a:lnTo>
                  <a:pt x="362" y="19"/>
                </a:lnTo>
                <a:lnTo>
                  <a:pt x="369" y="27"/>
                </a:lnTo>
                <a:lnTo>
                  <a:pt x="376" y="36"/>
                </a:lnTo>
                <a:lnTo>
                  <a:pt x="392" y="52"/>
                </a:lnTo>
                <a:lnTo>
                  <a:pt x="409" y="66"/>
                </a:lnTo>
                <a:lnTo>
                  <a:pt x="445" y="92"/>
                </a:lnTo>
                <a:lnTo>
                  <a:pt x="482" y="120"/>
                </a:lnTo>
                <a:lnTo>
                  <a:pt x="484" y="129"/>
                </a:lnTo>
                <a:lnTo>
                  <a:pt x="490" y="139"/>
                </a:lnTo>
                <a:lnTo>
                  <a:pt x="501" y="157"/>
                </a:lnTo>
                <a:lnTo>
                  <a:pt x="522" y="190"/>
                </a:lnTo>
                <a:lnTo>
                  <a:pt x="522" y="217"/>
                </a:lnTo>
                <a:lnTo>
                  <a:pt x="521" y="243"/>
                </a:lnTo>
                <a:lnTo>
                  <a:pt x="518" y="268"/>
                </a:lnTo>
                <a:lnTo>
                  <a:pt x="516" y="291"/>
                </a:lnTo>
                <a:lnTo>
                  <a:pt x="512" y="316"/>
                </a:lnTo>
                <a:lnTo>
                  <a:pt x="506" y="339"/>
                </a:lnTo>
                <a:lnTo>
                  <a:pt x="501" y="364"/>
                </a:lnTo>
                <a:lnTo>
                  <a:pt x="493" y="390"/>
                </a:lnTo>
                <a:lnTo>
                  <a:pt x="483" y="394"/>
                </a:lnTo>
                <a:lnTo>
                  <a:pt x="474" y="395"/>
                </a:lnTo>
                <a:lnTo>
                  <a:pt x="465" y="397"/>
                </a:lnTo>
                <a:lnTo>
                  <a:pt x="457" y="397"/>
                </a:lnTo>
                <a:lnTo>
                  <a:pt x="449" y="395"/>
                </a:lnTo>
                <a:lnTo>
                  <a:pt x="443" y="394"/>
                </a:lnTo>
                <a:lnTo>
                  <a:pt x="435" y="391"/>
                </a:lnTo>
                <a:lnTo>
                  <a:pt x="428" y="388"/>
                </a:lnTo>
                <a:lnTo>
                  <a:pt x="401" y="368"/>
                </a:lnTo>
                <a:lnTo>
                  <a:pt x="369" y="342"/>
                </a:lnTo>
                <a:lnTo>
                  <a:pt x="343" y="345"/>
                </a:lnTo>
                <a:lnTo>
                  <a:pt x="322" y="347"/>
                </a:lnTo>
                <a:lnTo>
                  <a:pt x="304" y="351"/>
                </a:lnTo>
                <a:lnTo>
                  <a:pt x="288" y="356"/>
                </a:lnTo>
                <a:lnTo>
                  <a:pt x="275" y="363"/>
                </a:lnTo>
                <a:lnTo>
                  <a:pt x="265" y="371"/>
                </a:lnTo>
                <a:lnTo>
                  <a:pt x="255" y="380"/>
                </a:lnTo>
                <a:lnTo>
                  <a:pt x="250" y="389"/>
                </a:lnTo>
                <a:lnTo>
                  <a:pt x="245" y="401"/>
                </a:lnTo>
                <a:lnTo>
                  <a:pt x="242" y="414"/>
                </a:lnTo>
                <a:lnTo>
                  <a:pt x="240" y="428"/>
                </a:lnTo>
                <a:lnTo>
                  <a:pt x="240" y="444"/>
                </a:lnTo>
                <a:lnTo>
                  <a:pt x="238" y="480"/>
                </a:lnTo>
                <a:lnTo>
                  <a:pt x="240" y="523"/>
                </a:lnTo>
                <a:lnTo>
                  <a:pt x="228" y="565"/>
                </a:lnTo>
                <a:lnTo>
                  <a:pt x="223" y="588"/>
                </a:lnTo>
                <a:lnTo>
                  <a:pt x="222" y="601"/>
                </a:lnTo>
                <a:lnTo>
                  <a:pt x="222" y="614"/>
                </a:lnTo>
                <a:lnTo>
                  <a:pt x="248" y="626"/>
                </a:lnTo>
                <a:lnTo>
                  <a:pt x="268" y="637"/>
                </a:lnTo>
                <a:lnTo>
                  <a:pt x="279" y="644"/>
                </a:lnTo>
                <a:lnTo>
                  <a:pt x="288" y="652"/>
                </a:lnTo>
                <a:lnTo>
                  <a:pt x="297" y="661"/>
                </a:lnTo>
                <a:lnTo>
                  <a:pt x="307" y="671"/>
                </a:lnTo>
                <a:lnTo>
                  <a:pt x="336" y="680"/>
                </a:lnTo>
                <a:lnTo>
                  <a:pt x="366" y="688"/>
                </a:lnTo>
                <a:lnTo>
                  <a:pt x="396" y="697"/>
                </a:lnTo>
                <a:lnTo>
                  <a:pt x="426" y="705"/>
                </a:lnTo>
                <a:lnTo>
                  <a:pt x="464" y="675"/>
                </a:lnTo>
                <a:lnTo>
                  <a:pt x="499" y="645"/>
                </a:lnTo>
                <a:lnTo>
                  <a:pt x="514" y="628"/>
                </a:lnTo>
                <a:lnTo>
                  <a:pt x="529" y="611"/>
                </a:lnTo>
                <a:lnTo>
                  <a:pt x="534" y="602"/>
                </a:lnTo>
                <a:lnTo>
                  <a:pt x="540" y="593"/>
                </a:lnTo>
                <a:lnTo>
                  <a:pt x="544" y="583"/>
                </a:lnTo>
                <a:lnTo>
                  <a:pt x="549" y="572"/>
                </a:lnTo>
                <a:lnTo>
                  <a:pt x="564" y="572"/>
                </a:lnTo>
                <a:lnTo>
                  <a:pt x="578" y="571"/>
                </a:lnTo>
                <a:lnTo>
                  <a:pt x="594" y="571"/>
                </a:lnTo>
                <a:lnTo>
                  <a:pt x="609" y="571"/>
                </a:lnTo>
                <a:lnTo>
                  <a:pt x="626" y="581"/>
                </a:lnTo>
                <a:lnTo>
                  <a:pt x="643" y="589"/>
                </a:lnTo>
                <a:lnTo>
                  <a:pt x="652" y="592"/>
                </a:lnTo>
                <a:lnTo>
                  <a:pt x="661" y="594"/>
                </a:lnTo>
                <a:lnTo>
                  <a:pt x="670" y="594"/>
                </a:lnTo>
                <a:lnTo>
                  <a:pt x="680" y="594"/>
                </a:lnTo>
                <a:lnTo>
                  <a:pt x="689" y="575"/>
                </a:lnTo>
                <a:lnTo>
                  <a:pt x="698" y="558"/>
                </a:lnTo>
                <a:lnTo>
                  <a:pt x="706" y="562"/>
                </a:lnTo>
                <a:lnTo>
                  <a:pt x="711" y="566"/>
                </a:lnTo>
                <a:lnTo>
                  <a:pt x="717" y="574"/>
                </a:lnTo>
                <a:lnTo>
                  <a:pt x="728" y="588"/>
                </a:lnTo>
                <a:lnTo>
                  <a:pt x="765" y="593"/>
                </a:lnTo>
                <a:lnTo>
                  <a:pt x="804" y="601"/>
                </a:lnTo>
                <a:lnTo>
                  <a:pt x="823" y="604"/>
                </a:lnTo>
                <a:lnTo>
                  <a:pt x="840" y="604"/>
                </a:lnTo>
                <a:lnTo>
                  <a:pt x="849" y="602"/>
                </a:lnTo>
                <a:lnTo>
                  <a:pt x="856" y="600"/>
                </a:lnTo>
                <a:lnTo>
                  <a:pt x="864" y="596"/>
                </a:lnTo>
                <a:lnTo>
                  <a:pt x="872" y="591"/>
                </a:lnTo>
                <a:lnTo>
                  <a:pt x="912" y="583"/>
                </a:lnTo>
                <a:lnTo>
                  <a:pt x="937" y="579"/>
                </a:lnTo>
                <a:lnTo>
                  <a:pt x="954" y="578"/>
                </a:lnTo>
                <a:lnTo>
                  <a:pt x="975" y="576"/>
                </a:lnTo>
                <a:lnTo>
                  <a:pt x="993" y="587"/>
                </a:lnTo>
                <a:lnTo>
                  <a:pt x="1011" y="594"/>
                </a:lnTo>
                <a:lnTo>
                  <a:pt x="1029" y="601"/>
                </a:lnTo>
                <a:lnTo>
                  <a:pt x="1049" y="606"/>
                </a:lnTo>
                <a:lnTo>
                  <a:pt x="1088" y="613"/>
                </a:lnTo>
                <a:lnTo>
                  <a:pt x="1128" y="619"/>
                </a:lnTo>
                <a:lnTo>
                  <a:pt x="1127" y="635"/>
                </a:lnTo>
                <a:lnTo>
                  <a:pt x="1127" y="652"/>
                </a:lnTo>
                <a:lnTo>
                  <a:pt x="1126" y="667"/>
                </a:lnTo>
                <a:lnTo>
                  <a:pt x="1126" y="684"/>
                </a:lnTo>
                <a:lnTo>
                  <a:pt x="1134" y="688"/>
                </a:lnTo>
                <a:lnTo>
                  <a:pt x="1141" y="689"/>
                </a:lnTo>
                <a:lnTo>
                  <a:pt x="1148" y="689"/>
                </a:lnTo>
                <a:lnTo>
                  <a:pt x="1153" y="688"/>
                </a:lnTo>
                <a:lnTo>
                  <a:pt x="1160" y="685"/>
                </a:lnTo>
                <a:lnTo>
                  <a:pt x="1163" y="682"/>
                </a:lnTo>
                <a:lnTo>
                  <a:pt x="1167" y="678"/>
                </a:lnTo>
                <a:lnTo>
                  <a:pt x="1171" y="672"/>
                </a:lnTo>
                <a:lnTo>
                  <a:pt x="1178" y="661"/>
                </a:lnTo>
                <a:lnTo>
                  <a:pt x="1183" y="648"/>
                </a:lnTo>
                <a:lnTo>
                  <a:pt x="1187" y="635"/>
                </a:lnTo>
                <a:lnTo>
                  <a:pt x="1190" y="623"/>
                </a:lnTo>
                <a:lnTo>
                  <a:pt x="1200" y="620"/>
                </a:lnTo>
                <a:lnTo>
                  <a:pt x="1209" y="619"/>
                </a:lnTo>
                <a:lnTo>
                  <a:pt x="1219" y="618"/>
                </a:lnTo>
                <a:lnTo>
                  <a:pt x="1232" y="617"/>
                </a:lnTo>
                <a:lnTo>
                  <a:pt x="1278" y="617"/>
                </a:lnTo>
                <a:lnTo>
                  <a:pt x="1361" y="617"/>
                </a:lnTo>
                <a:lnTo>
                  <a:pt x="1356" y="626"/>
                </a:lnTo>
                <a:lnTo>
                  <a:pt x="1351" y="635"/>
                </a:lnTo>
                <a:lnTo>
                  <a:pt x="1343" y="643"/>
                </a:lnTo>
                <a:lnTo>
                  <a:pt x="1334" y="650"/>
                </a:lnTo>
                <a:lnTo>
                  <a:pt x="1324" y="657"/>
                </a:lnTo>
                <a:lnTo>
                  <a:pt x="1314" y="665"/>
                </a:lnTo>
                <a:lnTo>
                  <a:pt x="1305" y="674"/>
                </a:lnTo>
                <a:lnTo>
                  <a:pt x="1297" y="683"/>
                </a:lnTo>
                <a:lnTo>
                  <a:pt x="1294" y="697"/>
                </a:lnTo>
                <a:lnTo>
                  <a:pt x="1288" y="712"/>
                </a:lnTo>
                <a:lnTo>
                  <a:pt x="1286" y="726"/>
                </a:lnTo>
                <a:lnTo>
                  <a:pt x="1282" y="740"/>
                </a:lnTo>
                <a:lnTo>
                  <a:pt x="1248" y="739"/>
                </a:lnTo>
                <a:lnTo>
                  <a:pt x="1230" y="740"/>
                </a:lnTo>
                <a:lnTo>
                  <a:pt x="1218" y="741"/>
                </a:lnTo>
                <a:lnTo>
                  <a:pt x="1209" y="747"/>
                </a:lnTo>
                <a:lnTo>
                  <a:pt x="1216" y="774"/>
                </a:lnTo>
                <a:lnTo>
                  <a:pt x="1223" y="796"/>
                </a:lnTo>
                <a:lnTo>
                  <a:pt x="1227" y="805"/>
                </a:lnTo>
                <a:lnTo>
                  <a:pt x="1231" y="813"/>
                </a:lnTo>
                <a:lnTo>
                  <a:pt x="1236" y="819"/>
                </a:lnTo>
                <a:lnTo>
                  <a:pt x="1242" y="826"/>
                </a:lnTo>
                <a:lnTo>
                  <a:pt x="1248" y="830"/>
                </a:lnTo>
                <a:lnTo>
                  <a:pt x="1255" y="834"/>
                </a:lnTo>
                <a:lnTo>
                  <a:pt x="1261" y="838"/>
                </a:lnTo>
                <a:lnTo>
                  <a:pt x="1270" y="840"/>
                </a:lnTo>
                <a:lnTo>
                  <a:pt x="1290" y="843"/>
                </a:lnTo>
                <a:lnTo>
                  <a:pt x="1314" y="844"/>
                </a:lnTo>
                <a:lnTo>
                  <a:pt x="1320" y="852"/>
                </a:lnTo>
                <a:lnTo>
                  <a:pt x="1324" y="860"/>
                </a:lnTo>
                <a:lnTo>
                  <a:pt x="1329" y="865"/>
                </a:lnTo>
                <a:lnTo>
                  <a:pt x="1334" y="868"/>
                </a:lnTo>
                <a:lnTo>
                  <a:pt x="1339" y="870"/>
                </a:lnTo>
                <a:lnTo>
                  <a:pt x="1344" y="872"/>
                </a:lnTo>
                <a:lnTo>
                  <a:pt x="1350" y="872"/>
                </a:lnTo>
                <a:lnTo>
                  <a:pt x="1355" y="870"/>
                </a:lnTo>
                <a:lnTo>
                  <a:pt x="1365" y="865"/>
                </a:lnTo>
                <a:lnTo>
                  <a:pt x="1376" y="857"/>
                </a:lnTo>
                <a:lnTo>
                  <a:pt x="1387" y="847"/>
                </a:lnTo>
                <a:lnTo>
                  <a:pt x="1399" y="836"/>
                </a:lnTo>
                <a:lnTo>
                  <a:pt x="1438" y="836"/>
                </a:lnTo>
                <a:lnTo>
                  <a:pt x="1468" y="838"/>
                </a:lnTo>
                <a:lnTo>
                  <a:pt x="1481" y="839"/>
                </a:lnTo>
                <a:lnTo>
                  <a:pt x="1493" y="840"/>
                </a:lnTo>
                <a:lnTo>
                  <a:pt x="1503" y="843"/>
                </a:lnTo>
                <a:lnTo>
                  <a:pt x="1513" y="847"/>
                </a:lnTo>
                <a:lnTo>
                  <a:pt x="1523" y="851"/>
                </a:lnTo>
                <a:lnTo>
                  <a:pt x="1532" y="856"/>
                </a:lnTo>
                <a:lnTo>
                  <a:pt x="1541" y="864"/>
                </a:lnTo>
                <a:lnTo>
                  <a:pt x="1549" y="872"/>
                </a:lnTo>
                <a:lnTo>
                  <a:pt x="1568" y="892"/>
                </a:lnTo>
                <a:lnTo>
                  <a:pt x="1590" y="921"/>
                </a:lnTo>
                <a:lnTo>
                  <a:pt x="1598" y="924"/>
                </a:lnTo>
                <a:lnTo>
                  <a:pt x="1607" y="926"/>
                </a:lnTo>
                <a:lnTo>
                  <a:pt x="1616" y="927"/>
                </a:lnTo>
                <a:lnTo>
                  <a:pt x="1625" y="929"/>
                </a:lnTo>
                <a:lnTo>
                  <a:pt x="1642" y="929"/>
                </a:lnTo>
                <a:lnTo>
                  <a:pt x="1660" y="927"/>
                </a:lnTo>
                <a:lnTo>
                  <a:pt x="1696" y="921"/>
                </a:lnTo>
                <a:lnTo>
                  <a:pt x="1731" y="912"/>
                </a:lnTo>
                <a:lnTo>
                  <a:pt x="1749" y="908"/>
                </a:lnTo>
                <a:lnTo>
                  <a:pt x="1766" y="905"/>
                </a:lnTo>
                <a:lnTo>
                  <a:pt x="1784" y="904"/>
                </a:lnTo>
                <a:lnTo>
                  <a:pt x="1802" y="904"/>
                </a:lnTo>
                <a:lnTo>
                  <a:pt x="1810" y="905"/>
                </a:lnTo>
                <a:lnTo>
                  <a:pt x="1819" y="907"/>
                </a:lnTo>
                <a:lnTo>
                  <a:pt x="1828" y="909"/>
                </a:lnTo>
                <a:lnTo>
                  <a:pt x="1837" y="912"/>
                </a:lnTo>
                <a:lnTo>
                  <a:pt x="1847" y="916"/>
                </a:lnTo>
                <a:lnTo>
                  <a:pt x="1854" y="921"/>
                </a:lnTo>
                <a:lnTo>
                  <a:pt x="1863" y="926"/>
                </a:lnTo>
                <a:lnTo>
                  <a:pt x="1873" y="933"/>
                </a:lnTo>
                <a:lnTo>
                  <a:pt x="1871" y="948"/>
                </a:lnTo>
                <a:lnTo>
                  <a:pt x="1870" y="965"/>
                </a:lnTo>
                <a:lnTo>
                  <a:pt x="1869" y="981"/>
                </a:lnTo>
                <a:lnTo>
                  <a:pt x="1867" y="998"/>
                </a:lnTo>
                <a:lnTo>
                  <a:pt x="1853" y="1006"/>
                </a:lnTo>
                <a:lnTo>
                  <a:pt x="1841" y="1015"/>
                </a:lnTo>
                <a:lnTo>
                  <a:pt x="1831" y="1024"/>
                </a:lnTo>
                <a:lnTo>
                  <a:pt x="1822" y="1033"/>
                </a:lnTo>
                <a:lnTo>
                  <a:pt x="1814" y="1043"/>
                </a:lnTo>
                <a:lnTo>
                  <a:pt x="1809" y="1054"/>
                </a:lnTo>
                <a:lnTo>
                  <a:pt x="1806" y="1064"/>
                </a:lnTo>
                <a:lnTo>
                  <a:pt x="1805" y="1074"/>
                </a:lnTo>
                <a:lnTo>
                  <a:pt x="1805" y="1084"/>
                </a:lnTo>
                <a:lnTo>
                  <a:pt x="1807" y="1094"/>
                </a:lnTo>
                <a:lnTo>
                  <a:pt x="1813" y="1102"/>
                </a:lnTo>
                <a:lnTo>
                  <a:pt x="1821" y="1111"/>
                </a:lnTo>
                <a:lnTo>
                  <a:pt x="1830" y="1117"/>
                </a:lnTo>
                <a:lnTo>
                  <a:pt x="1841" y="1124"/>
                </a:lnTo>
                <a:lnTo>
                  <a:pt x="1856" y="1129"/>
                </a:lnTo>
                <a:lnTo>
                  <a:pt x="1873" y="1133"/>
                </a:lnTo>
                <a:lnTo>
                  <a:pt x="1874" y="1121"/>
                </a:lnTo>
                <a:lnTo>
                  <a:pt x="1876" y="1112"/>
                </a:lnTo>
                <a:lnTo>
                  <a:pt x="1879" y="1103"/>
                </a:lnTo>
                <a:lnTo>
                  <a:pt x="1882" y="1094"/>
                </a:lnTo>
                <a:lnTo>
                  <a:pt x="1889" y="1077"/>
                </a:lnTo>
                <a:lnTo>
                  <a:pt x="1901" y="1060"/>
                </a:lnTo>
                <a:lnTo>
                  <a:pt x="1918" y="1060"/>
                </a:lnTo>
                <a:lnTo>
                  <a:pt x="1932" y="1061"/>
                </a:lnTo>
                <a:lnTo>
                  <a:pt x="1945" y="1064"/>
                </a:lnTo>
                <a:lnTo>
                  <a:pt x="1961" y="1071"/>
                </a:lnTo>
                <a:lnTo>
                  <a:pt x="1987" y="1067"/>
                </a:lnTo>
                <a:lnTo>
                  <a:pt x="2013" y="1063"/>
                </a:lnTo>
                <a:lnTo>
                  <a:pt x="2039" y="1058"/>
                </a:lnTo>
                <a:lnTo>
                  <a:pt x="2066" y="1054"/>
                </a:lnTo>
                <a:lnTo>
                  <a:pt x="2070" y="1042"/>
                </a:lnTo>
                <a:lnTo>
                  <a:pt x="2073" y="1029"/>
                </a:lnTo>
                <a:lnTo>
                  <a:pt x="2075" y="1017"/>
                </a:lnTo>
                <a:lnTo>
                  <a:pt x="2077" y="1006"/>
                </a:lnTo>
                <a:lnTo>
                  <a:pt x="2077" y="994"/>
                </a:lnTo>
                <a:lnTo>
                  <a:pt x="2075" y="982"/>
                </a:lnTo>
                <a:lnTo>
                  <a:pt x="2072" y="972"/>
                </a:lnTo>
                <a:lnTo>
                  <a:pt x="2066" y="960"/>
                </a:lnTo>
                <a:lnTo>
                  <a:pt x="2069" y="924"/>
                </a:lnTo>
                <a:lnTo>
                  <a:pt x="2070" y="888"/>
                </a:lnTo>
                <a:lnTo>
                  <a:pt x="2073" y="853"/>
                </a:lnTo>
                <a:lnTo>
                  <a:pt x="2077" y="819"/>
                </a:lnTo>
                <a:lnTo>
                  <a:pt x="2099" y="821"/>
                </a:lnTo>
                <a:lnTo>
                  <a:pt x="2125" y="822"/>
                </a:lnTo>
                <a:lnTo>
                  <a:pt x="2138" y="822"/>
                </a:lnTo>
                <a:lnTo>
                  <a:pt x="2150" y="821"/>
                </a:lnTo>
                <a:lnTo>
                  <a:pt x="2155" y="819"/>
                </a:lnTo>
                <a:lnTo>
                  <a:pt x="2160" y="817"/>
                </a:lnTo>
                <a:lnTo>
                  <a:pt x="2165" y="814"/>
                </a:lnTo>
                <a:lnTo>
                  <a:pt x="2169" y="812"/>
                </a:lnTo>
                <a:lnTo>
                  <a:pt x="2178" y="812"/>
                </a:lnTo>
                <a:lnTo>
                  <a:pt x="2189" y="812"/>
                </a:lnTo>
                <a:lnTo>
                  <a:pt x="2200" y="812"/>
                </a:lnTo>
                <a:lnTo>
                  <a:pt x="2211" y="812"/>
                </a:lnTo>
                <a:lnTo>
                  <a:pt x="2220" y="826"/>
                </a:lnTo>
                <a:lnTo>
                  <a:pt x="2230" y="840"/>
                </a:lnTo>
                <a:lnTo>
                  <a:pt x="2264" y="860"/>
                </a:lnTo>
                <a:lnTo>
                  <a:pt x="2295" y="879"/>
                </a:lnTo>
                <a:lnTo>
                  <a:pt x="2325" y="900"/>
                </a:lnTo>
                <a:lnTo>
                  <a:pt x="2354" y="922"/>
                </a:lnTo>
                <a:lnTo>
                  <a:pt x="2381" y="947"/>
                </a:lnTo>
                <a:lnTo>
                  <a:pt x="2409" y="972"/>
                </a:lnTo>
                <a:lnTo>
                  <a:pt x="2433" y="1000"/>
                </a:lnTo>
                <a:lnTo>
                  <a:pt x="2457" y="1030"/>
                </a:lnTo>
                <a:lnTo>
                  <a:pt x="2464" y="1060"/>
                </a:lnTo>
                <a:lnTo>
                  <a:pt x="2472" y="1089"/>
                </a:lnTo>
                <a:lnTo>
                  <a:pt x="2480" y="1117"/>
                </a:lnTo>
                <a:lnTo>
                  <a:pt x="2488" y="1146"/>
                </a:lnTo>
                <a:lnTo>
                  <a:pt x="2481" y="1147"/>
                </a:lnTo>
                <a:lnTo>
                  <a:pt x="2475" y="1149"/>
                </a:lnTo>
                <a:lnTo>
                  <a:pt x="2467" y="1151"/>
                </a:lnTo>
                <a:lnTo>
                  <a:pt x="2461" y="1156"/>
                </a:lnTo>
                <a:lnTo>
                  <a:pt x="2446" y="1167"/>
                </a:lnTo>
                <a:lnTo>
                  <a:pt x="2433" y="1180"/>
                </a:lnTo>
                <a:lnTo>
                  <a:pt x="2420" y="1194"/>
                </a:lnTo>
                <a:lnTo>
                  <a:pt x="2411" y="1208"/>
                </a:lnTo>
                <a:lnTo>
                  <a:pt x="2403" y="1223"/>
                </a:lnTo>
                <a:lnTo>
                  <a:pt x="2399" y="1234"/>
                </a:lnTo>
                <a:lnTo>
                  <a:pt x="2409" y="1250"/>
                </a:lnTo>
                <a:lnTo>
                  <a:pt x="2416" y="1267"/>
                </a:lnTo>
                <a:lnTo>
                  <a:pt x="2423" y="1267"/>
                </a:lnTo>
                <a:lnTo>
                  <a:pt x="2431" y="1267"/>
                </a:lnTo>
                <a:lnTo>
                  <a:pt x="2442" y="1300"/>
                </a:lnTo>
                <a:lnTo>
                  <a:pt x="2451" y="1328"/>
                </a:lnTo>
                <a:lnTo>
                  <a:pt x="2454" y="1344"/>
                </a:lnTo>
                <a:lnTo>
                  <a:pt x="2455" y="1359"/>
                </a:lnTo>
                <a:lnTo>
                  <a:pt x="2457" y="1376"/>
                </a:lnTo>
                <a:lnTo>
                  <a:pt x="2455" y="1396"/>
                </a:lnTo>
                <a:lnTo>
                  <a:pt x="2431" y="1396"/>
                </a:lnTo>
                <a:lnTo>
                  <a:pt x="2409" y="1397"/>
                </a:lnTo>
                <a:lnTo>
                  <a:pt x="2388" y="1398"/>
                </a:lnTo>
                <a:lnTo>
                  <a:pt x="2370" y="1401"/>
                </a:lnTo>
                <a:lnTo>
                  <a:pt x="2351" y="1404"/>
                </a:lnTo>
                <a:lnTo>
                  <a:pt x="2334" y="1406"/>
                </a:lnTo>
                <a:lnTo>
                  <a:pt x="2319" y="1411"/>
                </a:lnTo>
                <a:lnTo>
                  <a:pt x="2303" y="1415"/>
                </a:lnTo>
                <a:lnTo>
                  <a:pt x="2288" y="1422"/>
                </a:lnTo>
                <a:lnTo>
                  <a:pt x="2273" y="1428"/>
                </a:lnTo>
                <a:lnTo>
                  <a:pt x="2258" y="1436"/>
                </a:lnTo>
                <a:lnTo>
                  <a:pt x="2243" y="1445"/>
                </a:lnTo>
                <a:lnTo>
                  <a:pt x="2212" y="1465"/>
                </a:lnTo>
                <a:lnTo>
                  <a:pt x="2177" y="1491"/>
                </a:lnTo>
                <a:lnTo>
                  <a:pt x="2150" y="1492"/>
                </a:lnTo>
                <a:lnTo>
                  <a:pt x="2125" y="1492"/>
                </a:lnTo>
                <a:lnTo>
                  <a:pt x="2113" y="1492"/>
                </a:lnTo>
                <a:lnTo>
                  <a:pt x="2103" y="1492"/>
                </a:lnTo>
                <a:lnTo>
                  <a:pt x="2095" y="1493"/>
                </a:lnTo>
                <a:lnTo>
                  <a:pt x="2089" y="1496"/>
                </a:lnTo>
                <a:lnTo>
                  <a:pt x="2085" y="1509"/>
                </a:lnTo>
                <a:lnTo>
                  <a:pt x="2079" y="1521"/>
                </a:lnTo>
                <a:lnTo>
                  <a:pt x="2075" y="1531"/>
                </a:lnTo>
                <a:lnTo>
                  <a:pt x="2070" y="1540"/>
                </a:lnTo>
                <a:lnTo>
                  <a:pt x="2065" y="1549"/>
                </a:lnTo>
                <a:lnTo>
                  <a:pt x="2059" y="1556"/>
                </a:lnTo>
                <a:lnTo>
                  <a:pt x="2052" y="1564"/>
                </a:lnTo>
                <a:lnTo>
                  <a:pt x="2046" y="1569"/>
                </a:lnTo>
                <a:lnTo>
                  <a:pt x="2039" y="1574"/>
                </a:lnTo>
                <a:lnTo>
                  <a:pt x="2033" y="1579"/>
                </a:lnTo>
                <a:lnTo>
                  <a:pt x="2025" y="1583"/>
                </a:lnTo>
                <a:lnTo>
                  <a:pt x="2017" y="1587"/>
                </a:lnTo>
                <a:lnTo>
                  <a:pt x="2000" y="1592"/>
                </a:lnTo>
                <a:lnTo>
                  <a:pt x="1982" y="1595"/>
                </a:lnTo>
                <a:lnTo>
                  <a:pt x="1943" y="1599"/>
                </a:lnTo>
                <a:lnTo>
                  <a:pt x="1901" y="1600"/>
                </a:lnTo>
                <a:lnTo>
                  <a:pt x="1878" y="1600"/>
                </a:lnTo>
                <a:lnTo>
                  <a:pt x="1856" y="1601"/>
                </a:lnTo>
                <a:lnTo>
                  <a:pt x="1831" y="1604"/>
                </a:lnTo>
                <a:lnTo>
                  <a:pt x="1807" y="1608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96" name="Freeform 61"/>
          <p:cNvSpPr>
            <a:spLocks/>
          </p:cNvSpPr>
          <p:nvPr/>
        </p:nvSpPr>
        <p:spPr bwMode="auto">
          <a:xfrm>
            <a:off x="1381125" y="2212975"/>
            <a:ext cx="349250" cy="274638"/>
          </a:xfrm>
          <a:custGeom>
            <a:avLst/>
            <a:gdLst>
              <a:gd name="T0" fmla="*/ 2147483647 w 879"/>
              <a:gd name="T1" fmla="*/ 2147483647 h 694"/>
              <a:gd name="T2" fmla="*/ 2147483647 w 879"/>
              <a:gd name="T3" fmla="*/ 2147483647 h 694"/>
              <a:gd name="T4" fmla="*/ 2147483647 w 879"/>
              <a:gd name="T5" fmla="*/ 2147483647 h 694"/>
              <a:gd name="T6" fmla="*/ 2147483647 w 879"/>
              <a:gd name="T7" fmla="*/ 2147483647 h 694"/>
              <a:gd name="T8" fmla="*/ 2147483647 w 879"/>
              <a:gd name="T9" fmla="*/ 2147483647 h 694"/>
              <a:gd name="T10" fmla="*/ 2147483647 w 879"/>
              <a:gd name="T11" fmla="*/ 2147483647 h 694"/>
              <a:gd name="T12" fmla="*/ 2147483647 w 879"/>
              <a:gd name="T13" fmla="*/ 2147483647 h 694"/>
              <a:gd name="T14" fmla="*/ 2147483647 w 879"/>
              <a:gd name="T15" fmla="*/ 2147483647 h 694"/>
              <a:gd name="T16" fmla="*/ 2147483647 w 879"/>
              <a:gd name="T17" fmla="*/ 2147483647 h 694"/>
              <a:gd name="T18" fmla="*/ 2147483647 w 879"/>
              <a:gd name="T19" fmla="*/ 2147483647 h 694"/>
              <a:gd name="T20" fmla="*/ 2147483647 w 879"/>
              <a:gd name="T21" fmla="*/ 2147483647 h 694"/>
              <a:gd name="T22" fmla="*/ 2147483647 w 879"/>
              <a:gd name="T23" fmla="*/ 2147483647 h 694"/>
              <a:gd name="T24" fmla="*/ 2147483647 w 879"/>
              <a:gd name="T25" fmla="*/ 2147483647 h 694"/>
              <a:gd name="T26" fmla="*/ 2147483647 w 879"/>
              <a:gd name="T27" fmla="*/ 2147483647 h 694"/>
              <a:gd name="T28" fmla="*/ 2147483647 w 879"/>
              <a:gd name="T29" fmla="*/ 2147483647 h 694"/>
              <a:gd name="T30" fmla="*/ 2147483647 w 879"/>
              <a:gd name="T31" fmla="*/ 2147483647 h 694"/>
              <a:gd name="T32" fmla="*/ 2147483647 w 879"/>
              <a:gd name="T33" fmla="*/ 2147483647 h 694"/>
              <a:gd name="T34" fmla="*/ 2147483647 w 879"/>
              <a:gd name="T35" fmla="*/ 2147483647 h 694"/>
              <a:gd name="T36" fmla="*/ 0 w 879"/>
              <a:gd name="T37" fmla="*/ 2147483647 h 694"/>
              <a:gd name="T38" fmla="*/ 2147483647 w 879"/>
              <a:gd name="T39" fmla="*/ 2147483647 h 694"/>
              <a:gd name="T40" fmla="*/ 2147483647 w 879"/>
              <a:gd name="T41" fmla="*/ 2147483647 h 694"/>
              <a:gd name="T42" fmla="*/ 2147483647 w 879"/>
              <a:gd name="T43" fmla="*/ 2147483647 h 694"/>
              <a:gd name="T44" fmla="*/ 2147483647 w 879"/>
              <a:gd name="T45" fmla="*/ 2147483647 h 694"/>
              <a:gd name="T46" fmla="*/ 2147483647 w 879"/>
              <a:gd name="T47" fmla="*/ 2147483647 h 694"/>
              <a:gd name="T48" fmla="*/ 2147483647 w 879"/>
              <a:gd name="T49" fmla="*/ 2147483647 h 694"/>
              <a:gd name="T50" fmla="*/ 2147483647 w 879"/>
              <a:gd name="T51" fmla="*/ 2147483647 h 694"/>
              <a:gd name="T52" fmla="*/ 2147483647 w 879"/>
              <a:gd name="T53" fmla="*/ 2147483647 h 694"/>
              <a:gd name="T54" fmla="*/ 2147483647 w 879"/>
              <a:gd name="T55" fmla="*/ 2147483647 h 694"/>
              <a:gd name="T56" fmla="*/ 2147483647 w 879"/>
              <a:gd name="T57" fmla="*/ 2147483647 h 694"/>
              <a:gd name="T58" fmla="*/ 2147483647 w 879"/>
              <a:gd name="T59" fmla="*/ 2147483647 h 694"/>
              <a:gd name="T60" fmla="*/ 2147483647 w 879"/>
              <a:gd name="T61" fmla="*/ 2147483647 h 694"/>
              <a:gd name="T62" fmla="*/ 2147483647 w 879"/>
              <a:gd name="T63" fmla="*/ 2147483647 h 694"/>
              <a:gd name="T64" fmla="*/ 2147483647 w 879"/>
              <a:gd name="T65" fmla="*/ 0 h 694"/>
              <a:gd name="T66" fmla="*/ 2147483647 w 879"/>
              <a:gd name="T67" fmla="*/ 2147483647 h 694"/>
              <a:gd name="T68" fmla="*/ 2147483647 w 879"/>
              <a:gd name="T69" fmla="*/ 2147483647 h 694"/>
              <a:gd name="T70" fmla="*/ 2147483647 w 879"/>
              <a:gd name="T71" fmla="*/ 2147483647 h 694"/>
              <a:gd name="T72" fmla="*/ 2147483647 w 879"/>
              <a:gd name="T73" fmla="*/ 2147483647 h 694"/>
              <a:gd name="T74" fmla="*/ 2147483647 w 879"/>
              <a:gd name="T75" fmla="*/ 2147483647 h 694"/>
              <a:gd name="T76" fmla="*/ 2147483647 w 879"/>
              <a:gd name="T77" fmla="*/ 2147483647 h 694"/>
              <a:gd name="T78" fmla="*/ 2147483647 w 879"/>
              <a:gd name="T79" fmla="*/ 2147483647 h 694"/>
              <a:gd name="T80" fmla="*/ 2147483647 w 879"/>
              <a:gd name="T81" fmla="*/ 2147483647 h 694"/>
              <a:gd name="T82" fmla="*/ 2147483647 w 879"/>
              <a:gd name="T83" fmla="*/ 2147483647 h 694"/>
              <a:gd name="T84" fmla="*/ 2147483647 w 879"/>
              <a:gd name="T85" fmla="*/ 2147483647 h 694"/>
              <a:gd name="T86" fmla="*/ 2147483647 w 879"/>
              <a:gd name="T87" fmla="*/ 2147483647 h 694"/>
              <a:gd name="T88" fmla="*/ 2147483647 w 879"/>
              <a:gd name="T89" fmla="*/ 2147483647 h 694"/>
              <a:gd name="T90" fmla="*/ 2147483647 w 879"/>
              <a:gd name="T91" fmla="*/ 2147483647 h 694"/>
              <a:gd name="T92" fmla="*/ 2147483647 w 879"/>
              <a:gd name="T93" fmla="*/ 2147483647 h 694"/>
              <a:gd name="T94" fmla="*/ 2147483647 w 879"/>
              <a:gd name="T95" fmla="*/ 2147483647 h 694"/>
              <a:gd name="T96" fmla="*/ 2147483647 w 879"/>
              <a:gd name="T97" fmla="*/ 2147483647 h 694"/>
              <a:gd name="T98" fmla="*/ 2147483647 w 879"/>
              <a:gd name="T99" fmla="*/ 2147483647 h 694"/>
              <a:gd name="T100" fmla="*/ 2147483647 w 879"/>
              <a:gd name="T101" fmla="*/ 2147483647 h 694"/>
              <a:gd name="T102" fmla="*/ 2147483647 w 879"/>
              <a:gd name="T103" fmla="*/ 2147483647 h 694"/>
              <a:gd name="T104" fmla="*/ 2147483647 w 879"/>
              <a:gd name="T105" fmla="*/ 2147483647 h 694"/>
              <a:gd name="T106" fmla="*/ 2147483647 w 879"/>
              <a:gd name="T107" fmla="*/ 2147483647 h 694"/>
              <a:gd name="T108" fmla="*/ 2147483647 w 879"/>
              <a:gd name="T109" fmla="*/ 2147483647 h 69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79"/>
              <a:gd name="T166" fmla="*/ 0 h 694"/>
              <a:gd name="T167" fmla="*/ 879 w 879"/>
              <a:gd name="T168" fmla="*/ 694 h 69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79" h="694">
                <a:moveTo>
                  <a:pt x="875" y="694"/>
                </a:moveTo>
                <a:lnTo>
                  <a:pt x="857" y="685"/>
                </a:lnTo>
                <a:lnTo>
                  <a:pt x="839" y="677"/>
                </a:lnTo>
                <a:lnTo>
                  <a:pt x="822" y="669"/>
                </a:lnTo>
                <a:lnTo>
                  <a:pt x="804" y="663"/>
                </a:lnTo>
                <a:lnTo>
                  <a:pt x="804" y="655"/>
                </a:lnTo>
                <a:lnTo>
                  <a:pt x="804" y="650"/>
                </a:lnTo>
                <a:lnTo>
                  <a:pt x="792" y="642"/>
                </a:lnTo>
                <a:lnTo>
                  <a:pt x="782" y="635"/>
                </a:lnTo>
                <a:lnTo>
                  <a:pt x="752" y="634"/>
                </a:lnTo>
                <a:lnTo>
                  <a:pt x="722" y="630"/>
                </a:lnTo>
                <a:lnTo>
                  <a:pt x="707" y="627"/>
                </a:lnTo>
                <a:lnTo>
                  <a:pt x="694" y="624"/>
                </a:lnTo>
                <a:lnTo>
                  <a:pt x="680" y="620"/>
                </a:lnTo>
                <a:lnTo>
                  <a:pt x="667" y="616"/>
                </a:lnTo>
                <a:lnTo>
                  <a:pt x="655" y="609"/>
                </a:lnTo>
                <a:lnTo>
                  <a:pt x="644" y="603"/>
                </a:lnTo>
                <a:lnTo>
                  <a:pt x="632" y="595"/>
                </a:lnTo>
                <a:lnTo>
                  <a:pt x="623" y="586"/>
                </a:lnTo>
                <a:lnTo>
                  <a:pt x="614" y="577"/>
                </a:lnTo>
                <a:lnTo>
                  <a:pt x="605" y="565"/>
                </a:lnTo>
                <a:lnTo>
                  <a:pt x="598" y="552"/>
                </a:lnTo>
                <a:lnTo>
                  <a:pt x="593" y="538"/>
                </a:lnTo>
                <a:lnTo>
                  <a:pt x="576" y="530"/>
                </a:lnTo>
                <a:lnTo>
                  <a:pt x="564" y="522"/>
                </a:lnTo>
                <a:lnTo>
                  <a:pt x="554" y="512"/>
                </a:lnTo>
                <a:lnTo>
                  <a:pt x="542" y="499"/>
                </a:lnTo>
                <a:lnTo>
                  <a:pt x="530" y="500"/>
                </a:lnTo>
                <a:lnTo>
                  <a:pt x="519" y="501"/>
                </a:lnTo>
                <a:lnTo>
                  <a:pt x="507" y="504"/>
                </a:lnTo>
                <a:lnTo>
                  <a:pt x="494" y="506"/>
                </a:lnTo>
                <a:lnTo>
                  <a:pt x="469" y="514"/>
                </a:lnTo>
                <a:lnTo>
                  <a:pt x="442" y="523"/>
                </a:lnTo>
                <a:lnTo>
                  <a:pt x="416" y="534"/>
                </a:lnTo>
                <a:lnTo>
                  <a:pt x="390" y="544"/>
                </a:lnTo>
                <a:lnTo>
                  <a:pt x="365" y="555"/>
                </a:lnTo>
                <a:lnTo>
                  <a:pt x="343" y="562"/>
                </a:lnTo>
                <a:lnTo>
                  <a:pt x="333" y="556"/>
                </a:lnTo>
                <a:lnTo>
                  <a:pt x="322" y="549"/>
                </a:lnTo>
                <a:lnTo>
                  <a:pt x="312" y="543"/>
                </a:lnTo>
                <a:lnTo>
                  <a:pt x="300" y="539"/>
                </a:lnTo>
                <a:lnTo>
                  <a:pt x="277" y="530"/>
                </a:lnTo>
                <a:lnTo>
                  <a:pt x="251" y="522"/>
                </a:lnTo>
                <a:lnTo>
                  <a:pt x="226" y="516"/>
                </a:lnTo>
                <a:lnTo>
                  <a:pt x="200" y="509"/>
                </a:lnTo>
                <a:lnTo>
                  <a:pt x="174" y="501"/>
                </a:lnTo>
                <a:lnTo>
                  <a:pt x="151" y="491"/>
                </a:lnTo>
                <a:lnTo>
                  <a:pt x="123" y="488"/>
                </a:lnTo>
                <a:lnTo>
                  <a:pt x="101" y="484"/>
                </a:lnTo>
                <a:lnTo>
                  <a:pt x="92" y="482"/>
                </a:lnTo>
                <a:lnTo>
                  <a:pt x="83" y="478"/>
                </a:lnTo>
                <a:lnTo>
                  <a:pt x="75" y="474"/>
                </a:lnTo>
                <a:lnTo>
                  <a:pt x="67" y="470"/>
                </a:lnTo>
                <a:lnTo>
                  <a:pt x="52" y="460"/>
                </a:lnTo>
                <a:lnTo>
                  <a:pt x="37" y="447"/>
                </a:lnTo>
                <a:lnTo>
                  <a:pt x="20" y="431"/>
                </a:lnTo>
                <a:lnTo>
                  <a:pt x="0" y="413"/>
                </a:lnTo>
                <a:lnTo>
                  <a:pt x="0" y="400"/>
                </a:lnTo>
                <a:lnTo>
                  <a:pt x="1" y="387"/>
                </a:lnTo>
                <a:lnTo>
                  <a:pt x="1" y="374"/>
                </a:lnTo>
                <a:lnTo>
                  <a:pt x="2" y="362"/>
                </a:lnTo>
                <a:lnTo>
                  <a:pt x="13" y="356"/>
                </a:lnTo>
                <a:lnTo>
                  <a:pt x="20" y="349"/>
                </a:lnTo>
                <a:lnTo>
                  <a:pt x="28" y="341"/>
                </a:lnTo>
                <a:lnTo>
                  <a:pt x="35" y="335"/>
                </a:lnTo>
                <a:lnTo>
                  <a:pt x="45" y="319"/>
                </a:lnTo>
                <a:lnTo>
                  <a:pt x="54" y="305"/>
                </a:lnTo>
                <a:lnTo>
                  <a:pt x="63" y="291"/>
                </a:lnTo>
                <a:lnTo>
                  <a:pt x="75" y="276"/>
                </a:lnTo>
                <a:lnTo>
                  <a:pt x="82" y="270"/>
                </a:lnTo>
                <a:lnTo>
                  <a:pt x="91" y="264"/>
                </a:lnTo>
                <a:lnTo>
                  <a:pt x="100" y="258"/>
                </a:lnTo>
                <a:lnTo>
                  <a:pt x="111" y="253"/>
                </a:lnTo>
                <a:lnTo>
                  <a:pt x="119" y="237"/>
                </a:lnTo>
                <a:lnTo>
                  <a:pt x="126" y="224"/>
                </a:lnTo>
                <a:lnTo>
                  <a:pt x="130" y="220"/>
                </a:lnTo>
                <a:lnTo>
                  <a:pt x="135" y="215"/>
                </a:lnTo>
                <a:lnTo>
                  <a:pt x="141" y="211"/>
                </a:lnTo>
                <a:lnTo>
                  <a:pt x="151" y="207"/>
                </a:lnTo>
                <a:lnTo>
                  <a:pt x="149" y="179"/>
                </a:lnTo>
                <a:lnTo>
                  <a:pt x="145" y="151"/>
                </a:lnTo>
                <a:lnTo>
                  <a:pt x="140" y="124"/>
                </a:lnTo>
                <a:lnTo>
                  <a:pt x="132" y="97"/>
                </a:lnTo>
                <a:lnTo>
                  <a:pt x="135" y="84"/>
                </a:lnTo>
                <a:lnTo>
                  <a:pt x="139" y="71"/>
                </a:lnTo>
                <a:lnTo>
                  <a:pt x="144" y="60"/>
                </a:lnTo>
                <a:lnTo>
                  <a:pt x="149" y="51"/>
                </a:lnTo>
                <a:lnTo>
                  <a:pt x="156" y="43"/>
                </a:lnTo>
                <a:lnTo>
                  <a:pt x="164" y="37"/>
                </a:lnTo>
                <a:lnTo>
                  <a:pt x="171" y="30"/>
                </a:lnTo>
                <a:lnTo>
                  <a:pt x="182" y="26"/>
                </a:lnTo>
                <a:lnTo>
                  <a:pt x="191" y="24"/>
                </a:lnTo>
                <a:lnTo>
                  <a:pt x="201" y="21"/>
                </a:lnTo>
                <a:lnTo>
                  <a:pt x="212" y="20"/>
                </a:lnTo>
                <a:lnTo>
                  <a:pt x="223" y="20"/>
                </a:lnTo>
                <a:lnTo>
                  <a:pt x="247" y="20"/>
                </a:lnTo>
                <a:lnTo>
                  <a:pt x="272" y="24"/>
                </a:lnTo>
                <a:lnTo>
                  <a:pt x="277" y="12"/>
                </a:lnTo>
                <a:lnTo>
                  <a:pt x="285" y="0"/>
                </a:lnTo>
                <a:lnTo>
                  <a:pt x="304" y="11"/>
                </a:lnTo>
                <a:lnTo>
                  <a:pt x="322" y="21"/>
                </a:lnTo>
                <a:lnTo>
                  <a:pt x="342" y="32"/>
                </a:lnTo>
                <a:lnTo>
                  <a:pt x="361" y="43"/>
                </a:lnTo>
                <a:lnTo>
                  <a:pt x="382" y="43"/>
                </a:lnTo>
                <a:lnTo>
                  <a:pt x="403" y="43"/>
                </a:lnTo>
                <a:lnTo>
                  <a:pt x="422" y="43"/>
                </a:lnTo>
                <a:lnTo>
                  <a:pt x="445" y="43"/>
                </a:lnTo>
                <a:lnTo>
                  <a:pt x="463" y="54"/>
                </a:lnTo>
                <a:lnTo>
                  <a:pt x="478" y="62"/>
                </a:lnTo>
                <a:lnTo>
                  <a:pt x="493" y="67"/>
                </a:lnTo>
                <a:lnTo>
                  <a:pt x="506" y="69"/>
                </a:lnTo>
                <a:lnTo>
                  <a:pt x="512" y="69"/>
                </a:lnTo>
                <a:lnTo>
                  <a:pt x="519" y="69"/>
                </a:lnTo>
                <a:lnTo>
                  <a:pt x="525" y="68"/>
                </a:lnTo>
                <a:lnTo>
                  <a:pt x="533" y="65"/>
                </a:lnTo>
                <a:lnTo>
                  <a:pt x="550" y="59"/>
                </a:lnTo>
                <a:lnTo>
                  <a:pt x="569" y="49"/>
                </a:lnTo>
                <a:lnTo>
                  <a:pt x="581" y="55"/>
                </a:lnTo>
                <a:lnTo>
                  <a:pt x="590" y="62"/>
                </a:lnTo>
                <a:lnTo>
                  <a:pt x="598" y="69"/>
                </a:lnTo>
                <a:lnTo>
                  <a:pt x="602" y="78"/>
                </a:lnTo>
                <a:lnTo>
                  <a:pt x="606" y="88"/>
                </a:lnTo>
                <a:lnTo>
                  <a:pt x="607" y="98"/>
                </a:lnTo>
                <a:lnTo>
                  <a:pt x="608" y="108"/>
                </a:lnTo>
                <a:lnTo>
                  <a:pt x="608" y="119"/>
                </a:lnTo>
                <a:lnTo>
                  <a:pt x="608" y="140"/>
                </a:lnTo>
                <a:lnTo>
                  <a:pt x="608" y="160"/>
                </a:lnTo>
                <a:lnTo>
                  <a:pt x="610" y="170"/>
                </a:lnTo>
                <a:lnTo>
                  <a:pt x="612" y="179"/>
                </a:lnTo>
                <a:lnTo>
                  <a:pt x="618" y="188"/>
                </a:lnTo>
                <a:lnTo>
                  <a:pt x="623" y="196"/>
                </a:lnTo>
                <a:lnTo>
                  <a:pt x="645" y="196"/>
                </a:lnTo>
                <a:lnTo>
                  <a:pt x="670" y="193"/>
                </a:lnTo>
                <a:lnTo>
                  <a:pt x="693" y="192"/>
                </a:lnTo>
                <a:lnTo>
                  <a:pt x="714" y="193"/>
                </a:lnTo>
                <a:lnTo>
                  <a:pt x="718" y="206"/>
                </a:lnTo>
                <a:lnTo>
                  <a:pt x="722" y="216"/>
                </a:lnTo>
                <a:lnTo>
                  <a:pt x="727" y="227"/>
                </a:lnTo>
                <a:lnTo>
                  <a:pt x="733" y="236"/>
                </a:lnTo>
                <a:lnTo>
                  <a:pt x="740" y="244"/>
                </a:lnTo>
                <a:lnTo>
                  <a:pt x="748" y="253"/>
                </a:lnTo>
                <a:lnTo>
                  <a:pt x="755" y="261"/>
                </a:lnTo>
                <a:lnTo>
                  <a:pt x="766" y="268"/>
                </a:lnTo>
                <a:lnTo>
                  <a:pt x="765" y="302"/>
                </a:lnTo>
                <a:lnTo>
                  <a:pt x="765" y="327"/>
                </a:lnTo>
                <a:lnTo>
                  <a:pt x="766" y="332"/>
                </a:lnTo>
                <a:lnTo>
                  <a:pt x="767" y="337"/>
                </a:lnTo>
                <a:lnTo>
                  <a:pt x="770" y="343"/>
                </a:lnTo>
                <a:lnTo>
                  <a:pt x="774" y="348"/>
                </a:lnTo>
                <a:lnTo>
                  <a:pt x="783" y="359"/>
                </a:lnTo>
                <a:lnTo>
                  <a:pt x="798" y="372"/>
                </a:lnTo>
                <a:lnTo>
                  <a:pt x="804" y="415"/>
                </a:lnTo>
                <a:lnTo>
                  <a:pt x="809" y="461"/>
                </a:lnTo>
                <a:lnTo>
                  <a:pt x="814" y="506"/>
                </a:lnTo>
                <a:lnTo>
                  <a:pt x="822" y="549"/>
                </a:lnTo>
                <a:lnTo>
                  <a:pt x="835" y="556"/>
                </a:lnTo>
                <a:lnTo>
                  <a:pt x="848" y="564"/>
                </a:lnTo>
                <a:lnTo>
                  <a:pt x="861" y="570"/>
                </a:lnTo>
                <a:lnTo>
                  <a:pt x="875" y="578"/>
                </a:lnTo>
                <a:lnTo>
                  <a:pt x="878" y="592"/>
                </a:lnTo>
                <a:lnTo>
                  <a:pt x="879" y="605"/>
                </a:lnTo>
                <a:lnTo>
                  <a:pt x="879" y="620"/>
                </a:lnTo>
                <a:lnTo>
                  <a:pt x="879" y="635"/>
                </a:lnTo>
                <a:lnTo>
                  <a:pt x="878" y="664"/>
                </a:lnTo>
                <a:lnTo>
                  <a:pt x="875" y="694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97" name="Freeform 62"/>
          <p:cNvSpPr>
            <a:spLocks/>
          </p:cNvSpPr>
          <p:nvPr/>
        </p:nvSpPr>
        <p:spPr bwMode="auto">
          <a:xfrm>
            <a:off x="1427163" y="1981200"/>
            <a:ext cx="484187" cy="409575"/>
          </a:xfrm>
          <a:custGeom>
            <a:avLst/>
            <a:gdLst>
              <a:gd name="T0" fmla="*/ 2147483647 w 1220"/>
              <a:gd name="T1" fmla="*/ 2147483647 h 1033"/>
              <a:gd name="T2" fmla="*/ 2147483647 w 1220"/>
              <a:gd name="T3" fmla="*/ 2147483647 h 1033"/>
              <a:gd name="T4" fmla="*/ 2147483647 w 1220"/>
              <a:gd name="T5" fmla="*/ 2147483647 h 1033"/>
              <a:gd name="T6" fmla="*/ 2147483647 w 1220"/>
              <a:gd name="T7" fmla="*/ 2147483647 h 1033"/>
              <a:gd name="T8" fmla="*/ 2147483647 w 1220"/>
              <a:gd name="T9" fmla="*/ 2147483647 h 1033"/>
              <a:gd name="T10" fmla="*/ 2147483647 w 1220"/>
              <a:gd name="T11" fmla="*/ 2147483647 h 1033"/>
              <a:gd name="T12" fmla="*/ 2147483647 w 1220"/>
              <a:gd name="T13" fmla="*/ 2147483647 h 1033"/>
              <a:gd name="T14" fmla="*/ 2147483647 w 1220"/>
              <a:gd name="T15" fmla="*/ 2147483647 h 1033"/>
              <a:gd name="T16" fmla="*/ 2147483647 w 1220"/>
              <a:gd name="T17" fmla="*/ 2147483647 h 1033"/>
              <a:gd name="T18" fmla="*/ 2147483647 w 1220"/>
              <a:gd name="T19" fmla="*/ 2147483647 h 1033"/>
              <a:gd name="T20" fmla="*/ 2147483647 w 1220"/>
              <a:gd name="T21" fmla="*/ 2147483647 h 1033"/>
              <a:gd name="T22" fmla="*/ 2147483647 w 1220"/>
              <a:gd name="T23" fmla="*/ 2147483647 h 1033"/>
              <a:gd name="T24" fmla="*/ 2147483647 w 1220"/>
              <a:gd name="T25" fmla="*/ 2147483647 h 1033"/>
              <a:gd name="T26" fmla="*/ 2147483647 w 1220"/>
              <a:gd name="T27" fmla="*/ 2147483647 h 1033"/>
              <a:gd name="T28" fmla="*/ 2147483647 w 1220"/>
              <a:gd name="T29" fmla="*/ 2147483647 h 1033"/>
              <a:gd name="T30" fmla="*/ 2147483647 w 1220"/>
              <a:gd name="T31" fmla="*/ 2147483647 h 1033"/>
              <a:gd name="T32" fmla="*/ 2147483647 w 1220"/>
              <a:gd name="T33" fmla="*/ 2147483647 h 1033"/>
              <a:gd name="T34" fmla="*/ 2147483647 w 1220"/>
              <a:gd name="T35" fmla="*/ 2147483647 h 1033"/>
              <a:gd name="T36" fmla="*/ 2147483647 w 1220"/>
              <a:gd name="T37" fmla="*/ 2147483647 h 1033"/>
              <a:gd name="T38" fmla="*/ 2147483647 w 1220"/>
              <a:gd name="T39" fmla="*/ 2147483647 h 1033"/>
              <a:gd name="T40" fmla="*/ 2147483647 w 1220"/>
              <a:gd name="T41" fmla="*/ 2147483647 h 1033"/>
              <a:gd name="T42" fmla="*/ 2147483647 w 1220"/>
              <a:gd name="T43" fmla="*/ 2147483647 h 1033"/>
              <a:gd name="T44" fmla="*/ 2147483647 w 1220"/>
              <a:gd name="T45" fmla="*/ 2147483647 h 1033"/>
              <a:gd name="T46" fmla="*/ 2147483647 w 1220"/>
              <a:gd name="T47" fmla="*/ 2147483647 h 1033"/>
              <a:gd name="T48" fmla="*/ 2147483647 w 1220"/>
              <a:gd name="T49" fmla="*/ 2147483647 h 1033"/>
              <a:gd name="T50" fmla="*/ 2147483647 w 1220"/>
              <a:gd name="T51" fmla="*/ 2147483647 h 1033"/>
              <a:gd name="T52" fmla="*/ 2147483647 w 1220"/>
              <a:gd name="T53" fmla="*/ 2147483647 h 1033"/>
              <a:gd name="T54" fmla="*/ 2147483647 w 1220"/>
              <a:gd name="T55" fmla="*/ 2147483647 h 1033"/>
              <a:gd name="T56" fmla="*/ 2147483647 w 1220"/>
              <a:gd name="T57" fmla="*/ 2147483647 h 1033"/>
              <a:gd name="T58" fmla="*/ 2147483647 w 1220"/>
              <a:gd name="T59" fmla="*/ 2147483647 h 1033"/>
              <a:gd name="T60" fmla="*/ 2147483647 w 1220"/>
              <a:gd name="T61" fmla="*/ 2147483647 h 1033"/>
              <a:gd name="T62" fmla="*/ 2147483647 w 1220"/>
              <a:gd name="T63" fmla="*/ 2147483647 h 1033"/>
              <a:gd name="T64" fmla="*/ 2147483647 w 1220"/>
              <a:gd name="T65" fmla="*/ 2147483647 h 1033"/>
              <a:gd name="T66" fmla="*/ 2147483647 w 1220"/>
              <a:gd name="T67" fmla="*/ 2147483647 h 1033"/>
              <a:gd name="T68" fmla="*/ 2147483647 w 1220"/>
              <a:gd name="T69" fmla="*/ 2147483647 h 1033"/>
              <a:gd name="T70" fmla="*/ 2147483647 w 1220"/>
              <a:gd name="T71" fmla="*/ 2147483647 h 1033"/>
              <a:gd name="T72" fmla="*/ 2147483647 w 1220"/>
              <a:gd name="T73" fmla="*/ 2147483647 h 1033"/>
              <a:gd name="T74" fmla="*/ 2147483647 w 1220"/>
              <a:gd name="T75" fmla="*/ 2147483647 h 1033"/>
              <a:gd name="T76" fmla="*/ 2147483647 w 1220"/>
              <a:gd name="T77" fmla="*/ 2147483647 h 1033"/>
              <a:gd name="T78" fmla="*/ 2147483647 w 1220"/>
              <a:gd name="T79" fmla="*/ 2147483647 h 1033"/>
              <a:gd name="T80" fmla="*/ 2147483647 w 1220"/>
              <a:gd name="T81" fmla="*/ 2147483647 h 1033"/>
              <a:gd name="T82" fmla="*/ 2147483647 w 1220"/>
              <a:gd name="T83" fmla="*/ 2147483647 h 1033"/>
              <a:gd name="T84" fmla="*/ 2147483647 w 1220"/>
              <a:gd name="T85" fmla="*/ 2147483647 h 1033"/>
              <a:gd name="T86" fmla="*/ 2147483647 w 1220"/>
              <a:gd name="T87" fmla="*/ 2147483647 h 1033"/>
              <a:gd name="T88" fmla="*/ 2147483647 w 1220"/>
              <a:gd name="T89" fmla="*/ 2147483647 h 1033"/>
              <a:gd name="T90" fmla="*/ 2147483647 w 1220"/>
              <a:gd name="T91" fmla="*/ 2147483647 h 1033"/>
              <a:gd name="T92" fmla="*/ 2147483647 w 1220"/>
              <a:gd name="T93" fmla="*/ 2147483647 h 1033"/>
              <a:gd name="T94" fmla="*/ 2147483647 w 1220"/>
              <a:gd name="T95" fmla="*/ 2147483647 h 1033"/>
              <a:gd name="T96" fmla="*/ 2147483647 w 1220"/>
              <a:gd name="T97" fmla="*/ 2147483647 h 1033"/>
              <a:gd name="T98" fmla="*/ 2147483647 w 1220"/>
              <a:gd name="T99" fmla="*/ 2147483647 h 1033"/>
              <a:gd name="T100" fmla="*/ 2147483647 w 1220"/>
              <a:gd name="T101" fmla="*/ 2147483647 h 1033"/>
              <a:gd name="T102" fmla="*/ 2147483647 w 1220"/>
              <a:gd name="T103" fmla="*/ 2147483647 h 1033"/>
              <a:gd name="T104" fmla="*/ 2147483647 w 1220"/>
              <a:gd name="T105" fmla="*/ 2147483647 h 1033"/>
              <a:gd name="T106" fmla="*/ 2147483647 w 1220"/>
              <a:gd name="T107" fmla="*/ 2147483647 h 1033"/>
              <a:gd name="T108" fmla="*/ 2147483647 w 1220"/>
              <a:gd name="T109" fmla="*/ 2147483647 h 1033"/>
              <a:gd name="T110" fmla="*/ 2147483647 w 1220"/>
              <a:gd name="T111" fmla="*/ 2147483647 h 1033"/>
              <a:gd name="T112" fmla="*/ 2147483647 w 1220"/>
              <a:gd name="T113" fmla="*/ 2147483647 h 1033"/>
              <a:gd name="T114" fmla="*/ 2147483647 w 1220"/>
              <a:gd name="T115" fmla="*/ 2147483647 h 103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220"/>
              <a:gd name="T175" fmla="*/ 0 h 1033"/>
              <a:gd name="T176" fmla="*/ 1220 w 1220"/>
              <a:gd name="T177" fmla="*/ 1033 h 1033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220" h="1033">
                <a:moveTo>
                  <a:pt x="818" y="1033"/>
                </a:moveTo>
                <a:lnTo>
                  <a:pt x="804" y="1027"/>
                </a:lnTo>
                <a:lnTo>
                  <a:pt x="791" y="1023"/>
                </a:lnTo>
                <a:lnTo>
                  <a:pt x="778" y="1020"/>
                </a:lnTo>
                <a:lnTo>
                  <a:pt x="768" y="1018"/>
                </a:lnTo>
                <a:lnTo>
                  <a:pt x="748" y="1014"/>
                </a:lnTo>
                <a:lnTo>
                  <a:pt x="733" y="1010"/>
                </a:lnTo>
                <a:lnTo>
                  <a:pt x="726" y="1008"/>
                </a:lnTo>
                <a:lnTo>
                  <a:pt x="721" y="1005"/>
                </a:lnTo>
                <a:lnTo>
                  <a:pt x="716" y="1000"/>
                </a:lnTo>
                <a:lnTo>
                  <a:pt x="710" y="993"/>
                </a:lnTo>
                <a:lnTo>
                  <a:pt x="707" y="984"/>
                </a:lnTo>
                <a:lnTo>
                  <a:pt x="703" y="974"/>
                </a:lnTo>
                <a:lnTo>
                  <a:pt x="699" y="961"/>
                </a:lnTo>
                <a:lnTo>
                  <a:pt x="696" y="944"/>
                </a:lnTo>
                <a:lnTo>
                  <a:pt x="688" y="939"/>
                </a:lnTo>
                <a:lnTo>
                  <a:pt x="683" y="934"/>
                </a:lnTo>
                <a:lnTo>
                  <a:pt x="678" y="928"/>
                </a:lnTo>
                <a:lnTo>
                  <a:pt x="675" y="923"/>
                </a:lnTo>
                <a:lnTo>
                  <a:pt x="673" y="918"/>
                </a:lnTo>
                <a:lnTo>
                  <a:pt x="670" y="913"/>
                </a:lnTo>
                <a:lnTo>
                  <a:pt x="670" y="908"/>
                </a:lnTo>
                <a:lnTo>
                  <a:pt x="669" y="902"/>
                </a:lnTo>
                <a:lnTo>
                  <a:pt x="670" y="879"/>
                </a:lnTo>
                <a:lnTo>
                  <a:pt x="669" y="848"/>
                </a:lnTo>
                <a:lnTo>
                  <a:pt x="648" y="828"/>
                </a:lnTo>
                <a:lnTo>
                  <a:pt x="632" y="810"/>
                </a:lnTo>
                <a:lnTo>
                  <a:pt x="626" y="801"/>
                </a:lnTo>
                <a:lnTo>
                  <a:pt x="619" y="791"/>
                </a:lnTo>
                <a:lnTo>
                  <a:pt x="613" y="778"/>
                </a:lnTo>
                <a:lnTo>
                  <a:pt x="608" y="763"/>
                </a:lnTo>
                <a:lnTo>
                  <a:pt x="583" y="763"/>
                </a:lnTo>
                <a:lnTo>
                  <a:pt x="558" y="763"/>
                </a:lnTo>
                <a:lnTo>
                  <a:pt x="535" y="763"/>
                </a:lnTo>
                <a:lnTo>
                  <a:pt x="511" y="763"/>
                </a:lnTo>
                <a:lnTo>
                  <a:pt x="511" y="742"/>
                </a:lnTo>
                <a:lnTo>
                  <a:pt x="513" y="718"/>
                </a:lnTo>
                <a:lnTo>
                  <a:pt x="511" y="694"/>
                </a:lnTo>
                <a:lnTo>
                  <a:pt x="509" y="671"/>
                </a:lnTo>
                <a:lnTo>
                  <a:pt x="506" y="659"/>
                </a:lnTo>
                <a:lnTo>
                  <a:pt x="502" y="650"/>
                </a:lnTo>
                <a:lnTo>
                  <a:pt x="497" y="641"/>
                </a:lnTo>
                <a:lnTo>
                  <a:pt x="491" y="633"/>
                </a:lnTo>
                <a:lnTo>
                  <a:pt x="481" y="627"/>
                </a:lnTo>
                <a:lnTo>
                  <a:pt x="472" y="621"/>
                </a:lnTo>
                <a:lnTo>
                  <a:pt x="459" y="619"/>
                </a:lnTo>
                <a:lnTo>
                  <a:pt x="446" y="618"/>
                </a:lnTo>
                <a:lnTo>
                  <a:pt x="428" y="629"/>
                </a:lnTo>
                <a:lnTo>
                  <a:pt x="415" y="636"/>
                </a:lnTo>
                <a:lnTo>
                  <a:pt x="405" y="640"/>
                </a:lnTo>
                <a:lnTo>
                  <a:pt x="388" y="645"/>
                </a:lnTo>
                <a:lnTo>
                  <a:pt x="368" y="633"/>
                </a:lnTo>
                <a:lnTo>
                  <a:pt x="350" y="624"/>
                </a:lnTo>
                <a:lnTo>
                  <a:pt x="333" y="618"/>
                </a:lnTo>
                <a:lnTo>
                  <a:pt x="315" y="612"/>
                </a:lnTo>
                <a:lnTo>
                  <a:pt x="298" y="610"/>
                </a:lnTo>
                <a:lnTo>
                  <a:pt x="279" y="608"/>
                </a:lnTo>
                <a:lnTo>
                  <a:pt x="258" y="607"/>
                </a:lnTo>
                <a:lnTo>
                  <a:pt x="234" y="606"/>
                </a:lnTo>
                <a:lnTo>
                  <a:pt x="216" y="593"/>
                </a:lnTo>
                <a:lnTo>
                  <a:pt x="200" y="584"/>
                </a:lnTo>
                <a:lnTo>
                  <a:pt x="193" y="580"/>
                </a:lnTo>
                <a:lnTo>
                  <a:pt x="184" y="577"/>
                </a:lnTo>
                <a:lnTo>
                  <a:pt x="174" y="576"/>
                </a:lnTo>
                <a:lnTo>
                  <a:pt x="163" y="575"/>
                </a:lnTo>
                <a:lnTo>
                  <a:pt x="158" y="582"/>
                </a:lnTo>
                <a:lnTo>
                  <a:pt x="151" y="590"/>
                </a:lnTo>
                <a:lnTo>
                  <a:pt x="141" y="590"/>
                </a:lnTo>
                <a:lnTo>
                  <a:pt x="129" y="590"/>
                </a:lnTo>
                <a:lnTo>
                  <a:pt x="117" y="590"/>
                </a:lnTo>
                <a:lnTo>
                  <a:pt x="107" y="590"/>
                </a:lnTo>
                <a:lnTo>
                  <a:pt x="103" y="572"/>
                </a:lnTo>
                <a:lnTo>
                  <a:pt x="99" y="554"/>
                </a:lnTo>
                <a:lnTo>
                  <a:pt x="90" y="549"/>
                </a:lnTo>
                <a:lnTo>
                  <a:pt x="81" y="545"/>
                </a:lnTo>
                <a:lnTo>
                  <a:pt x="78" y="536"/>
                </a:lnTo>
                <a:lnTo>
                  <a:pt x="78" y="528"/>
                </a:lnTo>
                <a:lnTo>
                  <a:pt x="82" y="517"/>
                </a:lnTo>
                <a:lnTo>
                  <a:pt x="89" y="500"/>
                </a:lnTo>
                <a:lnTo>
                  <a:pt x="94" y="500"/>
                </a:lnTo>
                <a:lnTo>
                  <a:pt x="99" y="500"/>
                </a:lnTo>
                <a:lnTo>
                  <a:pt x="103" y="485"/>
                </a:lnTo>
                <a:lnTo>
                  <a:pt x="104" y="471"/>
                </a:lnTo>
                <a:lnTo>
                  <a:pt x="104" y="456"/>
                </a:lnTo>
                <a:lnTo>
                  <a:pt x="102" y="442"/>
                </a:lnTo>
                <a:lnTo>
                  <a:pt x="98" y="428"/>
                </a:lnTo>
                <a:lnTo>
                  <a:pt x="92" y="415"/>
                </a:lnTo>
                <a:lnTo>
                  <a:pt x="86" y="402"/>
                </a:lnTo>
                <a:lnTo>
                  <a:pt x="78" y="389"/>
                </a:lnTo>
                <a:lnTo>
                  <a:pt x="63" y="361"/>
                </a:lnTo>
                <a:lnTo>
                  <a:pt x="47" y="335"/>
                </a:lnTo>
                <a:lnTo>
                  <a:pt x="40" y="322"/>
                </a:lnTo>
                <a:lnTo>
                  <a:pt x="34" y="308"/>
                </a:lnTo>
                <a:lnTo>
                  <a:pt x="29" y="294"/>
                </a:lnTo>
                <a:lnTo>
                  <a:pt x="25" y="279"/>
                </a:lnTo>
                <a:lnTo>
                  <a:pt x="12" y="273"/>
                </a:lnTo>
                <a:lnTo>
                  <a:pt x="0" y="268"/>
                </a:lnTo>
                <a:lnTo>
                  <a:pt x="20" y="257"/>
                </a:lnTo>
                <a:lnTo>
                  <a:pt x="37" y="249"/>
                </a:lnTo>
                <a:lnTo>
                  <a:pt x="52" y="244"/>
                </a:lnTo>
                <a:lnTo>
                  <a:pt x="68" y="239"/>
                </a:lnTo>
                <a:lnTo>
                  <a:pt x="82" y="236"/>
                </a:lnTo>
                <a:lnTo>
                  <a:pt x="99" y="235"/>
                </a:lnTo>
                <a:lnTo>
                  <a:pt x="118" y="235"/>
                </a:lnTo>
                <a:lnTo>
                  <a:pt x="142" y="235"/>
                </a:lnTo>
                <a:lnTo>
                  <a:pt x="154" y="221"/>
                </a:lnTo>
                <a:lnTo>
                  <a:pt x="160" y="212"/>
                </a:lnTo>
                <a:lnTo>
                  <a:pt x="164" y="203"/>
                </a:lnTo>
                <a:lnTo>
                  <a:pt x="169" y="191"/>
                </a:lnTo>
                <a:lnTo>
                  <a:pt x="184" y="191"/>
                </a:lnTo>
                <a:lnTo>
                  <a:pt x="198" y="191"/>
                </a:lnTo>
                <a:lnTo>
                  <a:pt x="200" y="200"/>
                </a:lnTo>
                <a:lnTo>
                  <a:pt x="203" y="212"/>
                </a:lnTo>
                <a:lnTo>
                  <a:pt x="217" y="209"/>
                </a:lnTo>
                <a:lnTo>
                  <a:pt x="232" y="208"/>
                </a:lnTo>
                <a:lnTo>
                  <a:pt x="247" y="205"/>
                </a:lnTo>
                <a:lnTo>
                  <a:pt x="262" y="204"/>
                </a:lnTo>
                <a:lnTo>
                  <a:pt x="262" y="208"/>
                </a:lnTo>
                <a:lnTo>
                  <a:pt x="266" y="213"/>
                </a:lnTo>
                <a:lnTo>
                  <a:pt x="269" y="219"/>
                </a:lnTo>
                <a:lnTo>
                  <a:pt x="276" y="225"/>
                </a:lnTo>
                <a:lnTo>
                  <a:pt x="292" y="239"/>
                </a:lnTo>
                <a:lnTo>
                  <a:pt x="311" y="252"/>
                </a:lnTo>
                <a:lnTo>
                  <a:pt x="350" y="279"/>
                </a:lnTo>
                <a:lnTo>
                  <a:pt x="376" y="299"/>
                </a:lnTo>
                <a:lnTo>
                  <a:pt x="385" y="317"/>
                </a:lnTo>
                <a:lnTo>
                  <a:pt x="396" y="337"/>
                </a:lnTo>
                <a:lnTo>
                  <a:pt x="405" y="357"/>
                </a:lnTo>
                <a:lnTo>
                  <a:pt x="415" y="377"/>
                </a:lnTo>
                <a:lnTo>
                  <a:pt x="433" y="377"/>
                </a:lnTo>
                <a:lnTo>
                  <a:pt x="453" y="377"/>
                </a:lnTo>
                <a:lnTo>
                  <a:pt x="458" y="361"/>
                </a:lnTo>
                <a:lnTo>
                  <a:pt x="462" y="346"/>
                </a:lnTo>
                <a:lnTo>
                  <a:pt x="463" y="331"/>
                </a:lnTo>
                <a:lnTo>
                  <a:pt x="466" y="317"/>
                </a:lnTo>
                <a:lnTo>
                  <a:pt x="466" y="304"/>
                </a:lnTo>
                <a:lnTo>
                  <a:pt x="465" y="292"/>
                </a:lnTo>
                <a:lnTo>
                  <a:pt x="463" y="279"/>
                </a:lnTo>
                <a:lnTo>
                  <a:pt x="459" y="268"/>
                </a:lnTo>
                <a:lnTo>
                  <a:pt x="455" y="257"/>
                </a:lnTo>
                <a:lnTo>
                  <a:pt x="450" y="247"/>
                </a:lnTo>
                <a:lnTo>
                  <a:pt x="444" y="236"/>
                </a:lnTo>
                <a:lnTo>
                  <a:pt x="436" y="226"/>
                </a:lnTo>
                <a:lnTo>
                  <a:pt x="427" y="216"/>
                </a:lnTo>
                <a:lnTo>
                  <a:pt x="418" y="206"/>
                </a:lnTo>
                <a:lnTo>
                  <a:pt x="406" y="196"/>
                </a:lnTo>
                <a:lnTo>
                  <a:pt x="394" y="187"/>
                </a:lnTo>
                <a:lnTo>
                  <a:pt x="394" y="164"/>
                </a:lnTo>
                <a:lnTo>
                  <a:pt x="394" y="140"/>
                </a:lnTo>
                <a:lnTo>
                  <a:pt x="394" y="118"/>
                </a:lnTo>
                <a:lnTo>
                  <a:pt x="394" y="95"/>
                </a:lnTo>
                <a:lnTo>
                  <a:pt x="413" y="82"/>
                </a:lnTo>
                <a:lnTo>
                  <a:pt x="429" y="72"/>
                </a:lnTo>
                <a:lnTo>
                  <a:pt x="446" y="65"/>
                </a:lnTo>
                <a:lnTo>
                  <a:pt x="467" y="58"/>
                </a:lnTo>
                <a:lnTo>
                  <a:pt x="475" y="44"/>
                </a:lnTo>
                <a:lnTo>
                  <a:pt x="484" y="32"/>
                </a:lnTo>
                <a:lnTo>
                  <a:pt x="493" y="23"/>
                </a:lnTo>
                <a:lnTo>
                  <a:pt x="502" y="15"/>
                </a:lnTo>
                <a:lnTo>
                  <a:pt x="513" y="9"/>
                </a:lnTo>
                <a:lnTo>
                  <a:pt x="523" y="5"/>
                </a:lnTo>
                <a:lnTo>
                  <a:pt x="534" y="2"/>
                </a:lnTo>
                <a:lnTo>
                  <a:pt x="545" y="0"/>
                </a:lnTo>
                <a:lnTo>
                  <a:pt x="569" y="0"/>
                </a:lnTo>
                <a:lnTo>
                  <a:pt x="596" y="1"/>
                </a:lnTo>
                <a:lnTo>
                  <a:pt x="625" y="4"/>
                </a:lnTo>
                <a:lnTo>
                  <a:pt x="657" y="6"/>
                </a:lnTo>
                <a:lnTo>
                  <a:pt x="655" y="23"/>
                </a:lnTo>
                <a:lnTo>
                  <a:pt x="652" y="40"/>
                </a:lnTo>
                <a:lnTo>
                  <a:pt x="651" y="56"/>
                </a:lnTo>
                <a:lnTo>
                  <a:pt x="651" y="72"/>
                </a:lnTo>
                <a:lnTo>
                  <a:pt x="651" y="104"/>
                </a:lnTo>
                <a:lnTo>
                  <a:pt x="649" y="136"/>
                </a:lnTo>
                <a:lnTo>
                  <a:pt x="649" y="152"/>
                </a:lnTo>
                <a:lnTo>
                  <a:pt x="648" y="167"/>
                </a:lnTo>
                <a:lnTo>
                  <a:pt x="645" y="183"/>
                </a:lnTo>
                <a:lnTo>
                  <a:pt x="643" y="199"/>
                </a:lnTo>
                <a:lnTo>
                  <a:pt x="638" y="214"/>
                </a:lnTo>
                <a:lnTo>
                  <a:pt x="632" y="230"/>
                </a:lnTo>
                <a:lnTo>
                  <a:pt x="625" y="245"/>
                </a:lnTo>
                <a:lnTo>
                  <a:pt x="615" y="261"/>
                </a:lnTo>
                <a:lnTo>
                  <a:pt x="612" y="286"/>
                </a:lnTo>
                <a:lnTo>
                  <a:pt x="606" y="308"/>
                </a:lnTo>
                <a:lnTo>
                  <a:pt x="600" y="329"/>
                </a:lnTo>
                <a:lnTo>
                  <a:pt x="592" y="350"/>
                </a:lnTo>
                <a:lnTo>
                  <a:pt x="584" y="369"/>
                </a:lnTo>
                <a:lnTo>
                  <a:pt x="574" y="389"/>
                </a:lnTo>
                <a:lnTo>
                  <a:pt x="562" y="408"/>
                </a:lnTo>
                <a:lnTo>
                  <a:pt x="549" y="429"/>
                </a:lnTo>
                <a:lnTo>
                  <a:pt x="537" y="433"/>
                </a:lnTo>
                <a:lnTo>
                  <a:pt x="526" y="435"/>
                </a:lnTo>
                <a:lnTo>
                  <a:pt x="517" y="439"/>
                </a:lnTo>
                <a:lnTo>
                  <a:pt x="509" y="443"/>
                </a:lnTo>
                <a:lnTo>
                  <a:pt x="504" y="450"/>
                </a:lnTo>
                <a:lnTo>
                  <a:pt x="500" y="458"/>
                </a:lnTo>
                <a:lnTo>
                  <a:pt x="497" y="468"/>
                </a:lnTo>
                <a:lnTo>
                  <a:pt x="496" y="481"/>
                </a:lnTo>
                <a:lnTo>
                  <a:pt x="514" y="498"/>
                </a:lnTo>
                <a:lnTo>
                  <a:pt x="530" y="513"/>
                </a:lnTo>
                <a:lnTo>
                  <a:pt x="539" y="520"/>
                </a:lnTo>
                <a:lnTo>
                  <a:pt x="548" y="526"/>
                </a:lnTo>
                <a:lnTo>
                  <a:pt x="557" y="532"/>
                </a:lnTo>
                <a:lnTo>
                  <a:pt x="569" y="534"/>
                </a:lnTo>
                <a:lnTo>
                  <a:pt x="584" y="528"/>
                </a:lnTo>
                <a:lnTo>
                  <a:pt x="597" y="525"/>
                </a:lnTo>
                <a:lnTo>
                  <a:pt x="608" y="524"/>
                </a:lnTo>
                <a:lnTo>
                  <a:pt x="617" y="525"/>
                </a:lnTo>
                <a:lnTo>
                  <a:pt x="625" y="529"/>
                </a:lnTo>
                <a:lnTo>
                  <a:pt x="631" y="536"/>
                </a:lnTo>
                <a:lnTo>
                  <a:pt x="638" y="542"/>
                </a:lnTo>
                <a:lnTo>
                  <a:pt x="643" y="550"/>
                </a:lnTo>
                <a:lnTo>
                  <a:pt x="652" y="568"/>
                </a:lnTo>
                <a:lnTo>
                  <a:pt x="662" y="585"/>
                </a:lnTo>
                <a:lnTo>
                  <a:pt x="669" y="593"/>
                </a:lnTo>
                <a:lnTo>
                  <a:pt x="677" y="601"/>
                </a:lnTo>
                <a:lnTo>
                  <a:pt x="686" y="606"/>
                </a:lnTo>
                <a:lnTo>
                  <a:pt x="696" y="610"/>
                </a:lnTo>
                <a:lnTo>
                  <a:pt x="699" y="602"/>
                </a:lnTo>
                <a:lnTo>
                  <a:pt x="703" y="595"/>
                </a:lnTo>
                <a:lnTo>
                  <a:pt x="707" y="589"/>
                </a:lnTo>
                <a:lnTo>
                  <a:pt x="712" y="582"/>
                </a:lnTo>
                <a:lnTo>
                  <a:pt x="722" y="572"/>
                </a:lnTo>
                <a:lnTo>
                  <a:pt x="735" y="563"/>
                </a:lnTo>
                <a:lnTo>
                  <a:pt x="749" y="556"/>
                </a:lnTo>
                <a:lnTo>
                  <a:pt x="765" y="551"/>
                </a:lnTo>
                <a:lnTo>
                  <a:pt x="781" y="547"/>
                </a:lnTo>
                <a:lnTo>
                  <a:pt x="799" y="543"/>
                </a:lnTo>
                <a:lnTo>
                  <a:pt x="834" y="539"/>
                </a:lnTo>
                <a:lnTo>
                  <a:pt x="870" y="536"/>
                </a:lnTo>
                <a:lnTo>
                  <a:pt x="887" y="533"/>
                </a:lnTo>
                <a:lnTo>
                  <a:pt x="904" y="530"/>
                </a:lnTo>
                <a:lnTo>
                  <a:pt x="920" y="526"/>
                </a:lnTo>
                <a:lnTo>
                  <a:pt x="934" y="521"/>
                </a:lnTo>
                <a:lnTo>
                  <a:pt x="949" y="525"/>
                </a:lnTo>
                <a:lnTo>
                  <a:pt x="962" y="530"/>
                </a:lnTo>
                <a:lnTo>
                  <a:pt x="973" y="537"/>
                </a:lnTo>
                <a:lnTo>
                  <a:pt x="985" y="543"/>
                </a:lnTo>
                <a:lnTo>
                  <a:pt x="997" y="550"/>
                </a:lnTo>
                <a:lnTo>
                  <a:pt x="1008" y="555"/>
                </a:lnTo>
                <a:lnTo>
                  <a:pt x="1015" y="558"/>
                </a:lnTo>
                <a:lnTo>
                  <a:pt x="1021" y="558"/>
                </a:lnTo>
                <a:lnTo>
                  <a:pt x="1029" y="559"/>
                </a:lnTo>
                <a:lnTo>
                  <a:pt x="1036" y="558"/>
                </a:lnTo>
                <a:lnTo>
                  <a:pt x="1036" y="541"/>
                </a:lnTo>
                <a:lnTo>
                  <a:pt x="1034" y="524"/>
                </a:lnTo>
                <a:lnTo>
                  <a:pt x="1034" y="508"/>
                </a:lnTo>
                <a:lnTo>
                  <a:pt x="1034" y="493"/>
                </a:lnTo>
                <a:lnTo>
                  <a:pt x="1045" y="491"/>
                </a:lnTo>
                <a:lnTo>
                  <a:pt x="1055" y="490"/>
                </a:lnTo>
                <a:lnTo>
                  <a:pt x="1084" y="517"/>
                </a:lnTo>
                <a:lnTo>
                  <a:pt x="1112" y="542"/>
                </a:lnTo>
                <a:lnTo>
                  <a:pt x="1128" y="554"/>
                </a:lnTo>
                <a:lnTo>
                  <a:pt x="1144" y="564"/>
                </a:lnTo>
                <a:lnTo>
                  <a:pt x="1161" y="573"/>
                </a:lnTo>
                <a:lnTo>
                  <a:pt x="1179" y="581"/>
                </a:lnTo>
                <a:lnTo>
                  <a:pt x="1181" y="593"/>
                </a:lnTo>
                <a:lnTo>
                  <a:pt x="1185" y="605"/>
                </a:lnTo>
                <a:lnTo>
                  <a:pt x="1191" y="615"/>
                </a:lnTo>
                <a:lnTo>
                  <a:pt x="1197" y="625"/>
                </a:lnTo>
                <a:lnTo>
                  <a:pt x="1210" y="646"/>
                </a:lnTo>
                <a:lnTo>
                  <a:pt x="1220" y="667"/>
                </a:lnTo>
                <a:lnTo>
                  <a:pt x="1171" y="703"/>
                </a:lnTo>
                <a:lnTo>
                  <a:pt x="1124" y="733"/>
                </a:lnTo>
                <a:lnTo>
                  <a:pt x="1114" y="741"/>
                </a:lnTo>
                <a:lnTo>
                  <a:pt x="1103" y="750"/>
                </a:lnTo>
                <a:lnTo>
                  <a:pt x="1094" y="759"/>
                </a:lnTo>
                <a:lnTo>
                  <a:pt x="1085" y="770"/>
                </a:lnTo>
                <a:lnTo>
                  <a:pt x="1077" y="780"/>
                </a:lnTo>
                <a:lnTo>
                  <a:pt x="1070" y="793"/>
                </a:lnTo>
                <a:lnTo>
                  <a:pt x="1062" y="806"/>
                </a:lnTo>
                <a:lnTo>
                  <a:pt x="1055" y="822"/>
                </a:lnTo>
                <a:lnTo>
                  <a:pt x="1029" y="828"/>
                </a:lnTo>
                <a:lnTo>
                  <a:pt x="1003" y="836"/>
                </a:lnTo>
                <a:lnTo>
                  <a:pt x="977" y="843"/>
                </a:lnTo>
                <a:lnTo>
                  <a:pt x="951" y="850"/>
                </a:lnTo>
                <a:lnTo>
                  <a:pt x="950" y="873"/>
                </a:lnTo>
                <a:lnTo>
                  <a:pt x="949" y="893"/>
                </a:lnTo>
                <a:lnTo>
                  <a:pt x="947" y="915"/>
                </a:lnTo>
                <a:lnTo>
                  <a:pt x="946" y="939"/>
                </a:lnTo>
                <a:lnTo>
                  <a:pt x="939" y="947"/>
                </a:lnTo>
                <a:lnTo>
                  <a:pt x="934" y="953"/>
                </a:lnTo>
                <a:lnTo>
                  <a:pt x="930" y="960"/>
                </a:lnTo>
                <a:lnTo>
                  <a:pt x="926" y="966"/>
                </a:lnTo>
                <a:lnTo>
                  <a:pt x="924" y="980"/>
                </a:lnTo>
                <a:lnTo>
                  <a:pt x="921" y="1000"/>
                </a:lnTo>
                <a:lnTo>
                  <a:pt x="907" y="1003"/>
                </a:lnTo>
                <a:lnTo>
                  <a:pt x="894" y="1007"/>
                </a:lnTo>
                <a:lnTo>
                  <a:pt x="882" y="1012"/>
                </a:lnTo>
                <a:lnTo>
                  <a:pt x="869" y="1017"/>
                </a:lnTo>
                <a:lnTo>
                  <a:pt x="856" y="1022"/>
                </a:lnTo>
                <a:lnTo>
                  <a:pt x="844" y="1027"/>
                </a:lnTo>
                <a:lnTo>
                  <a:pt x="831" y="1031"/>
                </a:lnTo>
                <a:lnTo>
                  <a:pt x="818" y="1033"/>
                </a:lnTo>
              </a:path>
            </a:pathLst>
          </a:custGeom>
          <a:solidFill>
            <a:srgbClr val="00FF00"/>
          </a:solidFill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98" name="Freeform 63"/>
          <p:cNvSpPr>
            <a:spLocks/>
          </p:cNvSpPr>
          <p:nvPr/>
        </p:nvSpPr>
        <p:spPr bwMode="auto">
          <a:xfrm>
            <a:off x="7642225" y="1219200"/>
            <a:ext cx="1317625" cy="1146175"/>
          </a:xfrm>
          <a:custGeom>
            <a:avLst/>
            <a:gdLst>
              <a:gd name="T0" fmla="*/ 2147483647 w 3317"/>
              <a:gd name="T1" fmla="*/ 2147483647 h 2888"/>
              <a:gd name="T2" fmla="*/ 2147483647 w 3317"/>
              <a:gd name="T3" fmla="*/ 2147483647 h 2888"/>
              <a:gd name="T4" fmla="*/ 2147483647 w 3317"/>
              <a:gd name="T5" fmla="*/ 2147483647 h 2888"/>
              <a:gd name="T6" fmla="*/ 2147483647 w 3317"/>
              <a:gd name="T7" fmla="*/ 2147483647 h 2888"/>
              <a:gd name="T8" fmla="*/ 2147483647 w 3317"/>
              <a:gd name="T9" fmla="*/ 2147483647 h 2888"/>
              <a:gd name="T10" fmla="*/ 2147483647 w 3317"/>
              <a:gd name="T11" fmla="*/ 2147483647 h 2888"/>
              <a:gd name="T12" fmla="*/ 2147483647 w 3317"/>
              <a:gd name="T13" fmla="*/ 2147483647 h 2888"/>
              <a:gd name="T14" fmla="*/ 2147483647 w 3317"/>
              <a:gd name="T15" fmla="*/ 2147483647 h 2888"/>
              <a:gd name="T16" fmla="*/ 2147483647 w 3317"/>
              <a:gd name="T17" fmla="*/ 2147483647 h 2888"/>
              <a:gd name="T18" fmla="*/ 2147483647 w 3317"/>
              <a:gd name="T19" fmla="*/ 2147483647 h 2888"/>
              <a:gd name="T20" fmla="*/ 2147483647 w 3317"/>
              <a:gd name="T21" fmla="*/ 2147483647 h 2888"/>
              <a:gd name="T22" fmla="*/ 2147483647 w 3317"/>
              <a:gd name="T23" fmla="*/ 2147483647 h 2888"/>
              <a:gd name="T24" fmla="*/ 2147483647 w 3317"/>
              <a:gd name="T25" fmla="*/ 2147483647 h 2888"/>
              <a:gd name="T26" fmla="*/ 2147483647 w 3317"/>
              <a:gd name="T27" fmla="*/ 2147483647 h 2888"/>
              <a:gd name="T28" fmla="*/ 2147483647 w 3317"/>
              <a:gd name="T29" fmla="*/ 2147483647 h 2888"/>
              <a:gd name="T30" fmla="*/ 2147483647 w 3317"/>
              <a:gd name="T31" fmla="*/ 2147483647 h 2888"/>
              <a:gd name="T32" fmla="*/ 2147483647 w 3317"/>
              <a:gd name="T33" fmla="*/ 2147483647 h 2888"/>
              <a:gd name="T34" fmla="*/ 2147483647 w 3317"/>
              <a:gd name="T35" fmla="*/ 2147483647 h 2888"/>
              <a:gd name="T36" fmla="*/ 2147483647 w 3317"/>
              <a:gd name="T37" fmla="*/ 2147483647 h 2888"/>
              <a:gd name="T38" fmla="*/ 2147483647 w 3317"/>
              <a:gd name="T39" fmla="*/ 2147483647 h 2888"/>
              <a:gd name="T40" fmla="*/ 2147483647 w 3317"/>
              <a:gd name="T41" fmla="*/ 2147483647 h 2888"/>
              <a:gd name="T42" fmla="*/ 2147483647 w 3317"/>
              <a:gd name="T43" fmla="*/ 2147483647 h 2888"/>
              <a:gd name="T44" fmla="*/ 2147483647 w 3317"/>
              <a:gd name="T45" fmla="*/ 2147483647 h 2888"/>
              <a:gd name="T46" fmla="*/ 2147483647 w 3317"/>
              <a:gd name="T47" fmla="*/ 2147483647 h 2888"/>
              <a:gd name="T48" fmla="*/ 2147483647 w 3317"/>
              <a:gd name="T49" fmla="*/ 2147483647 h 2888"/>
              <a:gd name="T50" fmla="*/ 2147483647 w 3317"/>
              <a:gd name="T51" fmla="*/ 2147483647 h 2888"/>
              <a:gd name="T52" fmla="*/ 2147483647 w 3317"/>
              <a:gd name="T53" fmla="*/ 2147483647 h 2888"/>
              <a:gd name="T54" fmla="*/ 2147483647 w 3317"/>
              <a:gd name="T55" fmla="*/ 2147483647 h 2888"/>
              <a:gd name="T56" fmla="*/ 2147483647 w 3317"/>
              <a:gd name="T57" fmla="*/ 2147483647 h 2888"/>
              <a:gd name="T58" fmla="*/ 2147483647 w 3317"/>
              <a:gd name="T59" fmla="*/ 2147483647 h 2888"/>
              <a:gd name="T60" fmla="*/ 2147483647 w 3317"/>
              <a:gd name="T61" fmla="*/ 2147483647 h 2888"/>
              <a:gd name="T62" fmla="*/ 2147483647 w 3317"/>
              <a:gd name="T63" fmla="*/ 2147483647 h 2888"/>
              <a:gd name="T64" fmla="*/ 2147483647 w 3317"/>
              <a:gd name="T65" fmla="*/ 2147483647 h 2888"/>
              <a:gd name="T66" fmla="*/ 2147483647 w 3317"/>
              <a:gd name="T67" fmla="*/ 2147483647 h 2888"/>
              <a:gd name="T68" fmla="*/ 2147483647 w 3317"/>
              <a:gd name="T69" fmla="*/ 2147483647 h 2888"/>
              <a:gd name="T70" fmla="*/ 2147483647 w 3317"/>
              <a:gd name="T71" fmla="*/ 2147483647 h 2888"/>
              <a:gd name="T72" fmla="*/ 2147483647 w 3317"/>
              <a:gd name="T73" fmla="*/ 2147483647 h 2888"/>
              <a:gd name="T74" fmla="*/ 2147483647 w 3317"/>
              <a:gd name="T75" fmla="*/ 2147483647 h 2888"/>
              <a:gd name="T76" fmla="*/ 2147483647 w 3317"/>
              <a:gd name="T77" fmla="*/ 2147483647 h 2888"/>
              <a:gd name="T78" fmla="*/ 2147483647 w 3317"/>
              <a:gd name="T79" fmla="*/ 2147483647 h 2888"/>
              <a:gd name="T80" fmla="*/ 2147483647 w 3317"/>
              <a:gd name="T81" fmla="*/ 2147483647 h 2888"/>
              <a:gd name="T82" fmla="*/ 2147483647 w 3317"/>
              <a:gd name="T83" fmla="*/ 2147483647 h 2888"/>
              <a:gd name="T84" fmla="*/ 2147483647 w 3317"/>
              <a:gd name="T85" fmla="*/ 2147483647 h 2888"/>
              <a:gd name="T86" fmla="*/ 2147483647 w 3317"/>
              <a:gd name="T87" fmla="*/ 2147483647 h 2888"/>
              <a:gd name="T88" fmla="*/ 2147483647 w 3317"/>
              <a:gd name="T89" fmla="*/ 2147483647 h 2888"/>
              <a:gd name="T90" fmla="*/ 2147483647 w 3317"/>
              <a:gd name="T91" fmla="*/ 2147483647 h 2888"/>
              <a:gd name="T92" fmla="*/ 2147483647 w 3317"/>
              <a:gd name="T93" fmla="*/ 2147483647 h 2888"/>
              <a:gd name="T94" fmla="*/ 2147483647 w 3317"/>
              <a:gd name="T95" fmla="*/ 2147483647 h 2888"/>
              <a:gd name="T96" fmla="*/ 2147483647 w 3317"/>
              <a:gd name="T97" fmla="*/ 2147483647 h 2888"/>
              <a:gd name="T98" fmla="*/ 2147483647 w 3317"/>
              <a:gd name="T99" fmla="*/ 2147483647 h 2888"/>
              <a:gd name="T100" fmla="*/ 2147483647 w 3317"/>
              <a:gd name="T101" fmla="*/ 2147483647 h 2888"/>
              <a:gd name="T102" fmla="*/ 2147483647 w 3317"/>
              <a:gd name="T103" fmla="*/ 2147483647 h 2888"/>
              <a:gd name="T104" fmla="*/ 2147483647 w 3317"/>
              <a:gd name="T105" fmla="*/ 2147483647 h 2888"/>
              <a:gd name="T106" fmla="*/ 2147483647 w 3317"/>
              <a:gd name="T107" fmla="*/ 2147483647 h 2888"/>
              <a:gd name="T108" fmla="*/ 2147483647 w 3317"/>
              <a:gd name="T109" fmla="*/ 2147483647 h 2888"/>
              <a:gd name="T110" fmla="*/ 2147483647 w 3317"/>
              <a:gd name="T111" fmla="*/ 2147483647 h 2888"/>
              <a:gd name="T112" fmla="*/ 2147483647 w 3317"/>
              <a:gd name="T113" fmla="*/ 2147483647 h 2888"/>
              <a:gd name="T114" fmla="*/ 2147483647 w 3317"/>
              <a:gd name="T115" fmla="*/ 2147483647 h 2888"/>
              <a:gd name="T116" fmla="*/ 2147483647 w 3317"/>
              <a:gd name="T117" fmla="*/ 2147483647 h 2888"/>
              <a:gd name="T118" fmla="*/ 2147483647 w 3317"/>
              <a:gd name="T119" fmla="*/ 2147483647 h 2888"/>
              <a:gd name="T120" fmla="*/ 2147483647 w 3317"/>
              <a:gd name="T121" fmla="*/ 2147483647 h 2888"/>
              <a:gd name="T122" fmla="*/ 2147483647 w 3317"/>
              <a:gd name="T123" fmla="*/ 2147483647 h 288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317"/>
              <a:gd name="T187" fmla="*/ 0 h 2888"/>
              <a:gd name="T188" fmla="*/ 3317 w 3317"/>
              <a:gd name="T189" fmla="*/ 2888 h 288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317" h="2888">
                <a:moveTo>
                  <a:pt x="504" y="2888"/>
                </a:moveTo>
                <a:lnTo>
                  <a:pt x="495" y="2878"/>
                </a:lnTo>
                <a:lnTo>
                  <a:pt x="487" y="2866"/>
                </a:lnTo>
                <a:lnTo>
                  <a:pt x="481" y="2855"/>
                </a:lnTo>
                <a:lnTo>
                  <a:pt x="476" y="2843"/>
                </a:lnTo>
                <a:lnTo>
                  <a:pt x="467" y="2818"/>
                </a:lnTo>
                <a:lnTo>
                  <a:pt x="457" y="2795"/>
                </a:lnTo>
                <a:lnTo>
                  <a:pt x="451" y="2784"/>
                </a:lnTo>
                <a:lnTo>
                  <a:pt x="444" y="2775"/>
                </a:lnTo>
                <a:lnTo>
                  <a:pt x="435" y="2767"/>
                </a:lnTo>
                <a:lnTo>
                  <a:pt x="426" y="2762"/>
                </a:lnTo>
                <a:lnTo>
                  <a:pt x="420" y="2760"/>
                </a:lnTo>
                <a:lnTo>
                  <a:pt x="413" y="2758"/>
                </a:lnTo>
                <a:lnTo>
                  <a:pt x="407" y="2757"/>
                </a:lnTo>
                <a:lnTo>
                  <a:pt x="399" y="2757"/>
                </a:lnTo>
                <a:lnTo>
                  <a:pt x="382" y="2757"/>
                </a:lnTo>
                <a:lnTo>
                  <a:pt x="361" y="2761"/>
                </a:lnTo>
                <a:lnTo>
                  <a:pt x="355" y="2752"/>
                </a:lnTo>
                <a:lnTo>
                  <a:pt x="348" y="2743"/>
                </a:lnTo>
                <a:lnTo>
                  <a:pt x="342" y="2735"/>
                </a:lnTo>
                <a:lnTo>
                  <a:pt x="334" y="2726"/>
                </a:lnTo>
                <a:lnTo>
                  <a:pt x="326" y="2719"/>
                </a:lnTo>
                <a:lnTo>
                  <a:pt x="317" y="2713"/>
                </a:lnTo>
                <a:lnTo>
                  <a:pt x="308" y="2708"/>
                </a:lnTo>
                <a:lnTo>
                  <a:pt x="297" y="2704"/>
                </a:lnTo>
                <a:lnTo>
                  <a:pt x="292" y="2687"/>
                </a:lnTo>
                <a:lnTo>
                  <a:pt x="290" y="2671"/>
                </a:lnTo>
                <a:lnTo>
                  <a:pt x="288" y="2648"/>
                </a:lnTo>
                <a:lnTo>
                  <a:pt x="288" y="2607"/>
                </a:lnTo>
                <a:lnTo>
                  <a:pt x="282" y="2598"/>
                </a:lnTo>
                <a:lnTo>
                  <a:pt x="275" y="2591"/>
                </a:lnTo>
                <a:lnTo>
                  <a:pt x="269" y="2583"/>
                </a:lnTo>
                <a:lnTo>
                  <a:pt x="261" y="2578"/>
                </a:lnTo>
                <a:lnTo>
                  <a:pt x="253" y="2572"/>
                </a:lnTo>
                <a:lnTo>
                  <a:pt x="245" y="2567"/>
                </a:lnTo>
                <a:lnTo>
                  <a:pt x="236" y="2565"/>
                </a:lnTo>
                <a:lnTo>
                  <a:pt x="227" y="2561"/>
                </a:lnTo>
                <a:lnTo>
                  <a:pt x="209" y="2557"/>
                </a:lnTo>
                <a:lnTo>
                  <a:pt x="191" y="2554"/>
                </a:lnTo>
                <a:lnTo>
                  <a:pt x="171" y="2552"/>
                </a:lnTo>
                <a:lnTo>
                  <a:pt x="152" y="2550"/>
                </a:lnTo>
                <a:lnTo>
                  <a:pt x="131" y="2548"/>
                </a:lnTo>
                <a:lnTo>
                  <a:pt x="111" y="2545"/>
                </a:lnTo>
                <a:lnTo>
                  <a:pt x="102" y="2542"/>
                </a:lnTo>
                <a:lnTo>
                  <a:pt x="93" y="2539"/>
                </a:lnTo>
                <a:lnTo>
                  <a:pt x="83" y="2536"/>
                </a:lnTo>
                <a:lnTo>
                  <a:pt x="74" y="2531"/>
                </a:lnTo>
                <a:lnTo>
                  <a:pt x="65" y="2526"/>
                </a:lnTo>
                <a:lnTo>
                  <a:pt x="57" y="2520"/>
                </a:lnTo>
                <a:lnTo>
                  <a:pt x="48" y="2513"/>
                </a:lnTo>
                <a:lnTo>
                  <a:pt x="40" y="2505"/>
                </a:lnTo>
                <a:lnTo>
                  <a:pt x="32" y="2496"/>
                </a:lnTo>
                <a:lnTo>
                  <a:pt x="24" y="2485"/>
                </a:lnTo>
                <a:lnTo>
                  <a:pt x="18" y="2473"/>
                </a:lnTo>
                <a:lnTo>
                  <a:pt x="11" y="2459"/>
                </a:lnTo>
                <a:lnTo>
                  <a:pt x="16" y="2450"/>
                </a:lnTo>
                <a:lnTo>
                  <a:pt x="22" y="2441"/>
                </a:lnTo>
                <a:lnTo>
                  <a:pt x="24" y="2433"/>
                </a:lnTo>
                <a:lnTo>
                  <a:pt x="27" y="2427"/>
                </a:lnTo>
                <a:lnTo>
                  <a:pt x="27" y="2420"/>
                </a:lnTo>
                <a:lnTo>
                  <a:pt x="27" y="2415"/>
                </a:lnTo>
                <a:lnTo>
                  <a:pt x="27" y="2410"/>
                </a:lnTo>
                <a:lnTo>
                  <a:pt x="26" y="2405"/>
                </a:lnTo>
                <a:lnTo>
                  <a:pt x="14" y="2382"/>
                </a:lnTo>
                <a:lnTo>
                  <a:pt x="0" y="2350"/>
                </a:lnTo>
                <a:lnTo>
                  <a:pt x="20" y="2323"/>
                </a:lnTo>
                <a:lnTo>
                  <a:pt x="42" y="2298"/>
                </a:lnTo>
                <a:lnTo>
                  <a:pt x="65" y="2272"/>
                </a:lnTo>
                <a:lnTo>
                  <a:pt x="88" y="2247"/>
                </a:lnTo>
                <a:lnTo>
                  <a:pt x="111" y="2221"/>
                </a:lnTo>
                <a:lnTo>
                  <a:pt x="134" y="2196"/>
                </a:lnTo>
                <a:lnTo>
                  <a:pt x="156" y="2170"/>
                </a:lnTo>
                <a:lnTo>
                  <a:pt x="175" y="2142"/>
                </a:lnTo>
                <a:lnTo>
                  <a:pt x="179" y="2142"/>
                </a:lnTo>
                <a:lnTo>
                  <a:pt x="183" y="2139"/>
                </a:lnTo>
                <a:lnTo>
                  <a:pt x="188" y="2134"/>
                </a:lnTo>
                <a:lnTo>
                  <a:pt x="193" y="2129"/>
                </a:lnTo>
                <a:lnTo>
                  <a:pt x="204" y="2116"/>
                </a:lnTo>
                <a:lnTo>
                  <a:pt x="214" y="2099"/>
                </a:lnTo>
                <a:lnTo>
                  <a:pt x="232" y="2065"/>
                </a:lnTo>
                <a:lnTo>
                  <a:pt x="244" y="2040"/>
                </a:lnTo>
                <a:lnTo>
                  <a:pt x="264" y="2030"/>
                </a:lnTo>
                <a:lnTo>
                  <a:pt x="279" y="2019"/>
                </a:lnTo>
                <a:lnTo>
                  <a:pt x="291" y="2010"/>
                </a:lnTo>
                <a:lnTo>
                  <a:pt x="300" y="2000"/>
                </a:lnTo>
                <a:lnTo>
                  <a:pt x="305" y="1991"/>
                </a:lnTo>
                <a:lnTo>
                  <a:pt x="308" y="1982"/>
                </a:lnTo>
                <a:lnTo>
                  <a:pt x="309" y="1971"/>
                </a:lnTo>
                <a:lnTo>
                  <a:pt x="308" y="1961"/>
                </a:lnTo>
                <a:lnTo>
                  <a:pt x="301" y="1939"/>
                </a:lnTo>
                <a:lnTo>
                  <a:pt x="291" y="1914"/>
                </a:lnTo>
                <a:lnTo>
                  <a:pt x="286" y="1900"/>
                </a:lnTo>
                <a:lnTo>
                  <a:pt x="282" y="1884"/>
                </a:lnTo>
                <a:lnTo>
                  <a:pt x="278" y="1869"/>
                </a:lnTo>
                <a:lnTo>
                  <a:pt x="275" y="1850"/>
                </a:lnTo>
                <a:lnTo>
                  <a:pt x="269" y="1839"/>
                </a:lnTo>
                <a:lnTo>
                  <a:pt x="262" y="1831"/>
                </a:lnTo>
                <a:lnTo>
                  <a:pt x="255" y="1824"/>
                </a:lnTo>
                <a:lnTo>
                  <a:pt x="248" y="1818"/>
                </a:lnTo>
                <a:lnTo>
                  <a:pt x="231" y="1811"/>
                </a:lnTo>
                <a:lnTo>
                  <a:pt x="216" y="1805"/>
                </a:lnTo>
                <a:lnTo>
                  <a:pt x="208" y="1802"/>
                </a:lnTo>
                <a:lnTo>
                  <a:pt x="200" y="1800"/>
                </a:lnTo>
                <a:lnTo>
                  <a:pt x="192" y="1796"/>
                </a:lnTo>
                <a:lnTo>
                  <a:pt x="186" y="1791"/>
                </a:lnTo>
                <a:lnTo>
                  <a:pt x="179" y="1784"/>
                </a:lnTo>
                <a:lnTo>
                  <a:pt x="173" y="1775"/>
                </a:lnTo>
                <a:lnTo>
                  <a:pt x="167" y="1764"/>
                </a:lnTo>
                <a:lnTo>
                  <a:pt x="163" y="1751"/>
                </a:lnTo>
                <a:lnTo>
                  <a:pt x="157" y="1750"/>
                </a:lnTo>
                <a:lnTo>
                  <a:pt x="150" y="1748"/>
                </a:lnTo>
                <a:lnTo>
                  <a:pt x="145" y="1744"/>
                </a:lnTo>
                <a:lnTo>
                  <a:pt x="140" y="1740"/>
                </a:lnTo>
                <a:lnTo>
                  <a:pt x="130" y="1731"/>
                </a:lnTo>
                <a:lnTo>
                  <a:pt x="122" y="1720"/>
                </a:lnTo>
                <a:lnTo>
                  <a:pt x="106" y="1696"/>
                </a:lnTo>
                <a:lnTo>
                  <a:pt x="92" y="1671"/>
                </a:lnTo>
                <a:lnTo>
                  <a:pt x="105" y="1664"/>
                </a:lnTo>
                <a:lnTo>
                  <a:pt x="115" y="1657"/>
                </a:lnTo>
                <a:lnTo>
                  <a:pt x="123" y="1649"/>
                </a:lnTo>
                <a:lnTo>
                  <a:pt x="128" y="1641"/>
                </a:lnTo>
                <a:lnTo>
                  <a:pt x="137" y="1623"/>
                </a:lnTo>
                <a:lnTo>
                  <a:pt x="148" y="1598"/>
                </a:lnTo>
                <a:lnTo>
                  <a:pt x="179" y="1573"/>
                </a:lnTo>
                <a:lnTo>
                  <a:pt x="196" y="1559"/>
                </a:lnTo>
                <a:lnTo>
                  <a:pt x="206" y="1550"/>
                </a:lnTo>
                <a:lnTo>
                  <a:pt x="213" y="1541"/>
                </a:lnTo>
                <a:lnTo>
                  <a:pt x="234" y="1536"/>
                </a:lnTo>
                <a:lnTo>
                  <a:pt x="252" y="1529"/>
                </a:lnTo>
                <a:lnTo>
                  <a:pt x="271" y="1523"/>
                </a:lnTo>
                <a:lnTo>
                  <a:pt x="290" y="1515"/>
                </a:lnTo>
                <a:lnTo>
                  <a:pt x="325" y="1498"/>
                </a:lnTo>
                <a:lnTo>
                  <a:pt x="360" y="1480"/>
                </a:lnTo>
                <a:lnTo>
                  <a:pt x="394" y="1460"/>
                </a:lnTo>
                <a:lnTo>
                  <a:pt x="428" y="1439"/>
                </a:lnTo>
                <a:lnTo>
                  <a:pt x="463" y="1417"/>
                </a:lnTo>
                <a:lnTo>
                  <a:pt x="498" y="1396"/>
                </a:lnTo>
                <a:lnTo>
                  <a:pt x="504" y="1379"/>
                </a:lnTo>
                <a:lnTo>
                  <a:pt x="507" y="1361"/>
                </a:lnTo>
                <a:lnTo>
                  <a:pt x="510" y="1342"/>
                </a:lnTo>
                <a:lnTo>
                  <a:pt x="512" y="1322"/>
                </a:lnTo>
                <a:lnTo>
                  <a:pt x="513" y="1304"/>
                </a:lnTo>
                <a:lnTo>
                  <a:pt x="517" y="1286"/>
                </a:lnTo>
                <a:lnTo>
                  <a:pt x="520" y="1278"/>
                </a:lnTo>
                <a:lnTo>
                  <a:pt x="524" y="1270"/>
                </a:lnTo>
                <a:lnTo>
                  <a:pt x="528" y="1264"/>
                </a:lnTo>
                <a:lnTo>
                  <a:pt x="533" y="1257"/>
                </a:lnTo>
                <a:lnTo>
                  <a:pt x="554" y="1265"/>
                </a:lnTo>
                <a:lnTo>
                  <a:pt x="568" y="1269"/>
                </a:lnTo>
                <a:lnTo>
                  <a:pt x="585" y="1271"/>
                </a:lnTo>
                <a:lnTo>
                  <a:pt x="611" y="1275"/>
                </a:lnTo>
                <a:lnTo>
                  <a:pt x="632" y="1291"/>
                </a:lnTo>
                <a:lnTo>
                  <a:pt x="651" y="1304"/>
                </a:lnTo>
                <a:lnTo>
                  <a:pt x="660" y="1310"/>
                </a:lnTo>
                <a:lnTo>
                  <a:pt x="670" y="1314"/>
                </a:lnTo>
                <a:lnTo>
                  <a:pt x="679" y="1318"/>
                </a:lnTo>
                <a:lnTo>
                  <a:pt x="688" y="1322"/>
                </a:lnTo>
                <a:lnTo>
                  <a:pt x="698" y="1323"/>
                </a:lnTo>
                <a:lnTo>
                  <a:pt x="707" y="1325"/>
                </a:lnTo>
                <a:lnTo>
                  <a:pt x="718" y="1325"/>
                </a:lnTo>
                <a:lnTo>
                  <a:pt x="728" y="1322"/>
                </a:lnTo>
                <a:lnTo>
                  <a:pt x="739" y="1320"/>
                </a:lnTo>
                <a:lnTo>
                  <a:pt x="750" y="1316"/>
                </a:lnTo>
                <a:lnTo>
                  <a:pt x="762" y="1310"/>
                </a:lnTo>
                <a:lnTo>
                  <a:pt x="775" y="1304"/>
                </a:lnTo>
                <a:lnTo>
                  <a:pt x="789" y="1305"/>
                </a:lnTo>
                <a:lnTo>
                  <a:pt x="802" y="1307"/>
                </a:lnTo>
                <a:lnTo>
                  <a:pt x="815" y="1310"/>
                </a:lnTo>
                <a:lnTo>
                  <a:pt x="828" y="1314"/>
                </a:lnTo>
                <a:lnTo>
                  <a:pt x="852" y="1323"/>
                </a:lnTo>
                <a:lnTo>
                  <a:pt x="873" y="1330"/>
                </a:lnTo>
                <a:lnTo>
                  <a:pt x="883" y="1333"/>
                </a:lnTo>
                <a:lnTo>
                  <a:pt x="893" y="1333"/>
                </a:lnTo>
                <a:lnTo>
                  <a:pt x="902" y="1330"/>
                </a:lnTo>
                <a:lnTo>
                  <a:pt x="910" y="1326"/>
                </a:lnTo>
                <a:lnTo>
                  <a:pt x="919" y="1320"/>
                </a:lnTo>
                <a:lnTo>
                  <a:pt x="927" y="1309"/>
                </a:lnTo>
                <a:lnTo>
                  <a:pt x="935" y="1296"/>
                </a:lnTo>
                <a:lnTo>
                  <a:pt x="943" y="1279"/>
                </a:lnTo>
                <a:lnTo>
                  <a:pt x="943" y="1253"/>
                </a:lnTo>
                <a:lnTo>
                  <a:pt x="943" y="1227"/>
                </a:lnTo>
                <a:lnTo>
                  <a:pt x="943" y="1201"/>
                </a:lnTo>
                <a:lnTo>
                  <a:pt x="943" y="1176"/>
                </a:lnTo>
                <a:lnTo>
                  <a:pt x="925" y="1156"/>
                </a:lnTo>
                <a:lnTo>
                  <a:pt x="915" y="1143"/>
                </a:lnTo>
                <a:lnTo>
                  <a:pt x="910" y="1135"/>
                </a:lnTo>
                <a:lnTo>
                  <a:pt x="908" y="1124"/>
                </a:lnTo>
                <a:lnTo>
                  <a:pt x="882" y="1114"/>
                </a:lnTo>
                <a:lnTo>
                  <a:pt x="859" y="1105"/>
                </a:lnTo>
                <a:lnTo>
                  <a:pt x="839" y="1097"/>
                </a:lnTo>
                <a:lnTo>
                  <a:pt x="818" y="1092"/>
                </a:lnTo>
                <a:lnTo>
                  <a:pt x="798" y="1088"/>
                </a:lnTo>
                <a:lnTo>
                  <a:pt x="776" y="1084"/>
                </a:lnTo>
                <a:lnTo>
                  <a:pt x="753" y="1083"/>
                </a:lnTo>
                <a:lnTo>
                  <a:pt x="725" y="1080"/>
                </a:lnTo>
                <a:lnTo>
                  <a:pt x="724" y="1048"/>
                </a:lnTo>
                <a:lnTo>
                  <a:pt x="722" y="1014"/>
                </a:lnTo>
                <a:lnTo>
                  <a:pt x="719" y="1005"/>
                </a:lnTo>
                <a:lnTo>
                  <a:pt x="716" y="997"/>
                </a:lnTo>
                <a:lnTo>
                  <a:pt x="714" y="990"/>
                </a:lnTo>
                <a:lnTo>
                  <a:pt x="709" y="984"/>
                </a:lnTo>
                <a:lnTo>
                  <a:pt x="705" y="977"/>
                </a:lnTo>
                <a:lnTo>
                  <a:pt x="698" y="972"/>
                </a:lnTo>
                <a:lnTo>
                  <a:pt x="690" y="968"/>
                </a:lnTo>
                <a:lnTo>
                  <a:pt x="683" y="966"/>
                </a:lnTo>
                <a:lnTo>
                  <a:pt x="681" y="948"/>
                </a:lnTo>
                <a:lnTo>
                  <a:pt x="681" y="931"/>
                </a:lnTo>
                <a:lnTo>
                  <a:pt x="731" y="911"/>
                </a:lnTo>
                <a:lnTo>
                  <a:pt x="779" y="892"/>
                </a:lnTo>
                <a:lnTo>
                  <a:pt x="804" y="881"/>
                </a:lnTo>
                <a:lnTo>
                  <a:pt x="827" y="869"/>
                </a:lnTo>
                <a:lnTo>
                  <a:pt x="850" y="858"/>
                </a:lnTo>
                <a:lnTo>
                  <a:pt x="874" y="846"/>
                </a:lnTo>
                <a:lnTo>
                  <a:pt x="896" y="832"/>
                </a:lnTo>
                <a:lnTo>
                  <a:pt x="917" y="819"/>
                </a:lnTo>
                <a:lnTo>
                  <a:pt x="938" y="803"/>
                </a:lnTo>
                <a:lnTo>
                  <a:pt x="957" y="788"/>
                </a:lnTo>
                <a:lnTo>
                  <a:pt x="977" y="771"/>
                </a:lnTo>
                <a:lnTo>
                  <a:pt x="995" y="752"/>
                </a:lnTo>
                <a:lnTo>
                  <a:pt x="1012" y="733"/>
                </a:lnTo>
                <a:lnTo>
                  <a:pt x="1027" y="712"/>
                </a:lnTo>
                <a:lnTo>
                  <a:pt x="1056" y="685"/>
                </a:lnTo>
                <a:lnTo>
                  <a:pt x="1083" y="657"/>
                </a:lnTo>
                <a:lnTo>
                  <a:pt x="1109" y="634"/>
                </a:lnTo>
                <a:lnTo>
                  <a:pt x="1130" y="616"/>
                </a:lnTo>
                <a:lnTo>
                  <a:pt x="1185" y="595"/>
                </a:lnTo>
                <a:lnTo>
                  <a:pt x="1238" y="573"/>
                </a:lnTo>
                <a:lnTo>
                  <a:pt x="1291" y="549"/>
                </a:lnTo>
                <a:lnTo>
                  <a:pt x="1345" y="526"/>
                </a:lnTo>
                <a:lnTo>
                  <a:pt x="1398" y="504"/>
                </a:lnTo>
                <a:lnTo>
                  <a:pt x="1451" y="482"/>
                </a:lnTo>
                <a:lnTo>
                  <a:pt x="1506" y="461"/>
                </a:lnTo>
                <a:lnTo>
                  <a:pt x="1562" y="443"/>
                </a:lnTo>
                <a:lnTo>
                  <a:pt x="1587" y="440"/>
                </a:lnTo>
                <a:lnTo>
                  <a:pt x="1615" y="439"/>
                </a:lnTo>
                <a:lnTo>
                  <a:pt x="1647" y="436"/>
                </a:lnTo>
                <a:lnTo>
                  <a:pt x="1678" y="432"/>
                </a:lnTo>
                <a:lnTo>
                  <a:pt x="1708" y="427"/>
                </a:lnTo>
                <a:lnTo>
                  <a:pt x="1738" y="421"/>
                </a:lnTo>
                <a:lnTo>
                  <a:pt x="1752" y="415"/>
                </a:lnTo>
                <a:lnTo>
                  <a:pt x="1765" y="410"/>
                </a:lnTo>
                <a:lnTo>
                  <a:pt x="1777" y="405"/>
                </a:lnTo>
                <a:lnTo>
                  <a:pt x="1788" y="399"/>
                </a:lnTo>
                <a:lnTo>
                  <a:pt x="1805" y="405"/>
                </a:lnTo>
                <a:lnTo>
                  <a:pt x="1821" y="409"/>
                </a:lnTo>
                <a:lnTo>
                  <a:pt x="1838" y="410"/>
                </a:lnTo>
                <a:lnTo>
                  <a:pt x="1856" y="410"/>
                </a:lnTo>
                <a:lnTo>
                  <a:pt x="1873" y="409"/>
                </a:lnTo>
                <a:lnTo>
                  <a:pt x="1890" y="405"/>
                </a:lnTo>
                <a:lnTo>
                  <a:pt x="1908" y="400"/>
                </a:lnTo>
                <a:lnTo>
                  <a:pt x="1925" y="395"/>
                </a:lnTo>
                <a:lnTo>
                  <a:pt x="1960" y="380"/>
                </a:lnTo>
                <a:lnTo>
                  <a:pt x="1995" y="366"/>
                </a:lnTo>
                <a:lnTo>
                  <a:pt x="2029" y="352"/>
                </a:lnTo>
                <a:lnTo>
                  <a:pt x="2062" y="340"/>
                </a:lnTo>
                <a:lnTo>
                  <a:pt x="2129" y="336"/>
                </a:lnTo>
                <a:lnTo>
                  <a:pt x="2167" y="332"/>
                </a:lnTo>
                <a:lnTo>
                  <a:pt x="2188" y="330"/>
                </a:lnTo>
                <a:lnTo>
                  <a:pt x="2207" y="324"/>
                </a:lnTo>
                <a:lnTo>
                  <a:pt x="2211" y="336"/>
                </a:lnTo>
                <a:lnTo>
                  <a:pt x="2215" y="350"/>
                </a:lnTo>
                <a:lnTo>
                  <a:pt x="2242" y="350"/>
                </a:lnTo>
                <a:lnTo>
                  <a:pt x="2270" y="349"/>
                </a:lnTo>
                <a:lnTo>
                  <a:pt x="2275" y="348"/>
                </a:lnTo>
                <a:lnTo>
                  <a:pt x="2281" y="345"/>
                </a:lnTo>
                <a:lnTo>
                  <a:pt x="2287" y="343"/>
                </a:lnTo>
                <a:lnTo>
                  <a:pt x="2291" y="339"/>
                </a:lnTo>
                <a:lnTo>
                  <a:pt x="2296" y="335"/>
                </a:lnTo>
                <a:lnTo>
                  <a:pt x="2298" y="330"/>
                </a:lnTo>
                <a:lnTo>
                  <a:pt x="2302" y="324"/>
                </a:lnTo>
                <a:lnTo>
                  <a:pt x="2304" y="317"/>
                </a:lnTo>
                <a:lnTo>
                  <a:pt x="2284" y="314"/>
                </a:lnTo>
                <a:lnTo>
                  <a:pt x="2266" y="311"/>
                </a:lnTo>
                <a:lnTo>
                  <a:pt x="2268" y="297"/>
                </a:lnTo>
                <a:lnTo>
                  <a:pt x="2271" y="284"/>
                </a:lnTo>
                <a:lnTo>
                  <a:pt x="2287" y="280"/>
                </a:lnTo>
                <a:lnTo>
                  <a:pt x="2298" y="279"/>
                </a:lnTo>
                <a:lnTo>
                  <a:pt x="2310" y="279"/>
                </a:lnTo>
                <a:lnTo>
                  <a:pt x="2319" y="281"/>
                </a:lnTo>
                <a:lnTo>
                  <a:pt x="2339" y="292"/>
                </a:lnTo>
                <a:lnTo>
                  <a:pt x="2362" y="307"/>
                </a:lnTo>
                <a:lnTo>
                  <a:pt x="2376" y="306"/>
                </a:lnTo>
                <a:lnTo>
                  <a:pt x="2392" y="305"/>
                </a:lnTo>
                <a:lnTo>
                  <a:pt x="2408" y="304"/>
                </a:lnTo>
                <a:lnTo>
                  <a:pt x="2423" y="304"/>
                </a:lnTo>
                <a:lnTo>
                  <a:pt x="2442" y="319"/>
                </a:lnTo>
                <a:lnTo>
                  <a:pt x="2461" y="333"/>
                </a:lnTo>
                <a:lnTo>
                  <a:pt x="2481" y="348"/>
                </a:lnTo>
                <a:lnTo>
                  <a:pt x="2500" y="362"/>
                </a:lnTo>
                <a:lnTo>
                  <a:pt x="2542" y="389"/>
                </a:lnTo>
                <a:lnTo>
                  <a:pt x="2581" y="417"/>
                </a:lnTo>
                <a:lnTo>
                  <a:pt x="2604" y="417"/>
                </a:lnTo>
                <a:lnTo>
                  <a:pt x="2629" y="417"/>
                </a:lnTo>
                <a:lnTo>
                  <a:pt x="2652" y="417"/>
                </a:lnTo>
                <a:lnTo>
                  <a:pt x="2677" y="417"/>
                </a:lnTo>
                <a:lnTo>
                  <a:pt x="2689" y="405"/>
                </a:lnTo>
                <a:lnTo>
                  <a:pt x="2699" y="395"/>
                </a:lnTo>
                <a:lnTo>
                  <a:pt x="2704" y="391"/>
                </a:lnTo>
                <a:lnTo>
                  <a:pt x="2711" y="388"/>
                </a:lnTo>
                <a:lnTo>
                  <a:pt x="2719" y="386"/>
                </a:lnTo>
                <a:lnTo>
                  <a:pt x="2728" y="383"/>
                </a:lnTo>
                <a:lnTo>
                  <a:pt x="2720" y="366"/>
                </a:lnTo>
                <a:lnTo>
                  <a:pt x="2713" y="352"/>
                </a:lnTo>
                <a:lnTo>
                  <a:pt x="2700" y="348"/>
                </a:lnTo>
                <a:lnTo>
                  <a:pt x="2687" y="343"/>
                </a:lnTo>
                <a:lnTo>
                  <a:pt x="2676" y="336"/>
                </a:lnTo>
                <a:lnTo>
                  <a:pt x="2664" y="330"/>
                </a:lnTo>
                <a:lnTo>
                  <a:pt x="2642" y="314"/>
                </a:lnTo>
                <a:lnTo>
                  <a:pt x="2621" y="297"/>
                </a:lnTo>
                <a:lnTo>
                  <a:pt x="2609" y="289"/>
                </a:lnTo>
                <a:lnTo>
                  <a:pt x="2598" y="283"/>
                </a:lnTo>
                <a:lnTo>
                  <a:pt x="2586" y="278"/>
                </a:lnTo>
                <a:lnTo>
                  <a:pt x="2574" y="272"/>
                </a:lnTo>
                <a:lnTo>
                  <a:pt x="2561" y="270"/>
                </a:lnTo>
                <a:lnTo>
                  <a:pt x="2547" y="268"/>
                </a:lnTo>
                <a:lnTo>
                  <a:pt x="2531" y="270"/>
                </a:lnTo>
                <a:lnTo>
                  <a:pt x="2516" y="272"/>
                </a:lnTo>
                <a:lnTo>
                  <a:pt x="2522" y="262"/>
                </a:lnTo>
                <a:lnTo>
                  <a:pt x="2530" y="253"/>
                </a:lnTo>
                <a:lnTo>
                  <a:pt x="2538" y="242"/>
                </a:lnTo>
                <a:lnTo>
                  <a:pt x="2548" y="233"/>
                </a:lnTo>
                <a:lnTo>
                  <a:pt x="2570" y="215"/>
                </a:lnTo>
                <a:lnTo>
                  <a:pt x="2595" y="200"/>
                </a:lnTo>
                <a:lnTo>
                  <a:pt x="2621" y="184"/>
                </a:lnTo>
                <a:lnTo>
                  <a:pt x="2646" y="168"/>
                </a:lnTo>
                <a:lnTo>
                  <a:pt x="2670" y="153"/>
                </a:lnTo>
                <a:lnTo>
                  <a:pt x="2690" y="138"/>
                </a:lnTo>
                <a:lnTo>
                  <a:pt x="2703" y="114"/>
                </a:lnTo>
                <a:lnTo>
                  <a:pt x="2712" y="95"/>
                </a:lnTo>
                <a:lnTo>
                  <a:pt x="2716" y="88"/>
                </a:lnTo>
                <a:lnTo>
                  <a:pt x="2720" y="81"/>
                </a:lnTo>
                <a:lnTo>
                  <a:pt x="2725" y="76"/>
                </a:lnTo>
                <a:lnTo>
                  <a:pt x="2729" y="71"/>
                </a:lnTo>
                <a:lnTo>
                  <a:pt x="2734" y="68"/>
                </a:lnTo>
                <a:lnTo>
                  <a:pt x="2741" y="64"/>
                </a:lnTo>
                <a:lnTo>
                  <a:pt x="2747" y="63"/>
                </a:lnTo>
                <a:lnTo>
                  <a:pt x="2756" y="60"/>
                </a:lnTo>
                <a:lnTo>
                  <a:pt x="2776" y="59"/>
                </a:lnTo>
                <a:lnTo>
                  <a:pt x="2804" y="58"/>
                </a:lnTo>
                <a:lnTo>
                  <a:pt x="2818" y="60"/>
                </a:lnTo>
                <a:lnTo>
                  <a:pt x="2832" y="63"/>
                </a:lnTo>
                <a:lnTo>
                  <a:pt x="2849" y="63"/>
                </a:lnTo>
                <a:lnTo>
                  <a:pt x="2864" y="62"/>
                </a:lnTo>
                <a:lnTo>
                  <a:pt x="2881" y="60"/>
                </a:lnTo>
                <a:lnTo>
                  <a:pt x="2899" y="56"/>
                </a:lnTo>
                <a:lnTo>
                  <a:pt x="2918" y="53"/>
                </a:lnTo>
                <a:lnTo>
                  <a:pt x="2935" y="49"/>
                </a:lnTo>
                <a:lnTo>
                  <a:pt x="2971" y="37"/>
                </a:lnTo>
                <a:lnTo>
                  <a:pt x="3005" y="25"/>
                </a:lnTo>
                <a:lnTo>
                  <a:pt x="3035" y="12"/>
                </a:lnTo>
                <a:lnTo>
                  <a:pt x="3062" y="0"/>
                </a:lnTo>
                <a:lnTo>
                  <a:pt x="3079" y="0"/>
                </a:lnTo>
                <a:lnTo>
                  <a:pt x="3096" y="2"/>
                </a:lnTo>
                <a:lnTo>
                  <a:pt x="3101" y="10"/>
                </a:lnTo>
                <a:lnTo>
                  <a:pt x="3105" y="19"/>
                </a:lnTo>
                <a:lnTo>
                  <a:pt x="3106" y="26"/>
                </a:lnTo>
                <a:lnTo>
                  <a:pt x="3108" y="34"/>
                </a:lnTo>
                <a:lnTo>
                  <a:pt x="3106" y="51"/>
                </a:lnTo>
                <a:lnTo>
                  <a:pt x="3101" y="68"/>
                </a:lnTo>
                <a:lnTo>
                  <a:pt x="3097" y="84"/>
                </a:lnTo>
                <a:lnTo>
                  <a:pt x="3093" y="101"/>
                </a:lnTo>
                <a:lnTo>
                  <a:pt x="3091" y="108"/>
                </a:lnTo>
                <a:lnTo>
                  <a:pt x="3091" y="116"/>
                </a:lnTo>
                <a:lnTo>
                  <a:pt x="3091" y="124"/>
                </a:lnTo>
                <a:lnTo>
                  <a:pt x="3092" y="133"/>
                </a:lnTo>
                <a:lnTo>
                  <a:pt x="3112" y="137"/>
                </a:lnTo>
                <a:lnTo>
                  <a:pt x="3123" y="141"/>
                </a:lnTo>
                <a:lnTo>
                  <a:pt x="3131" y="144"/>
                </a:lnTo>
                <a:lnTo>
                  <a:pt x="3139" y="150"/>
                </a:lnTo>
                <a:lnTo>
                  <a:pt x="3139" y="163"/>
                </a:lnTo>
                <a:lnTo>
                  <a:pt x="3139" y="177"/>
                </a:lnTo>
                <a:lnTo>
                  <a:pt x="3119" y="184"/>
                </a:lnTo>
                <a:lnTo>
                  <a:pt x="3100" y="193"/>
                </a:lnTo>
                <a:lnTo>
                  <a:pt x="3080" y="201"/>
                </a:lnTo>
                <a:lnTo>
                  <a:pt x="3062" y="210"/>
                </a:lnTo>
                <a:lnTo>
                  <a:pt x="3063" y="218"/>
                </a:lnTo>
                <a:lnTo>
                  <a:pt x="3066" y="228"/>
                </a:lnTo>
                <a:lnTo>
                  <a:pt x="3082" y="231"/>
                </a:lnTo>
                <a:lnTo>
                  <a:pt x="3097" y="232"/>
                </a:lnTo>
                <a:lnTo>
                  <a:pt x="3114" y="233"/>
                </a:lnTo>
                <a:lnTo>
                  <a:pt x="3131" y="235"/>
                </a:lnTo>
                <a:lnTo>
                  <a:pt x="3121" y="253"/>
                </a:lnTo>
                <a:lnTo>
                  <a:pt x="3109" y="271"/>
                </a:lnTo>
                <a:lnTo>
                  <a:pt x="3096" y="288"/>
                </a:lnTo>
                <a:lnTo>
                  <a:pt x="3082" y="304"/>
                </a:lnTo>
                <a:lnTo>
                  <a:pt x="3065" y="318"/>
                </a:lnTo>
                <a:lnTo>
                  <a:pt x="3048" y="331"/>
                </a:lnTo>
                <a:lnTo>
                  <a:pt x="3028" y="343"/>
                </a:lnTo>
                <a:lnTo>
                  <a:pt x="3007" y="354"/>
                </a:lnTo>
                <a:lnTo>
                  <a:pt x="3005" y="363"/>
                </a:lnTo>
                <a:lnTo>
                  <a:pt x="3004" y="375"/>
                </a:lnTo>
                <a:lnTo>
                  <a:pt x="3022" y="376"/>
                </a:lnTo>
                <a:lnTo>
                  <a:pt x="3040" y="379"/>
                </a:lnTo>
                <a:lnTo>
                  <a:pt x="3058" y="382"/>
                </a:lnTo>
                <a:lnTo>
                  <a:pt x="3076" y="386"/>
                </a:lnTo>
                <a:lnTo>
                  <a:pt x="3093" y="389"/>
                </a:lnTo>
                <a:lnTo>
                  <a:pt x="3110" y="396"/>
                </a:lnTo>
                <a:lnTo>
                  <a:pt x="3126" y="402"/>
                </a:lnTo>
                <a:lnTo>
                  <a:pt x="3140" y="410"/>
                </a:lnTo>
                <a:lnTo>
                  <a:pt x="3153" y="421"/>
                </a:lnTo>
                <a:lnTo>
                  <a:pt x="3164" y="431"/>
                </a:lnTo>
                <a:lnTo>
                  <a:pt x="3167" y="436"/>
                </a:lnTo>
                <a:lnTo>
                  <a:pt x="3171" y="443"/>
                </a:lnTo>
                <a:lnTo>
                  <a:pt x="3174" y="449"/>
                </a:lnTo>
                <a:lnTo>
                  <a:pt x="3175" y="457"/>
                </a:lnTo>
                <a:lnTo>
                  <a:pt x="3177" y="465"/>
                </a:lnTo>
                <a:lnTo>
                  <a:pt x="3178" y="473"/>
                </a:lnTo>
                <a:lnTo>
                  <a:pt x="3177" y="480"/>
                </a:lnTo>
                <a:lnTo>
                  <a:pt x="3175" y="490"/>
                </a:lnTo>
                <a:lnTo>
                  <a:pt x="3174" y="499"/>
                </a:lnTo>
                <a:lnTo>
                  <a:pt x="3170" y="508"/>
                </a:lnTo>
                <a:lnTo>
                  <a:pt x="3165" y="518"/>
                </a:lnTo>
                <a:lnTo>
                  <a:pt x="3160" y="529"/>
                </a:lnTo>
                <a:lnTo>
                  <a:pt x="3160" y="539"/>
                </a:lnTo>
                <a:lnTo>
                  <a:pt x="3162" y="549"/>
                </a:lnTo>
                <a:lnTo>
                  <a:pt x="3183" y="553"/>
                </a:lnTo>
                <a:lnTo>
                  <a:pt x="3203" y="556"/>
                </a:lnTo>
                <a:lnTo>
                  <a:pt x="3221" y="557"/>
                </a:lnTo>
                <a:lnTo>
                  <a:pt x="3238" y="559"/>
                </a:lnTo>
                <a:lnTo>
                  <a:pt x="3274" y="559"/>
                </a:lnTo>
                <a:lnTo>
                  <a:pt x="3317" y="556"/>
                </a:lnTo>
                <a:lnTo>
                  <a:pt x="3314" y="568"/>
                </a:lnTo>
                <a:lnTo>
                  <a:pt x="3312" y="577"/>
                </a:lnTo>
                <a:lnTo>
                  <a:pt x="3309" y="581"/>
                </a:lnTo>
                <a:lnTo>
                  <a:pt x="3305" y="585"/>
                </a:lnTo>
                <a:lnTo>
                  <a:pt x="3301" y="588"/>
                </a:lnTo>
                <a:lnTo>
                  <a:pt x="3296" y="592"/>
                </a:lnTo>
                <a:lnTo>
                  <a:pt x="3296" y="608"/>
                </a:lnTo>
                <a:lnTo>
                  <a:pt x="3296" y="625"/>
                </a:lnTo>
                <a:lnTo>
                  <a:pt x="3296" y="642"/>
                </a:lnTo>
                <a:lnTo>
                  <a:pt x="3296" y="660"/>
                </a:lnTo>
                <a:lnTo>
                  <a:pt x="3270" y="678"/>
                </a:lnTo>
                <a:lnTo>
                  <a:pt x="3247" y="691"/>
                </a:lnTo>
                <a:lnTo>
                  <a:pt x="3236" y="696"/>
                </a:lnTo>
                <a:lnTo>
                  <a:pt x="3226" y="702"/>
                </a:lnTo>
                <a:lnTo>
                  <a:pt x="3214" y="706"/>
                </a:lnTo>
                <a:lnTo>
                  <a:pt x="3204" y="708"/>
                </a:lnTo>
                <a:lnTo>
                  <a:pt x="3182" y="711"/>
                </a:lnTo>
                <a:lnTo>
                  <a:pt x="3158" y="713"/>
                </a:lnTo>
                <a:lnTo>
                  <a:pt x="3131" y="712"/>
                </a:lnTo>
                <a:lnTo>
                  <a:pt x="3100" y="712"/>
                </a:lnTo>
                <a:lnTo>
                  <a:pt x="3088" y="717"/>
                </a:lnTo>
                <a:lnTo>
                  <a:pt x="3076" y="722"/>
                </a:lnTo>
                <a:lnTo>
                  <a:pt x="3065" y="729"/>
                </a:lnTo>
                <a:lnTo>
                  <a:pt x="3054" y="737"/>
                </a:lnTo>
                <a:lnTo>
                  <a:pt x="3033" y="752"/>
                </a:lnTo>
                <a:lnTo>
                  <a:pt x="3014" y="769"/>
                </a:lnTo>
                <a:lnTo>
                  <a:pt x="3004" y="777"/>
                </a:lnTo>
                <a:lnTo>
                  <a:pt x="2993" y="784"/>
                </a:lnTo>
                <a:lnTo>
                  <a:pt x="2981" y="790"/>
                </a:lnTo>
                <a:lnTo>
                  <a:pt x="2971" y="797"/>
                </a:lnTo>
                <a:lnTo>
                  <a:pt x="2959" y="801"/>
                </a:lnTo>
                <a:lnTo>
                  <a:pt x="2946" y="804"/>
                </a:lnTo>
                <a:lnTo>
                  <a:pt x="2933" y="807"/>
                </a:lnTo>
                <a:lnTo>
                  <a:pt x="2919" y="807"/>
                </a:lnTo>
                <a:lnTo>
                  <a:pt x="2890" y="788"/>
                </a:lnTo>
                <a:lnTo>
                  <a:pt x="2866" y="771"/>
                </a:lnTo>
                <a:lnTo>
                  <a:pt x="2853" y="764"/>
                </a:lnTo>
                <a:lnTo>
                  <a:pt x="2841" y="759"/>
                </a:lnTo>
                <a:lnTo>
                  <a:pt x="2829" y="755"/>
                </a:lnTo>
                <a:lnTo>
                  <a:pt x="2819" y="752"/>
                </a:lnTo>
                <a:lnTo>
                  <a:pt x="2807" y="751"/>
                </a:lnTo>
                <a:lnTo>
                  <a:pt x="2794" y="752"/>
                </a:lnTo>
                <a:lnTo>
                  <a:pt x="2781" y="755"/>
                </a:lnTo>
                <a:lnTo>
                  <a:pt x="2768" y="759"/>
                </a:lnTo>
                <a:lnTo>
                  <a:pt x="2754" y="765"/>
                </a:lnTo>
                <a:lnTo>
                  <a:pt x="2738" y="775"/>
                </a:lnTo>
                <a:lnTo>
                  <a:pt x="2723" y="785"/>
                </a:lnTo>
                <a:lnTo>
                  <a:pt x="2704" y="798"/>
                </a:lnTo>
                <a:lnTo>
                  <a:pt x="2694" y="820"/>
                </a:lnTo>
                <a:lnTo>
                  <a:pt x="2684" y="842"/>
                </a:lnTo>
                <a:lnTo>
                  <a:pt x="2674" y="866"/>
                </a:lnTo>
                <a:lnTo>
                  <a:pt x="2665" y="889"/>
                </a:lnTo>
                <a:lnTo>
                  <a:pt x="2633" y="929"/>
                </a:lnTo>
                <a:lnTo>
                  <a:pt x="2615" y="951"/>
                </a:lnTo>
                <a:lnTo>
                  <a:pt x="2611" y="959"/>
                </a:lnTo>
                <a:lnTo>
                  <a:pt x="2608" y="963"/>
                </a:lnTo>
                <a:lnTo>
                  <a:pt x="2607" y="967"/>
                </a:lnTo>
                <a:lnTo>
                  <a:pt x="2605" y="971"/>
                </a:lnTo>
                <a:lnTo>
                  <a:pt x="2591" y="968"/>
                </a:lnTo>
                <a:lnTo>
                  <a:pt x="2579" y="967"/>
                </a:lnTo>
                <a:lnTo>
                  <a:pt x="2570" y="963"/>
                </a:lnTo>
                <a:lnTo>
                  <a:pt x="2561" y="961"/>
                </a:lnTo>
                <a:lnTo>
                  <a:pt x="2555" y="955"/>
                </a:lnTo>
                <a:lnTo>
                  <a:pt x="2547" y="949"/>
                </a:lnTo>
                <a:lnTo>
                  <a:pt x="2538" y="940"/>
                </a:lnTo>
                <a:lnTo>
                  <a:pt x="2529" y="929"/>
                </a:lnTo>
                <a:lnTo>
                  <a:pt x="2513" y="929"/>
                </a:lnTo>
                <a:lnTo>
                  <a:pt x="2497" y="929"/>
                </a:lnTo>
                <a:lnTo>
                  <a:pt x="2482" y="931"/>
                </a:lnTo>
                <a:lnTo>
                  <a:pt x="2466" y="933"/>
                </a:lnTo>
                <a:lnTo>
                  <a:pt x="2457" y="907"/>
                </a:lnTo>
                <a:lnTo>
                  <a:pt x="2448" y="881"/>
                </a:lnTo>
                <a:lnTo>
                  <a:pt x="2443" y="869"/>
                </a:lnTo>
                <a:lnTo>
                  <a:pt x="2436" y="858"/>
                </a:lnTo>
                <a:lnTo>
                  <a:pt x="2430" y="846"/>
                </a:lnTo>
                <a:lnTo>
                  <a:pt x="2421" y="834"/>
                </a:lnTo>
                <a:lnTo>
                  <a:pt x="2406" y="834"/>
                </a:lnTo>
                <a:lnTo>
                  <a:pt x="2392" y="834"/>
                </a:lnTo>
                <a:lnTo>
                  <a:pt x="2391" y="847"/>
                </a:lnTo>
                <a:lnTo>
                  <a:pt x="2389" y="860"/>
                </a:lnTo>
                <a:lnTo>
                  <a:pt x="2389" y="875"/>
                </a:lnTo>
                <a:lnTo>
                  <a:pt x="2388" y="889"/>
                </a:lnTo>
                <a:lnTo>
                  <a:pt x="2370" y="892"/>
                </a:lnTo>
                <a:lnTo>
                  <a:pt x="2352" y="894"/>
                </a:lnTo>
                <a:lnTo>
                  <a:pt x="2349" y="908"/>
                </a:lnTo>
                <a:lnTo>
                  <a:pt x="2348" y="923"/>
                </a:lnTo>
                <a:lnTo>
                  <a:pt x="2358" y="927"/>
                </a:lnTo>
                <a:lnTo>
                  <a:pt x="2370" y="933"/>
                </a:lnTo>
                <a:lnTo>
                  <a:pt x="2365" y="945"/>
                </a:lnTo>
                <a:lnTo>
                  <a:pt x="2360" y="957"/>
                </a:lnTo>
                <a:lnTo>
                  <a:pt x="2356" y="967"/>
                </a:lnTo>
                <a:lnTo>
                  <a:pt x="2352" y="979"/>
                </a:lnTo>
                <a:lnTo>
                  <a:pt x="2365" y="1000"/>
                </a:lnTo>
                <a:lnTo>
                  <a:pt x="2376" y="1014"/>
                </a:lnTo>
                <a:lnTo>
                  <a:pt x="2392" y="1031"/>
                </a:lnTo>
                <a:lnTo>
                  <a:pt x="2418" y="1055"/>
                </a:lnTo>
                <a:lnTo>
                  <a:pt x="2444" y="1054"/>
                </a:lnTo>
                <a:lnTo>
                  <a:pt x="2470" y="1054"/>
                </a:lnTo>
                <a:lnTo>
                  <a:pt x="2497" y="1054"/>
                </a:lnTo>
                <a:lnTo>
                  <a:pt x="2525" y="1054"/>
                </a:lnTo>
                <a:lnTo>
                  <a:pt x="2534" y="1082"/>
                </a:lnTo>
                <a:lnTo>
                  <a:pt x="2540" y="1101"/>
                </a:lnTo>
                <a:lnTo>
                  <a:pt x="2551" y="1121"/>
                </a:lnTo>
                <a:lnTo>
                  <a:pt x="2569" y="1152"/>
                </a:lnTo>
                <a:lnTo>
                  <a:pt x="2573" y="1192"/>
                </a:lnTo>
                <a:lnTo>
                  <a:pt x="2576" y="1234"/>
                </a:lnTo>
                <a:lnTo>
                  <a:pt x="2579" y="1275"/>
                </a:lnTo>
                <a:lnTo>
                  <a:pt x="2583" y="1317"/>
                </a:lnTo>
                <a:lnTo>
                  <a:pt x="2574" y="1344"/>
                </a:lnTo>
                <a:lnTo>
                  <a:pt x="2569" y="1368"/>
                </a:lnTo>
                <a:lnTo>
                  <a:pt x="2568" y="1379"/>
                </a:lnTo>
                <a:lnTo>
                  <a:pt x="2566" y="1392"/>
                </a:lnTo>
                <a:lnTo>
                  <a:pt x="2566" y="1405"/>
                </a:lnTo>
                <a:lnTo>
                  <a:pt x="2568" y="1421"/>
                </a:lnTo>
                <a:lnTo>
                  <a:pt x="2551" y="1424"/>
                </a:lnTo>
                <a:lnTo>
                  <a:pt x="2535" y="1426"/>
                </a:lnTo>
                <a:lnTo>
                  <a:pt x="2526" y="1442"/>
                </a:lnTo>
                <a:lnTo>
                  <a:pt x="2518" y="1454"/>
                </a:lnTo>
                <a:lnTo>
                  <a:pt x="2510" y="1464"/>
                </a:lnTo>
                <a:lnTo>
                  <a:pt x="2503" y="1472"/>
                </a:lnTo>
                <a:lnTo>
                  <a:pt x="2495" y="1478"/>
                </a:lnTo>
                <a:lnTo>
                  <a:pt x="2486" y="1483"/>
                </a:lnTo>
                <a:lnTo>
                  <a:pt x="2478" y="1489"/>
                </a:lnTo>
                <a:lnTo>
                  <a:pt x="2469" y="1491"/>
                </a:lnTo>
                <a:lnTo>
                  <a:pt x="2448" y="1494"/>
                </a:lnTo>
                <a:lnTo>
                  <a:pt x="2426" y="1495"/>
                </a:lnTo>
                <a:lnTo>
                  <a:pt x="2399" y="1495"/>
                </a:lnTo>
                <a:lnTo>
                  <a:pt x="2367" y="1497"/>
                </a:lnTo>
                <a:lnTo>
                  <a:pt x="2367" y="1511"/>
                </a:lnTo>
                <a:lnTo>
                  <a:pt x="2367" y="1525"/>
                </a:lnTo>
                <a:lnTo>
                  <a:pt x="2378" y="1530"/>
                </a:lnTo>
                <a:lnTo>
                  <a:pt x="2388" y="1537"/>
                </a:lnTo>
                <a:lnTo>
                  <a:pt x="2383" y="1545"/>
                </a:lnTo>
                <a:lnTo>
                  <a:pt x="2376" y="1552"/>
                </a:lnTo>
                <a:lnTo>
                  <a:pt x="2369" y="1559"/>
                </a:lnTo>
                <a:lnTo>
                  <a:pt x="2361" y="1565"/>
                </a:lnTo>
                <a:lnTo>
                  <a:pt x="2345" y="1576"/>
                </a:lnTo>
                <a:lnTo>
                  <a:pt x="2328" y="1586"/>
                </a:lnTo>
                <a:lnTo>
                  <a:pt x="2310" y="1594"/>
                </a:lnTo>
                <a:lnTo>
                  <a:pt x="2291" y="1601"/>
                </a:lnTo>
                <a:lnTo>
                  <a:pt x="2272" y="1607"/>
                </a:lnTo>
                <a:lnTo>
                  <a:pt x="2254" y="1614"/>
                </a:lnTo>
                <a:lnTo>
                  <a:pt x="2258" y="1632"/>
                </a:lnTo>
                <a:lnTo>
                  <a:pt x="2263" y="1650"/>
                </a:lnTo>
                <a:lnTo>
                  <a:pt x="2270" y="1668"/>
                </a:lnTo>
                <a:lnTo>
                  <a:pt x="2274" y="1690"/>
                </a:lnTo>
                <a:lnTo>
                  <a:pt x="2268" y="1690"/>
                </a:lnTo>
                <a:lnTo>
                  <a:pt x="2263" y="1692"/>
                </a:lnTo>
                <a:lnTo>
                  <a:pt x="2259" y="1694"/>
                </a:lnTo>
                <a:lnTo>
                  <a:pt x="2255" y="1697"/>
                </a:lnTo>
                <a:lnTo>
                  <a:pt x="2249" y="1705"/>
                </a:lnTo>
                <a:lnTo>
                  <a:pt x="2244" y="1714"/>
                </a:lnTo>
                <a:lnTo>
                  <a:pt x="2240" y="1724"/>
                </a:lnTo>
                <a:lnTo>
                  <a:pt x="2239" y="1735"/>
                </a:lnTo>
                <a:lnTo>
                  <a:pt x="2237" y="1745"/>
                </a:lnTo>
                <a:lnTo>
                  <a:pt x="2239" y="1754"/>
                </a:lnTo>
                <a:lnTo>
                  <a:pt x="2248" y="1753"/>
                </a:lnTo>
                <a:lnTo>
                  <a:pt x="2255" y="1750"/>
                </a:lnTo>
                <a:lnTo>
                  <a:pt x="2263" y="1748"/>
                </a:lnTo>
                <a:lnTo>
                  <a:pt x="2270" y="1742"/>
                </a:lnTo>
                <a:lnTo>
                  <a:pt x="2275" y="1737"/>
                </a:lnTo>
                <a:lnTo>
                  <a:pt x="2280" y="1729"/>
                </a:lnTo>
                <a:lnTo>
                  <a:pt x="2284" y="1723"/>
                </a:lnTo>
                <a:lnTo>
                  <a:pt x="2288" y="1714"/>
                </a:lnTo>
                <a:lnTo>
                  <a:pt x="2293" y="1697"/>
                </a:lnTo>
                <a:lnTo>
                  <a:pt x="2298" y="1679"/>
                </a:lnTo>
                <a:lnTo>
                  <a:pt x="2301" y="1660"/>
                </a:lnTo>
                <a:lnTo>
                  <a:pt x="2304" y="1645"/>
                </a:lnTo>
                <a:lnTo>
                  <a:pt x="2339" y="1649"/>
                </a:lnTo>
                <a:lnTo>
                  <a:pt x="2366" y="1650"/>
                </a:lnTo>
                <a:lnTo>
                  <a:pt x="2378" y="1650"/>
                </a:lnTo>
                <a:lnTo>
                  <a:pt x="2387" y="1649"/>
                </a:lnTo>
                <a:lnTo>
                  <a:pt x="2396" y="1646"/>
                </a:lnTo>
                <a:lnTo>
                  <a:pt x="2402" y="1641"/>
                </a:lnTo>
                <a:lnTo>
                  <a:pt x="2409" y="1636"/>
                </a:lnTo>
                <a:lnTo>
                  <a:pt x="2413" y="1629"/>
                </a:lnTo>
                <a:lnTo>
                  <a:pt x="2417" y="1620"/>
                </a:lnTo>
                <a:lnTo>
                  <a:pt x="2419" y="1610"/>
                </a:lnTo>
                <a:lnTo>
                  <a:pt x="2421" y="1598"/>
                </a:lnTo>
                <a:lnTo>
                  <a:pt x="2421" y="1584"/>
                </a:lnTo>
                <a:lnTo>
                  <a:pt x="2421" y="1567"/>
                </a:lnTo>
                <a:lnTo>
                  <a:pt x="2419" y="1549"/>
                </a:lnTo>
                <a:lnTo>
                  <a:pt x="2431" y="1552"/>
                </a:lnTo>
                <a:lnTo>
                  <a:pt x="2443" y="1559"/>
                </a:lnTo>
                <a:lnTo>
                  <a:pt x="2455" y="1567"/>
                </a:lnTo>
                <a:lnTo>
                  <a:pt x="2468" y="1575"/>
                </a:lnTo>
                <a:lnTo>
                  <a:pt x="2481" y="1582"/>
                </a:lnTo>
                <a:lnTo>
                  <a:pt x="2495" y="1591"/>
                </a:lnTo>
                <a:lnTo>
                  <a:pt x="2508" y="1598"/>
                </a:lnTo>
                <a:lnTo>
                  <a:pt x="2521" y="1604"/>
                </a:lnTo>
                <a:lnTo>
                  <a:pt x="2535" y="1608"/>
                </a:lnTo>
                <a:lnTo>
                  <a:pt x="2547" y="1611"/>
                </a:lnTo>
                <a:lnTo>
                  <a:pt x="2553" y="1611"/>
                </a:lnTo>
                <a:lnTo>
                  <a:pt x="2560" y="1610"/>
                </a:lnTo>
                <a:lnTo>
                  <a:pt x="2566" y="1608"/>
                </a:lnTo>
                <a:lnTo>
                  <a:pt x="2572" y="1606"/>
                </a:lnTo>
                <a:lnTo>
                  <a:pt x="2578" y="1603"/>
                </a:lnTo>
                <a:lnTo>
                  <a:pt x="2583" y="1598"/>
                </a:lnTo>
                <a:lnTo>
                  <a:pt x="2589" y="1593"/>
                </a:lnTo>
                <a:lnTo>
                  <a:pt x="2594" y="1586"/>
                </a:lnTo>
                <a:lnTo>
                  <a:pt x="2599" y="1578"/>
                </a:lnTo>
                <a:lnTo>
                  <a:pt x="2603" y="1569"/>
                </a:lnTo>
                <a:lnTo>
                  <a:pt x="2608" y="1559"/>
                </a:lnTo>
                <a:lnTo>
                  <a:pt x="2612" y="1549"/>
                </a:lnTo>
                <a:lnTo>
                  <a:pt x="2626" y="1549"/>
                </a:lnTo>
                <a:lnTo>
                  <a:pt x="2639" y="1550"/>
                </a:lnTo>
                <a:lnTo>
                  <a:pt x="2654" y="1552"/>
                </a:lnTo>
                <a:lnTo>
                  <a:pt x="2667" y="1556"/>
                </a:lnTo>
                <a:lnTo>
                  <a:pt x="2694" y="1564"/>
                </a:lnTo>
                <a:lnTo>
                  <a:pt x="2720" y="1576"/>
                </a:lnTo>
                <a:lnTo>
                  <a:pt x="2746" y="1589"/>
                </a:lnTo>
                <a:lnTo>
                  <a:pt x="2771" y="1603"/>
                </a:lnTo>
                <a:lnTo>
                  <a:pt x="2794" y="1617"/>
                </a:lnTo>
                <a:lnTo>
                  <a:pt x="2818" y="1633"/>
                </a:lnTo>
                <a:lnTo>
                  <a:pt x="2818" y="1638"/>
                </a:lnTo>
                <a:lnTo>
                  <a:pt x="2818" y="1645"/>
                </a:lnTo>
                <a:lnTo>
                  <a:pt x="2838" y="1651"/>
                </a:lnTo>
                <a:lnTo>
                  <a:pt x="2858" y="1657"/>
                </a:lnTo>
                <a:lnTo>
                  <a:pt x="2877" y="1660"/>
                </a:lnTo>
                <a:lnTo>
                  <a:pt x="2896" y="1663"/>
                </a:lnTo>
                <a:lnTo>
                  <a:pt x="2935" y="1664"/>
                </a:lnTo>
                <a:lnTo>
                  <a:pt x="2978" y="1663"/>
                </a:lnTo>
                <a:lnTo>
                  <a:pt x="2983" y="1679"/>
                </a:lnTo>
                <a:lnTo>
                  <a:pt x="2989" y="1696"/>
                </a:lnTo>
                <a:lnTo>
                  <a:pt x="3017" y="1698"/>
                </a:lnTo>
                <a:lnTo>
                  <a:pt x="3041" y="1703"/>
                </a:lnTo>
                <a:lnTo>
                  <a:pt x="3052" y="1706"/>
                </a:lnTo>
                <a:lnTo>
                  <a:pt x="3061" y="1710"/>
                </a:lnTo>
                <a:lnTo>
                  <a:pt x="3069" y="1714"/>
                </a:lnTo>
                <a:lnTo>
                  <a:pt x="3075" y="1719"/>
                </a:lnTo>
                <a:lnTo>
                  <a:pt x="3082" y="1725"/>
                </a:lnTo>
                <a:lnTo>
                  <a:pt x="3086" y="1733"/>
                </a:lnTo>
                <a:lnTo>
                  <a:pt x="3089" y="1741"/>
                </a:lnTo>
                <a:lnTo>
                  <a:pt x="3092" y="1751"/>
                </a:lnTo>
                <a:lnTo>
                  <a:pt x="3093" y="1763"/>
                </a:lnTo>
                <a:lnTo>
                  <a:pt x="3093" y="1775"/>
                </a:lnTo>
                <a:lnTo>
                  <a:pt x="3092" y="1789"/>
                </a:lnTo>
                <a:lnTo>
                  <a:pt x="3089" y="1806"/>
                </a:lnTo>
                <a:lnTo>
                  <a:pt x="3095" y="1814"/>
                </a:lnTo>
                <a:lnTo>
                  <a:pt x="3099" y="1818"/>
                </a:lnTo>
                <a:lnTo>
                  <a:pt x="3104" y="1822"/>
                </a:lnTo>
                <a:lnTo>
                  <a:pt x="3112" y="1824"/>
                </a:lnTo>
                <a:lnTo>
                  <a:pt x="3108" y="1833"/>
                </a:lnTo>
                <a:lnTo>
                  <a:pt x="3101" y="1841"/>
                </a:lnTo>
                <a:lnTo>
                  <a:pt x="3093" y="1849"/>
                </a:lnTo>
                <a:lnTo>
                  <a:pt x="3086" y="1857"/>
                </a:lnTo>
                <a:lnTo>
                  <a:pt x="3075" y="1863"/>
                </a:lnTo>
                <a:lnTo>
                  <a:pt x="3065" y="1870"/>
                </a:lnTo>
                <a:lnTo>
                  <a:pt x="3054" y="1876"/>
                </a:lnTo>
                <a:lnTo>
                  <a:pt x="3043" y="1883"/>
                </a:lnTo>
                <a:lnTo>
                  <a:pt x="3019" y="1893"/>
                </a:lnTo>
                <a:lnTo>
                  <a:pt x="2996" y="1901"/>
                </a:lnTo>
                <a:lnTo>
                  <a:pt x="2972" y="1906"/>
                </a:lnTo>
                <a:lnTo>
                  <a:pt x="2953" y="1910"/>
                </a:lnTo>
                <a:lnTo>
                  <a:pt x="2915" y="1940"/>
                </a:lnTo>
                <a:lnTo>
                  <a:pt x="2894" y="1956"/>
                </a:lnTo>
                <a:lnTo>
                  <a:pt x="2881" y="1964"/>
                </a:lnTo>
                <a:lnTo>
                  <a:pt x="2867" y="1969"/>
                </a:lnTo>
                <a:lnTo>
                  <a:pt x="2867" y="1983"/>
                </a:lnTo>
                <a:lnTo>
                  <a:pt x="2867" y="1999"/>
                </a:lnTo>
                <a:lnTo>
                  <a:pt x="2873" y="2001"/>
                </a:lnTo>
                <a:lnTo>
                  <a:pt x="2881" y="2004"/>
                </a:lnTo>
                <a:lnTo>
                  <a:pt x="2872" y="2032"/>
                </a:lnTo>
                <a:lnTo>
                  <a:pt x="2864" y="2062"/>
                </a:lnTo>
                <a:lnTo>
                  <a:pt x="2858" y="2092"/>
                </a:lnTo>
                <a:lnTo>
                  <a:pt x="2851" y="2122"/>
                </a:lnTo>
                <a:lnTo>
                  <a:pt x="2845" y="2152"/>
                </a:lnTo>
                <a:lnTo>
                  <a:pt x="2838" y="2182"/>
                </a:lnTo>
                <a:lnTo>
                  <a:pt x="2829" y="2211"/>
                </a:lnTo>
                <a:lnTo>
                  <a:pt x="2820" y="2241"/>
                </a:lnTo>
                <a:lnTo>
                  <a:pt x="2815" y="2263"/>
                </a:lnTo>
                <a:lnTo>
                  <a:pt x="2811" y="2285"/>
                </a:lnTo>
                <a:lnTo>
                  <a:pt x="2807" y="2308"/>
                </a:lnTo>
                <a:lnTo>
                  <a:pt x="2804" y="2330"/>
                </a:lnTo>
                <a:lnTo>
                  <a:pt x="2778" y="2347"/>
                </a:lnTo>
                <a:lnTo>
                  <a:pt x="2749" y="2366"/>
                </a:lnTo>
                <a:lnTo>
                  <a:pt x="2741" y="2371"/>
                </a:lnTo>
                <a:lnTo>
                  <a:pt x="2733" y="2373"/>
                </a:lnTo>
                <a:lnTo>
                  <a:pt x="2725" y="2376"/>
                </a:lnTo>
                <a:lnTo>
                  <a:pt x="2717" y="2377"/>
                </a:lnTo>
                <a:lnTo>
                  <a:pt x="2710" y="2379"/>
                </a:lnTo>
                <a:lnTo>
                  <a:pt x="2702" y="2377"/>
                </a:lnTo>
                <a:lnTo>
                  <a:pt x="2694" y="2375"/>
                </a:lnTo>
                <a:lnTo>
                  <a:pt x="2687" y="2371"/>
                </a:lnTo>
                <a:lnTo>
                  <a:pt x="2678" y="2359"/>
                </a:lnTo>
                <a:lnTo>
                  <a:pt x="2669" y="2349"/>
                </a:lnTo>
                <a:lnTo>
                  <a:pt x="2660" y="2341"/>
                </a:lnTo>
                <a:lnTo>
                  <a:pt x="2652" y="2333"/>
                </a:lnTo>
                <a:lnTo>
                  <a:pt x="2644" y="2328"/>
                </a:lnTo>
                <a:lnTo>
                  <a:pt x="2635" y="2324"/>
                </a:lnTo>
                <a:lnTo>
                  <a:pt x="2628" y="2323"/>
                </a:lnTo>
                <a:lnTo>
                  <a:pt x="2620" y="2321"/>
                </a:lnTo>
                <a:lnTo>
                  <a:pt x="2612" y="2321"/>
                </a:lnTo>
                <a:lnTo>
                  <a:pt x="2605" y="2324"/>
                </a:lnTo>
                <a:lnTo>
                  <a:pt x="2598" y="2326"/>
                </a:lnTo>
                <a:lnTo>
                  <a:pt x="2590" y="2330"/>
                </a:lnTo>
                <a:lnTo>
                  <a:pt x="2583" y="2336"/>
                </a:lnTo>
                <a:lnTo>
                  <a:pt x="2577" y="2341"/>
                </a:lnTo>
                <a:lnTo>
                  <a:pt x="2569" y="2347"/>
                </a:lnTo>
                <a:lnTo>
                  <a:pt x="2563" y="2354"/>
                </a:lnTo>
                <a:lnTo>
                  <a:pt x="2549" y="2371"/>
                </a:lnTo>
                <a:lnTo>
                  <a:pt x="2538" y="2388"/>
                </a:lnTo>
                <a:lnTo>
                  <a:pt x="2525" y="2407"/>
                </a:lnTo>
                <a:lnTo>
                  <a:pt x="2513" y="2427"/>
                </a:lnTo>
                <a:lnTo>
                  <a:pt x="2491" y="2463"/>
                </a:lnTo>
                <a:lnTo>
                  <a:pt x="2469" y="2494"/>
                </a:lnTo>
                <a:lnTo>
                  <a:pt x="2451" y="2507"/>
                </a:lnTo>
                <a:lnTo>
                  <a:pt x="2434" y="2520"/>
                </a:lnTo>
                <a:lnTo>
                  <a:pt x="2418" y="2536"/>
                </a:lnTo>
                <a:lnTo>
                  <a:pt x="2404" y="2550"/>
                </a:lnTo>
                <a:lnTo>
                  <a:pt x="2389" y="2565"/>
                </a:lnTo>
                <a:lnTo>
                  <a:pt x="2374" y="2579"/>
                </a:lnTo>
                <a:lnTo>
                  <a:pt x="2358" y="2593"/>
                </a:lnTo>
                <a:lnTo>
                  <a:pt x="2340" y="2606"/>
                </a:lnTo>
                <a:lnTo>
                  <a:pt x="2337" y="2620"/>
                </a:lnTo>
                <a:lnTo>
                  <a:pt x="2335" y="2635"/>
                </a:lnTo>
                <a:lnTo>
                  <a:pt x="2332" y="2650"/>
                </a:lnTo>
                <a:lnTo>
                  <a:pt x="2331" y="2666"/>
                </a:lnTo>
                <a:lnTo>
                  <a:pt x="2315" y="2675"/>
                </a:lnTo>
                <a:lnTo>
                  <a:pt x="2306" y="2683"/>
                </a:lnTo>
                <a:lnTo>
                  <a:pt x="2302" y="2688"/>
                </a:lnTo>
                <a:lnTo>
                  <a:pt x="2298" y="2693"/>
                </a:lnTo>
                <a:lnTo>
                  <a:pt x="2296" y="2701"/>
                </a:lnTo>
                <a:lnTo>
                  <a:pt x="2292" y="2710"/>
                </a:lnTo>
                <a:lnTo>
                  <a:pt x="2275" y="2710"/>
                </a:lnTo>
                <a:lnTo>
                  <a:pt x="2259" y="2712"/>
                </a:lnTo>
                <a:lnTo>
                  <a:pt x="2228" y="2700"/>
                </a:lnTo>
                <a:lnTo>
                  <a:pt x="2198" y="2691"/>
                </a:lnTo>
                <a:lnTo>
                  <a:pt x="2183" y="2688"/>
                </a:lnTo>
                <a:lnTo>
                  <a:pt x="2168" y="2686"/>
                </a:lnTo>
                <a:lnTo>
                  <a:pt x="2154" y="2683"/>
                </a:lnTo>
                <a:lnTo>
                  <a:pt x="2140" y="2682"/>
                </a:lnTo>
                <a:lnTo>
                  <a:pt x="2124" y="2682"/>
                </a:lnTo>
                <a:lnTo>
                  <a:pt x="2110" y="2682"/>
                </a:lnTo>
                <a:lnTo>
                  <a:pt x="2094" y="2683"/>
                </a:lnTo>
                <a:lnTo>
                  <a:pt x="2080" y="2684"/>
                </a:lnTo>
                <a:lnTo>
                  <a:pt x="2064" y="2687"/>
                </a:lnTo>
                <a:lnTo>
                  <a:pt x="2049" y="2691"/>
                </a:lnTo>
                <a:lnTo>
                  <a:pt x="2032" y="2695"/>
                </a:lnTo>
                <a:lnTo>
                  <a:pt x="2016" y="2700"/>
                </a:lnTo>
                <a:lnTo>
                  <a:pt x="2004" y="2699"/>
                </a:lnTo>
                <a:lnTo>
                  <a:pt x="1993" y="2697"/>
                </a:lnTo>
                <a:lnTo>
                  <a:pt x="1982" y="2696"/>
                </a:lnTo>
                <a:lnTo>
                  <a:pt x="1972" y="2696"/>
                </a:lnTo>
                <a:lnTo>
                  <a:pt x="1963" y="2679"/>
                </a:lnTo>
                <a:lnTo>
                  <a:pt x="1956" y="2661"/>
                </a:lnTo>
                <a:lnTo>
                  <a:pt x="1951" y="2644"/>
                </a:lnTo>
                <a:lnTo>
                  <a:pt x="1947" y="2626"/>
                </a:lnTo>
                <a:lnTo>
                  <a:pt x="1945" y="2589"/>
                </a:lnTo>
                <a:lnTo>
                  <a:pt x="1942" y="2550"/>
                </a:lnTo>
                <a:lnTo>
                  <a:pt x="1934" y="2533"/>
                </a:lnTo>
                <a:lnTo>
                  <a:pt x="1929" y="2519"/>
                </a:lnTo>
                <a:lnTo>
                  <a:pt x="1922" y="2498"/>
                </a:lnTo>
                <a:lnTo>
                  <a:pt x="1912" y="2462"/>
                </a:lnTo>
                <a:lnTo>
                  <a:pt x="1874" y="2457"/>
                </a:lnTo>
                <a:lnTo>
                  <a:pt x="1837" y="2451"/>
                </a:lnTo>
                <a:lnTo>
                  <a:pt x="1800" y="2445"/>
                </a:lnTo>
                <a:lnTo>
                  <a:pt x="1764" y="2440"/>
                </a:lnTo>
                <a:lnTo>
                  <a:pt x="1747" y="2438"/>
                </a:lnTo>
                <a:lnTo>
                  <a:pt x="1729" y="2438"/>
                </a:lnTo>
                <a:lnTo>
                  <a:pt x="1710" y="2438"/>
                </a:lnTo>
                <a:lnTo>
                  <a:pt x="1693" y="2440"/>
                </a:lnTo>
                <a:lnTo>
                  <a:pt x="1675" y="2442"/>
                </a:lnTo>
                <a:lnTo>
                  <a:pt x="1657" y="2447"/>
                </a:lnTo>
                <a:lnTo>
                  <a:pt x="1639" y="2454"/>
                </a:lnTo>
                <a:lnTo>
                  <a:pt x="1621" y="2462"/>
                </a:lnTo>
                <a:lnTo>
                  <a:pt x="1597" y="2458"/>
                </a:lnTo>
                <a:lnTo>
                  <a:pt x="1578" y="2455"/>
                </a:lnTo>
                <a:lnTo>
                  <a:pt x="1561" y="2454"/>
                </a:lnTo>
                <a:lnTo>
                  <a:pt x="1546" y="2454"/>
                </a:lnTo>
                <a:lnTo>
                  <a:pt x="1535" y="2457"/>
                </a:lnTo>
                <a:lnTo>
                  <a:pt x="1526" y="2459"/>
                </a:lnTo>
                <a:lnTo>
                  <a:pt x="1518" y="2463"/>
                </a:lnTo>
                <a:lnTo>
                  <a:pt x="1510" y="2470"/>
                </a:lnTo>
                <a:lnTo>
                  <a:pt x="1497" y="2483"/>
                </a:lnTo>
                <a:lnTo>
                  <a:pt x="1481" y="2500"/>
                </a:lnTo>
                <a:lnTo>
                  <a:pt x="1471" y="2509"/>
                </a:lnTo>
                <a:lnTo>
                  <a:pt x="1459" y="2518"/>
                </a:lnTo>
                <a:lnTo>
                  <a:pt x="1445" y="2528"/>
                </a:lnTo>
                <a:lnTo>
                  <a:pt x="1427" y="2539"/>
                </a:lnTo>
                <a:lnTo>
                  <a:pt x="1419" y="2548"/>
                </a:lnTo>
                <a:lnTo>
                  <a:pt x="1409" y="2555"/>
                </a:lnTo>
                <a:lnTo>
                  <a:pt x="1399" y="2561"/>
                </a:lnTo>
                <a:lnTo>
                  <a:pt x="1389" y="2565"/>
                </a:lnTo>
                <a:lnTo>
                  <a:pt x="1367" y="2568"/>
                </a:lnTo>
                <a:lnTo>
                  <a:pt x="1343" y="2572"/>
                </a:lnTo>
                <a:lnTo>
                  <a:pt x="1333" y="2574"/>
                </a:lnTo>
                <a:lnTo>
                  <a:pt x="1321" y="2576"/>
                </a:lnTo>
                <a:lnTo>
                  <a:pt x="1310" y="2579"/>
                </a:lnTo>
                <a:lnTo>
                  <a:pt x="1299" y="2584"/>
                </a:lnTo>
                <a:lnTo>
                  <a:pt x="1289" y="2589"/>
                </a:lnTo>
                <a:lnTo>
                  <a:pt x="1278" y="2598"/>
                </a:lnTo>
                <a:lnTo>
                  <a:pt x="1268" y="2609"/>
                </a:lnTo>
                <a:lnTo>
                  <a:pt x="1260" y="2622"/>
                </a:lnTo>
                <a:lnTo>
                  <a:pt x="1241" y="2628"/>
                </a:lnTo>
                <a:lnTo>
                  <a:pt x="1224" y="2636"/>
                </a:lnTo>
                <a:lnTo>
                  <a:pt x="1208" y="2644"/>
                </a:lnTo>
                <a:lnTo>
                  <a:pt x="1193" y="2652"/>
                </a:lnTo>
                <a:lnTo>
                  <a:pt x="1163" y="2669"/>
                </a:lnTo>
                <a:lnTo>
                  <a:pt x="1130" y="2684"/>
                </a:lnTo>
                <a:lnTo>
                  <a:pt x="1125" y="2702"/>
                </a:lnTo>
                <a:lnTo>
                  <a:pt x="1117" y="2718"/>
                </a:lnTo>
                <a:lnTo>
                  <a:pt x="1113" y="2725"/>
                </a:lnTo>
                <a:lnTo>
                  <a:pt x="1108" y="2731"/>
                </a:lnTo>
                <a:lnTo>
                  <a:pt x="1103" y="2738"/>
                </a:lnTo>
                <a:lnTo>
                  <a:pt x="1098" y="2743"/>
                </a:lnTo>
                <a:lnTo>
                  <a:pt x="1085" y="2752"/>
                </a:lnTo>
                <a:lnTo>
                  <a:pt x="1070" y="2760"/>
                </a:lnTo>
                <a:lnTo>
                  <a:pt x="1053" y="2767"/>
                </a:lnTo>
                <a:lnTo>
                  <a:pt x="1035" y="2773"/>
                </a:lnTo>
                <a:lnTo>
                  <a:pt x="1033" y="2788"/>
                </a:lnTo>
                <a:lnTo>
                  <a:pt x="1033" y="2803"/>
                </a:lnTo>
                <a:lnTo>
                  <a:pt x="1031" y="2818"/>
                </a:lnTo>
                <a:lnTo>
                  <a:pt x="1031" y="2835"/>
                </a:lnTo>
                <a:lnTo>
                  <a:pt x="1016" y="2840"/>
                </a:lnTo>
                <a:lnTo>
                  <a:pt x="1003" y="2844"/>
                </a:lnTo>
                <a:lnTo>
                  <a:pt x="988" y="2847"/>
                </a:lnTo>
                <a:lnTo>
                  <a:pt x="975" y="2848"/>
                </a:lnTo>
                <a:lnTo>
                  <a:pt x="962" y="2849"/>
                </a:lnTo>
                <a:lnTo>
                  <a:pt x="951" y="2849"/>
                </a:lnTo>
                <a:lnTo>
                  <a:pt x="938" y="2848"/>
                </a:lnTo>
                <a:lnTo>
                  <a:pt x="926" y="2847"/>
                </a:lnTo>
                <a:lnTo>
                  <a:pt x="900" y="2843"/>
                </a:lnTo>
                <a:lnTo>
                  <a:pt x="874" y="2839"/>
                </a:lnTo>
                <a:lnTo>
                  <a:pt x="846" y="2836"/>
                </a:lnTo>
                <a:lnTo>
                  <a:pt x="818" y="2835"/>
                </a:lnTo>
                <a:lnTo>
                  <a:pt x="806" y="2838"/>
                </a:lnTo>
                <a:lnTo>
                  <a:pt x="797" y="2842"/>
                </a:lnTo>
                <a:lnTo>
                  <a:pt x="788" y="2847"/>
                </a:lnTo>
                <a:lnTo>
                  <a:pt x="780" y="2852"/>
                </a:lnTo>
                <a:lnTo>
                  <a:pt x="765" y="2864"/>
                </a:lnTo>
                <a:lnTo>
                  <a:pt x="752" y="2873"/>
                </a:lnTo>
                <a:lnTo>
                  <a:pt x="744" y="2877"/>
                </a:lnTo>
                <a:lnTo>
                  <a:pt x="736" y="2881"/>
                </a:lnTo>
                <a:lnTo>
                  <a:pt x="728" y="2882"/>
                </a:lnTo>
                <a:lnTo>
                  <a:pt x="720" y="2882"/>
                </a:lnTo>
                <a:lnTo>
                  <a:pt x="711" y="2881"/>
                </a:lnTo>
                <a:lnTo>
                  <a:pt x="702" y="2877"/>
                </a:lnTo>
                <a:lnTo>
                  <a:pt x="690" y="2870"/>
                </a:lnTo>
                <a:lnTo>
                  <a:pt x="679" y="2861"/>
                </a:lnTo>
                <a:lnTo>
                  <a:pt x="662" y="2860"/>
                </a:lnTo>
                <a:lnTo>
                  <a:pt x="645" y="2859"/>
                </a:lnTo>
                <a:lnTo>
                  <a:pt x="628" y="2859"/>
                </a:lnTo>
                <a:lnTo>
                  <a:pt x="611" y="2857"/>
                </a:lnTo>
                <a:lnTo>
                  <a:pt x="611" y="2864"/>
                </a:lnTo>
                <a:lnTo>
                  <a:pt x="611" y="2869"/>
                </a:lnTo>
                <a:lnTo>
                  <a:pt x="584" y="2874"/>
                </a:lnTo>
                <a:lnTo>
                  <a:pt x="556" y="2878"/>
                </a:lnTo>
                <a:lnTo>
                  <a:pt x="530" y="2883"/>
                </a:lnTo>
                <a:lnTo>
                  <a:pt x="504" y="2888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799" name="Freeform 64"/>
          <p:cNvSpPr>
            <a:spLocks/>
          </p:cNvSpPr>
          <p:nvPr/>
        </p:nvSpPr>
        <p:spPr bwMode="auto">
          <a:xfrm>
            <a:off x="1690688" y="1581150"/>
            <a:ext cx="592137" cy="722313"/>
          </a:xfrm>
          <a:custGeom>
            <a:avLst/>
            <a:gdLst>
              <a:gd name="T0" fmla="*/ 2147483647 w 1493"/>
              <a:gd name="T1" fmla="*/ 2147483647 h 1824"/>
              <a:gd name="T2" fmla="*/ 2147483647 w 1493"/>
              <a:gd name="T3" fmla="*/ 2147483647 h 1824"/>
              <a:gd name="T4" fmla="*/ 2147483647 w 1493"/>
              <a:gd name="T5" fmla="*/ 2147483647 h 1824"/>
              <a:gd name="T6" fmla="*/ 2147483647 w 1493"/>
              <a:gd name="T7" fmla="*/ 2147483647 h 1824"/>
              <a:gd name="T8" fmla="*/ 2147483647 w 1493"/>
              <a:gd name="T9" fmla="*/ 2147483647 h 1824"/>
              <a:gd name="T10" fmla="*/ 2147483647 w 1493"/>
              <a:gd name="T11" fmla="*/ 2147483647 h 1824"/>
              <a:gd name="T12" fmla="*/ 2147483647 w 1493"/>
              <a:gd name="T13" fmla="*/ 2147483647 h 1824"/>
              <a:gd name="T14" fmla="*/ 2147483647 w 1493"/>
              <a:gd name="T15" fmla="*/ 2147483647 h 1824"/>
              <a:gd name="T16" fmla="*/ 2147483647 w 1493"/>
              <a:gd name="T17" fmla="*/ 2147483647 h 1824"/>
              <a:gd name="T18" fmla="*/ 2147483647 w 1493"/>
              <a:gd name="T19" fmla="*/ 2147483647 h 1824"/>
              <a:gd name="T20" fmla="*/ 2147483647 w 1493"/>
              <a:gd name="T21" fmla="*/ 2147483647 h 1824"/>
              <a:gd name="T22" fmla="*/ 2147483647 w 1493"/>
              <a:gd name="T23" fmla="*/ 2147483647 h 1824"/>
              <a:gd name="T24" fmla="*/ 2147483647 w 1493"/>
              <a:gd name="T25" fmla="*/ 2147483647 h 1824"/>
              <a:gd name="T26" fmla="*/ 2147483647 w 1493"/>
              <a:gd name="T27" fmla="*/ 2147483647 h 1824"/>
              <a:gd name="T28" fmla="*/ 2147483647 w 1493"/>
              <a:gd name="T29" fmla="*/ 2147483647 h 1824"/>
              <a:gd name="T30" fmla="*/ 2147483647 w 1493"/>
              <a:gd name="T31" fmla="*/ 2147483647 h 1824"/>
              <a:gd name="T32" fmla="*/ 2147483647 w 1493"/>
              <a:gd name="T33" fmla="*/ 2147483647 h 1824"/>
              <a:gd name="T34" fmla="*/ 2147483647 w 1493"/>
              <a:gd name="T35" fmla="*/ 2147483647 h 1824"/>
              <a:gd name="T36" fmla="*/ 2147483647 w 1493"/>
              <a:gd name="T37" fmla="*/ 2147483647 h 1824"/>
              <a:gd name="T38" fmla="*/ 2147483647 w 1493"/>
              <a:gd name="T39" fmla="*/ 2147483647 h 1824"/>
              <a:gd name="T40" fmla="*/ 2147483647 w 1493"/>
              <a:gd name="T41" fmla="*/ 2147483647 h 1824"/>
              <a:gd name="T42" fmla="*/ 2147483647 w 1493"/>
              <a:gd name="T43" fmla="*/ 2147483647 h 1824"/>
              <a:gd name="T44" fmla="*/ 2147483647 w 1493"/>
              <a:gd name="T45" fmla="*/ 2147483647 h 1824"/>
              <a:gd name="T46" fmla="*/ 2147483647 w 1493"/>
              <a:gd name="T47" fmla="*/ 2147483647 h 1824"/>
              <a:gd name="T48" fmla="*/ 2147483647 w 1493"/>
              <a:gd name="T49" fmla="*/ 2147483647 h 1824"/>
              <a:gd name="T50" fmla="*/ 2147483647 w 1493"/>
              <a:gd name="T51" fmla="*/ 2147483647 h 1824"/>
              <a:gd name="T52" fmla="*/ 2147483647 w 1493"/>
              <a:gd name="T53" fmla="*/ 2147483647 h 1824"/>
              <a:gd name="T54" fmla="*/ 2147483647 w 1493"/>
              <a:gd name="T55" fmla="*/ 2147483647 h 1824"/>
              <a:gd name="T56" fmla="*/ 2147483647 w 1493"/>
              <a:gd name="T57" fmla="*/ 2147483647 h 1824"/>
              <a:gd name="T58" fmla="*/ 2147483647 w 1493"/>
              <a:gd name="T59" fmla="*/ 2147483647 h 1824"/>
              <a:gd name="T60" fmla="*/ 2147483647 w 1493"/>
              <a:gd name="T61" fmla="*/ 2147483647 h 1824"/>
              <a:gd name="T62" fmla="*/ 2147483647 w 1493"/>
              <a:gd name="T63" fmla="*/ 2147483647 h 1824"/>
              <a:gd name="T64" fmla="*/ 2147483647 w 1493"/>
              <a:gd name="T65" fmla="*/ 2147483647 h 1824"/>
              <a:gd name="T66" fmla="*/ 2147483647 w 1493"/>
              <a:gd name="T67" fmla="*/ 2147483647 h 1824"/>
              <a:gd name="T68" fmla="*/ 2147483647 w 1493"/>
              <a:gd name="T69" fmla="*/ 2147483647 h 1824"/>
              <a:gd name="T70" fmla="*/ 2147483647 w 1493"/>
              <a:gd name="T71" fmla="*/ 2147483647 h 1824"/>
              <a:gd name="T72" fmla="*/ 2147483647 w 1493"/>
              <a:gd name="T73" fmla="*/ 2147483647 h 1824"/>
              <a:gd name="T74" fmla="*/ 2147483647 w 1493"/>
              <a:gd name="T75" fmla="*/ 0 h 1824"/>
              <a:gd name="T76" fmla="*/ 2147483647 w 1493"/>
              <a:gd name="T77" fmla="*/ 2147483647 h 1824"/>
              <a:gd name="T78" fmla="*/ 2147483647 w 1493"/>
              <a:gd name="T79" fmla="*/ 2147483647 h 1824"/>
              <a:gd name="T80" fmla="*/ 2147483647 w 1493"/>
              <a:gd name="T81" fmla="*/ 2147483647 h 1824"/>
              <a:gd name="T82" fmla="*/ 2147483647 w 1493"/>
              <a:gd name="T83" fmla="*/ 2147483647 h 1824"/>
              <a:gd name="T84" fmla="*/ 2147483647 w 1493"/>
              <a:gd name="T85" fmla="*/ 2147483647 h 1824"/>
              <a:gd name="T86" fmla="*/ 2147483647 w 1493"/>
              <a:gd name="T87" fmla="*/ 2147483647 h 1824"/>
              <a:gd name="T88" fmla="*/ 2147483647 w 1493"/>
              <a:gd name="T89" fmla="*/ 2147483647 h 1824"/>
              <a:gd name="T90" fmla="*/ 2147483647 w 1493"/>
              <a:gd name="T91" fmla="*/ 2147483647 h 1824"/>
              <a:gd name="T92" fmla="*/ 2147483647 w 1493"/>
              <a:gd name="T93" fmla="*/ 2147483647 h 1824"/>
              <a:gd name="T94" fmla="*/ 2147483647 w 1493"/>
              <a:gd name="T95" fmla="*/ 2147483647 h 1824"/>
              <a:gd name="T96" fmla="*/ 2147483647 w 1493"/>
              <a:gd name="T97" fmla="*/ 2147483647 h 1824"/>
              <a:gd name="T98" fmla="*/ 2147483647 w 1493"/>
              <a:gd name="T99" fmla="*/ 2147483647 h 1824"/>
              <a:gd name="T100" fmla="*/ 2147483647 w 1493"/>
              <a:gd name="T101" fmla="*/ 2147483647 h 1824"/>
              <a:gd name="T102" fmla="*/ 2147483647 w 1493"/>
              <a:gd name="T103" fmla="*/ 2147483647 h 1824"/>
              <a:gd name="T104" fmla="*/ 2147483647 w 1493"/>
              <a:gd name="T105" fmla="*/ 2147483647 h 1824"/>
              <a:gd name="T106" fmla="*/ 2147483647 w 1493"/>
              <a:gd name="T107" fmla="*/ 2147483647 h 1824"/>
              <a:gd name="T108" fmla="*/ 2147483647 w 1493"/>
              <a:gd name="T109" fmla="*/ 2147483647 h 1824"/>
              <a:gd name="T110" fmla="*/ 2147483647 w 1493"/>
              <a:gd name="T111" fmla="*/ 2147483647 h 1824"/>
              <a:gd name="T112" fmla="*/ 2147483647 w 1493"/>
              <a:gd name="T113" fmla="*/ 2147483647 h 1824"/>
              <a:gd name="T114" fmla="*/ 2147483647 w 1493"/>
              <a:gd name="T115" fmla="*/ 2147483647 h 1824"/>
              <a:gd name="T116" fmla="*/ 2147483647 w 1493"/>
              <a:gd name="T117" fmla="*/ 2147483647 h 1824"/>
              <a:gd name="T118" fmla="*/ 2147483647 w 1493"/>
              <a:gd name="T119" fmla="*/ 2147483647 h 182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493"/>
              <a:gd name="T181" fmla="*/ 0 h 1824"/>
              <a:gd name="T182" fmla="*/ 1493 w 1493"/>
              <a:gd name="T183" fmla="*/ 1824 h 182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493" h="1824">
                <a:moveTo>
                  <a:pt x="834" y="1824"/>
                </a:moveTo>
                <a:lnTo>
                  <a:pt x="817" y="1804"/>
                </a:lnTo>
                <a:lnTo>
                  <a:pt x="802" y="1788"/>
                </a:lnTo>
                <a:lnTo>
                  <a:pt x="785" y="1763"/>
                </a:lnTo>
                <a:lnTo>
                  <a:pt x="757" y="1720"/>
                </a:lnTo>
                <a:lnTo>
                  <a:pt x="741" y="1719"/>
                </a:lnTo>
                <a:lnTo>
                  <a:pt x="726" y="1717"/>
                </a:lnTo>
                <a:lnTo>
                  <a:pt x="710" y="1716"/>
                </a:lnTo>
                <a:lnTo>
                  <a:pt x="693" y="1716"/>
                </a:lnTo>
                <a:lnTo>
                  <a:pt x="705" y="1699"/>
                </a:lnTo>
                <a:lnTo>
                  <a:pt x="714" y="1683"/>
                </a:lnTo>
                <a:lnTo>
                  <a:pt x="722" y="1668"/>
                </a:lnTo>
                <a:lnTo>
                  <a:pt x="727" y="1652"/>
                </a:lnTo>
                <a:lnTo>
                  <a:pt x="731" y="1637"/>
                </a:lnTo>
                <a:lnTo>
                  <a:pt x="731" y="1620"/>
                </a:lnTo>
                <a:lnTo>
                  <a:pt x="731" y="1611"/>
                </a:lnTo>
                <a:lnTo>
                  <a:pt x="729" y="1602"/>
                </a:lnTo>
                <a:lnTo>
                  <a:pt x="727" y="1591"/>
                </a:lnTo>
                <a:lnTo>
                  <a:pt x="724" y="1581"/>
                </a:lnTo>
                <a:lnTo>
                  <a:pt x="767" y="1555"/>
                </a:lnTo>
                <a:lnTo>
                  <a:pt x="810" y="1526"/>
                </a:lnTo>
                <a:lnTo>
                  <a:pt x="830" y="1512"/>
                </a:lnTo>
                <a:lnTo>
                  <a:pt x="848" y="1495"/>
                </a:lnTo>
                <a:lnTo>
                  <a:pt x="866" y="1478"/>
                </a:lnTo>
                <a:lnTo>
                  <a:pt x="882" y="1458"/>
                </a:lnTo>
                <a:lnTo>
                  <a:pt x="882" y="1432"/>
                </a:lnTo>
                <a:lnTo>
                  <a:pt x="882" y="1406"/>
                </a:lnTo>
                <a:lnTo>
                  <a:pt x="880" y="1382"/>
                </a:lnTo>
                <a:lnTo>
                  <a:pt x="878" y="1358"/>
                </a:lnTo>
                <a:lnTo>
                  <a:pt x="874" y="1334"/>
                </a:lnTo>
                <a:lnTo>
                  <a:pt x="869" y="1310"/>
                </a:lnTo>
                <a:lnTo>
                  <a:pt x="861" y="1287"/>
                </a:lnTo>
                <a:lnTo>
                  <a:pt x="852" y="1262"/>
                </a:lnTo>
                <a:lnTo>
                  <a:pt x="837" y="1259"/>
                </a:lnTo>
                <a:lnTo>
                  <a:pt x="824" y="1258"/>
                </a:lnTo>
                <a:lnTo>
                  <a:pt x="813" y="1272"/>
                </a:lnTo>
                <a:lnTo>
                  <a:pt x="801" y="1287"/>
                </a:lnTo>
                <a:lnTo>
                  <a:pt x="789" y="1302"/>
                </a:lnTo>
                <a:lnTo>
                  <a:pt x="778" y="1318"/>
                </a:lnTo>
                <a:lnTo>
                  <a:pt x="779" y="1335"/>
                </a:lnTo>
                <a:lnTo>
                  <a:pt x="782" y="1352"/>
                </a:lnTo>
                <a:lnTo>
                  <a:pt x="785" y="1369"/>
                </a:lnTo>
                <a:lnTo>
                  <a:pt x="788" y="1387"/>
                </a:lnTo>
                <a:lnTo>
                  <a:pt x="791" y="1404"/>
                </a:lnTo>
                <a:lnTo>
                  <a:pt x="791" y="1421"/>
                </a:lnTo>
                <a:lnTo>
                  <a:pt x="791" y="1430"/>
                </a:lnTo>
                <a:lnTo>
                  <a:pt x="789" y="1438"/>
                </a:lnTo>
                <a:lnTo>
                  <a:pt x="787" y="1445"/>
                </a:lnTo>
                <a:lnTo>
                  <a:pt x="784" y="1452"/>
                </a:lnTo>
                <a:lnTo>
                  <a:pt x="765" y="1453"/>
                </a:lnTo>
                <a:lnTo>
                  <a:pt x="753" y="1453"/>
                </a:lnTo>
                <a:lnTo>
                  <a:pt x="742" y="1451"/>
                </a:lnTo>
                <a:lnTo>
                  <a:pt x="729" y="1447"/>
                </a:lnTo>
                <a:lnTo>
                  <a:pt x="729" y="1417"/>
                </a:lnTo>
                <a:lnTo>
                  <a:pt x="731" y="1387"/>
                </a:lnTo>
                <a:lnTo>
                  <a:pt x="731" y="1358"/>
                </a:lnTo>
                <a:lnTo>
                  <a:pt x="732" y="1330"/>
                </a:lnTo>
                <a:lnTo>
                  <a:pt x="715" y="1327"/>
                </a:lnTo>
                <a:lnTo>
                  <a:pt x="700" y="1323"/>
                </a:lnTo>
                <a:lnTo>
                  <a:pt x="694" y="1340"/>
                </a:lnTo>
                <a:lnTo>
                  <a:pt x="689" y="1356"/>
                </a:lnTo>
                <a:lnTo>
                  <a:pt x="684" y="1371"/>
                </a:lnTo>
                <a:lnTo>
                  <a:pt x="680" y="1387"/>
                </a:lnTo>
                <a:lnTo>
                  <a:pt x="663" y="1388"/>
                </a:lnTo>
                <a:lnTo>
                  <a:pt x="646" y="1389"/>
                </a:lnTo>
                <a:lnTo>
                  <a:pt x="629" y="1392"/>
                </a:lnTo>
                <a:lnTo>
                  <a:pt x="612" y="1393"/>
                </a:lnTo>
                <a:lnTo>
                  <a:pt x="598" y="1412"/>
                </a:lnTo>
                <a:lnTo>
                  <a:pt x="585" y="1428"/>
                </a:lnTo>
                <a:lnTo>
                  <a:pt x="576" y="1447"/>
                </a:lnTo>
                <a:lnTo>
                  <a:pt x="568" y="1462"/>
                </a:lnTo>
                <a:lnTo>
                  <a:pt x="563" y="1478"/>
                </a:lnTo>
                <a:lnTo>
                  <a:pt x="559" y="1494"/>
                </a:lnTo>
                <a:lnTo>
                  <a:pt x="558" y="1509"/>
                </a:lnTo>
                <a:lnTo>
                  <a:pt x="556" y="1525"/>
                </a:lnTo>
                <a:lnTo>
                  <a:pt x="558" y="1557"/>
                </a:lnTo>
                <a:lnTo>
                  <a:pt x="562" y="1591"/>
                </a:lnTo>
                <a:lnTo>
                  <a:pt x="564" y="1628"/>
                </a:lnTo>
                <a:lnTo>
                  <a:pt x="567" y="1669"/>
                </a:lnTo>
                <a:lnTo>
                  <a:pt x="563" y="1657"/>
                </a:lnTo>
                <a:lnTo>
                  <a:pt x="559" y="1647"/>
                </a:lnTo>
                <a:lnTo>
                  <a:pt x="553" y="1635"/>
                </a:lnTo>
                <a:lnTo>
                  <a:pt x="546" y="1625"/>
                </a:lnTo>
                <a:lnTo>
                  <a:pt x="540" y="1615"/>
                </a:lnTo>
                <a:lnTo>
                  <a:pt x="533" y="1604"/>
                </a:lnTo>
                <a:lnTo>
                  <a:pt x="527" y="1592"/>
                </a:lnTo>
                <a:lnTo>
                  <a:pt x="520" y="1579"/>
                </a:lnTo>
                <a:lnTo>
                  <a:pt x="510" y="1575"/>
                </a:lnTo>
                <a:lnTo>
                  <a:pt x="499" y="1569"/>
                </a:lnTo>
                <a:lnTo>
                  <a:pt x="489" y="1562"/>
                </a:lnTo>
                <a:lnTo>
                  <a:pt x="478" y="1553"/>
                </a:lnTo>
                <a:lnTo>
                  <a:pt x="459" y="1536"/>
                </a:lnTo>
                <a:lnTo>
                  <a:pt x="438" y="1520"/>
                </a:lnTo>
                <a:lnTo>
                  <a:pt x="429" y="1510"/>
                </a:lnTo>
                <a:lnTo>
                  <a:pt x="419" y="1504"/>
                </a:lnTo>
                <a:lnTo>
                  <a:pt x="408" y="1497"/>
                </a:lnTo>
                <a:lnTo>
                  <a:pt x="399" y="1494"/>
                </a:lnTo>
                <a:lnTo>
                  <a:pt x="389" y="1490"/>
                </a:lnTo>
                <a:lnTo>
                  <a:pt x="378" y="1490"/>
                </a:lnTo>
                <a:lnTo>
                  <a:pt x="368" y="1491"/>
                </a:lnTo>
                <a:lnTo>
                  <a:pt x="357" y="1495"/>
                </a:lnTo>
                <a:lnTo>
                  <a:pt x="357" y="1509"/>
                </a:lnTo>
                <a:lnTo>
                  <a:pt x="357" y="1523"/>
                </a:lnTo>
                <a:lnTo>
                  <a:pt x="357" y="1539"/>
                </a:lnTo>
                <a:lnTo>
                  <a:pt x="359" y="1555"/>
                </a:lnTo>
                <a:lnTo>
                  <a:pt x="343" y="1555"/>
                </a:lnTo>
                <a:lnTo>
                  <a:pt x="327" y="1555"/>
                </a:lnTo>
                <a:lnTo>
                  <a:pt x="321" y="1546"/>
                </a:lnTo>
                <a:lnTo>
                  <a:pt x="314" y="1538"/>
                </a:lnTo>
                <a:lnTo>
                  <a:pt x="308" y="1531"/>
                </a:lnTo>
                <a:lnTo>
                  <a:pt x="301" y="1527"/>
                </a:lnTo>
                <a:lnTo>
                  <a:pt x="295" y="1525"/>
                </a:lnTo>
                <a:lnTo>
                  <a:pt x="288" y="1523"/>
                </a:lnTo>
                <a:lnTo>
                  <a:pt x="282" y="1522"/>
                </a:lnTo>
                <a:lnTo>
                  <a:pt x="274" y="1523"/>
                </a:lnTo>
                <a:lnTo>
                  <a:pt x="260" y="1525"/>
                </a:lnTo>
                <a:lnTo>
                  <a:pt x="244" y="1527"/>
                </a:lnTo>
                <a:lnTo>
                  <a:pt x="227" y="1529"/>
                </a:lnTo>
                <a:lnTo>
                  <a:pt x="209" y="1527"/>
                </a:lnTo>
                <a:lnTo>
                  <a:pt x="213" y="1521"/>
                </a:lnTo>
                <a:lnTo>
                  <a:pt x="218" y="1514"/>
                </a:lnTo>
                <a:lnTo>
                  <a:pt x="230" y="1505"/>
                </a:lnTo>
                <a:lnTo>
                  <a:pt x="251" y="1491"/>
                </a:lnTo>
                <a:lnTo>
                  <a:pt x="253" y="1452"/>
                </a:lnTo>
                <a:lnTo>
                  <a:pt x="259" y="1400"/>
                </a:lnTo>
                <a:lnTo>
                  <a:pt x="265" y="1340"/>
                </a:lnTo>
                <a:lnTo>
                  <a:pt x="270" y="1276"/>
                </a:lnTo>
                <a:lnTo>
                  <a:pt x="272" y="1245"/>
                </a:lnTo>
                <a:lnTo>
                  <a:pt x="272" y="1214"/>
                </a:lnTo>
                <a:lnTo>
                  <a:pt x="270" y="1185"/>
                </a:lnTo>
                <a:lnTo>
                  <a:pt x="268" y="1159"/>
                </a:lnTo>
                <a:lnTo>
                  <a:pt x="266" y="1147"/>
                </a:lnTo>
                <a:lnTo>
                  <a:pt x="264" y="1136"/>
                </a:lnTo>
                <a:lnTo>
                  <a:pt x="260" y="1125"/>
                </a:lnTo>
                <a:lnTo>
                  <a:pt x="257" y="1116"/>
                </a:lnTo>
                <a:lnTo>
                  <a:pt x="253" y="1107"/>
                </a:lnTo>
                <a:lnTo>
                  <a:pt x="248" y="1099"/>
                </a:lnTo>
                <a:lnTo>
                  <a:pt x="243" y="1094"/>
                </a:lnTo>
                <a:lnTo>
                  <a:pt x="238" y="1089"/>
                </a:lnTo>
                <a:lnTo>
                  <a:pt x="200" y="1094"/>
                </a:lnTo>
                <a:lnTo>
                  <a:pt x="164" y="1101"/>
                </a:lnTo>
                <a:lnTo>
                  <a:pt x="145" y="1103"/>
                </a:lnTo>
                <a:lnTo>
                  <a:pt x="127" y="1106"/>
                </a:lnTo>
                <a:lnTo>
                  <a:pt x="109" y="1107"/>
                </a:lnTo>
                <a:lnTo>
                  <a:pt x="89" y="1108"/>
                </a:lnTo>
                <a:lnTo>
                  <a:pt x="66" y="1101"/>
                </a:lnTo>
                <a:lnTo>
                  <a:pt x="44" y="1094"/>
                </a:lnTo>
                <a:lnTo>
                  <a:pt x="22" y="1088"/>
                </a:lnTo>
                <a:lnTo>
                  <a:pt x="0" y="1081"/>
                </a:lnTo>
                <a:lnTo>
                  <a:pt x="1" y="1064"/>
                </a:lnTo>
                <a:lnTo>
                  <a:pt x="4" y="1049"/>
                </a:lnTo>
                <a:lnTo>
                  <a:pt x="6" y="1034"/>
                </a:lnTo>
                <a:lnTo>
                  <a:pt x="7" y="1020"/>
                </a:lnTo>
                <a:lnTo>
                  <a:pt x="59" y="1015"/>
                </a:lnTo>
                <a:lnTo>
                  <a:pt x="111" y="1011"/>
                </a:lnTo>
                <a:lnTo>
                  <a:pt x="164" y="1007"/>
                </a:lnTo>
                <a:lnTo>
                  <a:pt x="216" y="1003"/>
                </a:lnTo>
                <a:lnTo>
                  <a:pt x="268" y="1000"/>
                </a:lnTo>
                <a:lnTo>
                  <a:pt x="320" y="997"/>
                </a:lnTo>
                <a:lnTo>
                  <a:pt x="372" y="994"/>
                </a:lnTo>
                <a:lnTo>
                  <a:pt x="424" y="993"/>
                </a:lnTo>
                <a:lnTo>
                  <a:pt x="442" y="987"/>
                </a:lnTo>
                <a:lnTo>
                  <a:pt x="459" y="982"/>
                </a:lnTo>
                <a:lnTo>
                  <a:pt x="474" y="977"/>
                </a:lnTo>
                <a:lnTo>
                  <a:pt x="487" y="972"/>
                </a:lnTo>
                <a:lnTo>
                  <a:pt x="502" y="965"/>
                </a:lnTo>
                <a:lnTo>
                  <a:pt x="514" y="958"/>
                </a:lnTo>
                <a:lnTo>
                  <a:pt x="524" y="951"/>
                </a:lnTo>
                <a:lnTo>
                  <a:pt x="534" y="943"/>
                </a:lnTo>
                <a:lnTo>
                  <a:pt x="543" y="934"/>
                </a:lnTo>
                <a:lnTo>
                  <a:pt x="551" y="926"/>
                </a:lnTo>
                <a:lnTo>
                  <a:pt x="559" y="917"/>
                </a:lnTo>
                <a:lnTo>
                  <a:pt x="566" y="908"/>
                </a:lnTo>
                <a:lnTo>
                  <a:pt x="572" y="898"/>
                </a:lnTo>
                <a:lnTo>
                  <a:pt x="577" y="887"/>
                </a:lnTo>
                <a:lnTo>
                  <a:pt x="581" y="877"/>
                </a:lnTo>
                <a:lnTo>
                  <a:pt x="586" y="867"/>
                </a:lnTo>
                <a:lnTo>
                  <a:pt x="592" y="843"/>
                </a:lnTo>
                <a:lnTo>
                  <a:pt x="597" y="820"/>
                </a:lnTo>
                <a:lnTo>
                  <a:pt x="599" y="794"/>
                </a:lnTo>
                <a:lnTo>
                  <a:pt x="601" y="766"/>
                </a:lnTo>
                <a:lnTo>
                  <a:pt x="602" y="708"/>
                </a:lnTo>
                <a:lnTo>
                  <a:pt x="603" y="645"/>
                </a:lnTo>
                <a:lnTo>
                  <a:pt x="608" y="645"/>
                </a:lnTo>
                <a:lnTo>
                  <a:pt x="616" y="645"/>
                </a:lnTo>
                <a:lnTo>
                  <a:pt x="616" y="638"/>
                </a:lnTo>
                <a:lnTo>
                  <a:pt x="616" y="631"/>
                </a:lnTo>
                <a:lnTo>
                  <a:pt x="651" y="623"/>
                </a:lnTo>
                <a:lnTo>
                  <a:pt x="687" y="614"/>
                </a:lnTo>
                <a:lnTo>
                  <a:pt x="722" y="606"/>
                </a:lnTo>
                <a:lnTo>
                  <a:pt x="757" y="599"/>
                </a:lnTo>
                <a:lnTo>
                  <a:pt x="759" y="566"/>
                </a:lnTo>
                <a:lnTo>
                  <a:pt x="761" y="540"/>
                </a:lnTo>
                <a:lnTo>
                  <a:pt x="762" y="528"/>
                </a:lnTo>
                <a:lnTo>
                  <a:pt x="763" y="519"/>
                </a:lnTo>
                <a:lnTo>
                  <a:pt x="765" y="510"/>
                </a:lnTo>
                <a:lnTo>
                  <a:pt x="767" y="502"/>
                </a:lnTo>
                <a:lnTo>
                  <a:pt x="771" y="496"/>
                </a:lnTo>
                <a:lnTo>
                  <a:pt x="775" y="489"/>
                </a:lnTo>
                <a:lnTo>
                  <a:pt x="782" y="483"/>
                </a:lnTo>
                <a:lnTo>
                  <a:pt x="788" y="476"/>
                </a:lnTo>
                <a:lnTo>
                  <a:pt x="797" y="471"/>
                </a:lnTo>
                <a:lnTo>
                  <a:pt x="808" y="465"/>
                </a:lnTo>
                <a:lnTo>
                  <a:pt x="819" y="459"/>
                </a:lnTo>
                <a:lnTo>
                  <a:pt x="834" y="453"/>
                </a:lnTo>
                <a:lnTo>
                  <a:pt x="836" y="428"/>
                </a:lnTo>
                <a:lnTo>
                  <a:pt x="840" y="405"/>
                </a:lnTo>
                <a:lnTo>
                  <a:pt x="843" y="381"/>
                </a:lnTo>
                <a:lnTo>
                  <a:pt x="845" y="358"/>
                </a:lnTo>
                <a:lnTo>
                  <a:pt x="870" y="337"/>
                </a:lnTo>
                <a:lnTo>
                  <a:pt x="895" y="318"/>
                </a:lnTo>
                <a:lnTo>
                  <a:pt x="922" y="299"/>
                </a:lnTo>
                <a:lnTo>
                  <a:pt x="951" y="281"/>
                </a:lnTo>
                <a:lnTo>
                  <a:pt x="981" y="267"/>
                </a:lnTo>
                <a:lnTo>
                  <a:pt x="1010" y="254"/>
                </a:lnTo>
                <a:lnTo>
                  <a:pt x="1025" y="249"/>
                </a:lnTo>
                <a:lnTo>
                  <a:pt x="1040" y="243"/>
                </a:lnTo>
                <a:lnTo>
                  <a:pt x="1055" y="239"/>
                </a:lnTo>
                <a:lnTo>
                  <a:pt x="1070" y="237"/>
                </a:lnTo>
                <a:lnTo>
                  <a:pt x="1087" y="207"/>
                </a:lnTo>
                <a:lnTo>
                  <a:pt x="1105" y="178"/>
                </a:lnTo>
                <a:lnTo>
                  <a:pt x="1122" y="148"/>
                </a:lnTo>
                <a:lnTo>
                  <a:pt x="1141" y="118"/>
                </a:lnTo>
                <a:lnTo>
                  <a:pt x="1157" y="89"/>
                </a:lnTo>
                <a:lnTo>
                  <a:pt x="1176" y="60"/>
                </a:lnTo>
                <a:lnTo>
                  <a:pt x="1193" y="30"/>
                </a:lnTo>
                <a:lnTo>
                  <a:pt x="1211" y="0"/>
                </a:lnTo>
                <a:lnTo>
                  <a:pt x="1219" y="0"/>
                </a:lnTo>
                <a:lnTo>
                  <a:pt x="1226" y="3"/>
                </a:lnTo>
                <a:lnTo>
                  <a:pt x="1234" y="5"/>
                </a:lnTo>
                <a:lnTo>
                  <a:pt x="1241" y="11"/>
                </a:lnTo>
                <a:lnTo>
                  <a:pt x="1249" y="16"/>
                </a:lnTo>
                <a:lnTo>
                  <a:pt x="1255" y="24"/>
                </a:lnTo>
                <a:lnTo>
                  <a:pt x="1262" y="31"/>
                </a:lnTo>
                <a:lnTo>
                  <a:pt x="1268" y="39"/>
                </a:lnTo>
                <a:lnTo>
                  <a:pt x="1290" y="74"/>
                </a:lnTo>
                <a:lnTo>
                  <a:pt x="1307" y="103"/>
                </a:lnTo>
                <a:lnTo>
                  <a:pt x="1332" y="125"/>
                </a:lnTo>
                <a:lnTo>
                  <a:pt x="1351" y="144"/>
                </a:lnTo>
                <a:lnTo>
                  <a:pt x="1359" y="154"/>
                </a:lnTo>
                <a:lnTo>
                  <a:pt x="1366" y="164"/>
                </a:lnTo>
                <a:lnTo>
                  <a:pt x="1371" y="173"/>
                </a:lnTo>
                <a:lnTo>
                  <a:pt x="1375" y="184"/>
                </a:lnTo>
                <a:lnTo>
                  <a:pt x="1377" y="193"/>
                </a:lnTo>
                <a:lnTo>
                  <a:pt x="1380" y="204"/>
                </a:lnTo>
                <a:lnTo>
                  <a:pt x="1381" y="216"/>
                </a:lnTo>
                <a:lnTo>
                  <a:pt x="1381" y="228"/>
                </a:lnTo>
                <a:lnTo>
                  <a:pt x="1379" y="256"/>
                </a:lnTo>
                <a:lnTo>
                  <a:pt x="1375" y="290"/>
                </a:lnTo>
                <a:lnTo>
                  <a:pt x="1386" y="301"/>
                </a:lnTo>
                <a:lnTo>
                  <a:pt x="1397" y="308"/>
                </a:lnTo>
                <a:lnTo>
                  <a:pt x="1409" y="312"/>
                </a:lnTo>
                <a:lnTo>
                  <a:pt x="1422" y="316"/>
                </a:lnTo>
                <a:lnTo>
                  <a:pt x="1448" y="319"/>
                </a:lnTo>
                <a:lnTo>
                  <a:pt x="1479" y="321"/>
                </a:lnTo>
                <a:lnTo>
                  <a:pt x="1480" y="331"/>
                </a:lnTo>
                <a:lnTo>
                  <a:pt x="1481" y="340"/>
                </a:lnTo>
                <a:lnTo>
                  <a:pt x="1483" y="350"/>
                </a:lnTo>
                <a:lnTo>
                  <a:pt x="1483" y="363"/>
                </a:lnTo>
                <a:lnTo>
                  <a:pt x="1481" y="409"/>
                </a:lnTo>
                <a:lnTo>
                  <a:pt x="1479" y="491"/>
                </a:lnTo>
                <a:lnTo>
                  <a:pt x="1487" y="517"/>
                </a:lnTo>
                <a:lnTo>
                  <a:pt x="1492" y="537"/>
                </a:lnTo>
                <a:lnTo>
                  <a:pt x="1493" y="546"/>
                </a:lnTo>
                <a:lnTo>
                  <a:pt x="1493" y="556"/>
                </a:lnTo>
                <a:lnTo>
                  <a:pt x="1493" y="565"/>
                </a:lnTo>
                <a:lnTo>
                  <a:pt x="1493" y="574"/>
                </a:lnTo>
                <a:lnTo>
                  <a:pt x="1489" y="592"/>
                </a:lnTo>
                <a:lnTo>
                  <a:pt x="1484" y="610"/>
                </a:lnTo>
                <a:lnTo>
                  <a:pt x="1478" y="632"/>
                </a:lnTo>
                <a:lnTo>
                  <a:pt x="1468" y="658"/>
                </a:lnTo>
                <a:lnTo>
                  <a:pt x="1435" y="673"/>
                </a:lnTo>
                <a:lnTo>
                  <a:pt x="1403" y="684"/>
                </a:lnTo>
                <a:lnTo>
                  <a:pt x="1388" y="690"/>
                </a:lnTo>
                <a:lnTo>
                  <a:pt x="1371" y="695"/>
                </a:lnTo>
                <a:lnTo>
                  <a:pt x="1353" y="699"/>
                </a:lnTo>
                <a:lnTo>
                  <a:pt x="1334" y="703"/>
                </a:lnTo>
                <a:lnTo>
                  <a:pt x="1324" y="731"/>
                </a:lnTo>
                <a:lnTo>
                  <a:pt x="1314" y="760"/>
                </a:lnTo>
                <a:lnTo>
                  <a:pt x="1305" y="788"/>
                </a:lnTo>
                <a:lnTo>
                  <a:pt x="1295" y="818"/>
                </a:lnTo>
                <a:lnTo>
                  <a:pt x="1282" y="826"/>
                </a:lnTo>
                <a:lnTo>
                  <a:pt x="1269" y="834"/>
                </a:lnTo>
                <a:lnTo>
                  <a:pt x="1256" y="843"/>
                </a:lnTo>
                <a:lnTo>
                  <a:pt x="1245" y="853"/>
                </a:lnTo>
                <a:lnTo>
                  <a:pt x="1233" y="864"/>
                </a:lnTo>
                <a:lnTo>
                  <a:pt x="1223" y="876"/>
                </a:lnTo>
                <a:lnTo>
                  <a:pt x="1213" y="887"/>
                </a:lnTo>
                <a:lnTo>
                  <a:pt x="1206" y="899"/>
                </a:lnTo>
                <a:lnTo>
                  <a:pt x="1199" y="912"/>
                </a:lnTo>
                <a:lnTo>
                  <a:pt x="1193" y="926"/>
                </a:lnTo>
                <a:lnTo>
                  <a:pt x="1189" y="939"/>
                </a:lnTo>
                <a:lnTo>
                  <a:pt x="1186" y="954"/>
                </a:lnTo>
                <a:lnTo>
                  <a:pt x="1185" y="969"/>
                </a:lnTo>
                <a:lnTo>
                  <a:pt x="1186" y="984"/>
                </a:lnTo>
                <a:lnTo>
                  <a:pt x="1189" y="1000"/>
                </a:lnTo>
                <a:lnTo>
                  <a:pt x="1194" y="1016"/>
                </a:lnTo>
                <a:lnTo>
                  <a:pt x="1204" y="1020"/>
                </a:lnTo>
                <a:lnTo>
                  <a:pt x="1215" y="1024"/>
                </a:lnTo>
                <a:lnTo>
                  <a:pt x="1226" y="1029"/>
                </a:lnTo>
                <a:lnTo>
                  <a:pt x="1238" y="1033"/>
                </a:lnTo>
                <a:lnTo>
                  <a:pt x="1232" y="1127"/>
                </a:lnTo>
                <a:lnTo>
                  <a:pt x="1230" y="1176"/>
                </a:lnTo>
                <a:lnTo>
                  <a:pt x="1229" y="1189"/>
                </a:lnTo>
                <a:lnTo>
                  <a:pt x="1230" y="1198"/>
                </a:lnTo>
                <a:lnTo>
                  <a:pt x="1230" y="1203"/>
                </a:lnTo>
                <a:lnTo>
                  <a:pt x="1232" y="1209"/>
                </a:lnTo>
                <a:lnTo>
                  <a:pt x="1212" y="1215"/>
                </a:lnTo>
                <a:lnTo>
                  <a:pt x="1194" y="1219"/>
                </a:lnTo>
                <a:lnTo>
                  <a:pt x="1176" y="1223"/>
                </a:lnTo>
                <a:lnTo>
                  <a:pt x="1159" y="1224"/>
                </a:lnTo>
                <a:lnTo>
                  <a:pt x="1121" y="1227"/>
                </a:lnTo>
                <a:lnTo>
                  <a:pt x="1079" y="1226"/>
                </a:lnTo>
                <a:lnTo>
                  <a:pt x="1072" y="1239"/>
                </a:lnTo>
                <a:lnTo>
                  <a:pt x="1066" y="1252"/>
                </a:lnTo>
                <a:lnTo>
                  <a:pt x="1063" y="1274"/>
                </a:lnTo>
                <a:lnTo>
                  <a:pt x="1055" y="1310"/>
                </a:lnTo>
                <a:lnTo>
                  <a:pt x="1046" y="1322"/>
                </a:lnTo>
                <a:lnTo>
                  <a:pt x="1037" y="1335"/>
                </a:lnTo>
                <a:lnTo>
                  <a:pt x="1027" y="1349"/>
                </a:lnTo>
                <a:lnTo>
                  <a:pt x="1018" y="1366"/>
                </a:lnTo>
                <a:lnTo>
                  <a:pt x="1010" y="1384"/>
                </a:lnTo>
                <a:lnTo>
                  <a:pt x="1003" y="1402"/>
                </a:lnTo>
                <a:lnTo>
                  <a:pt x="996" y="1422"/>
                </a:lnTo>
                <a:lnTo>
                  <a:pt x="991" y="1442"/>
                </a:lnTo>
                <a:lnTo>
                  <a:pt x="988" y="1460"/>
                </a:lnTo>
                <a:lnTo>
                  <a:pt x="987" y="1478"/>
                </a:lnTo>
                <a:lnTo>
                  <a:pt x="988" y="1486"/>
                </a:lnTo>
                <a:lnTo>
                  <a:pt x="988" y="1495"/>
                </a:lnTo>
                <a:lnTo>
                  <a:pt x="991" y="1503"/>
                </a:lnTo>
                <a:lnTo>
                  <a:pt x="994" y="1509"/>
                </a:lnTo>
                <a:lnTo>
                  <a:pt x="996" y="1517"/>
                </a:lnTo>
                <a:lnTo>
                  <a:pt x="1001" y="1523"/>
                </a:lnTo>
                <a:lnTo>
                  <a:pt x="1007" y="1529"/>
                </a:lnTo>
                <a:lnTo>
                  <a:pt x="1012" y="1534"/>
                </a:lnTo>
                <a:lnTo>
                  <a:pt x="1018" y="1539"/>
                </a:lnTo>
                <a:lnTo>
                  <a:pt x="1026" y="1543"/>
                </a:lnTo>
                <a:lnTo>
                  <a:pt x="1035" y="1547"/>
                </a:lnTo>
                <a:lnTo>
                  <a:pt x="1046" y="1548"/>
                </a:lnTo>
                <a:lnTo>
                  <a:pt x="1048" y="1562"/>
                </a:lnTo>
                <a:lnTo>
                  <a:pt x="1052" y="1578"/>
                </a:lnTo>
                <a:lnTo>
                  <a:pt x="1055" y="1592"/>
                </a:lnTo>
                <a:lnTo>
                  <a:pt x="1059" y="1607"/>
                </a:lnTo>
                <a:lnTo>
                  <a:pt x="1037" y="1615"/>
                </a:lnTo>
                <a:lnTo>
                  <a:pt x="1018" y="1622"/>
                </a:lnTo>
                <a:lnTo>
                  <a:pt x="1009" y="1626"/>
                </a:lnTo>
                <a:lnTo>
                  <a:pt x="1001" y="1633"/>
                </a:lnTo>
                <a:lnTo>
                  <a:pt x="994" y="1639"/>
                </a:lnTo>
                <a:lnTo>
                  <a:pt x="986" y="1648"/>
                </a:lnTo>
                <a:lnTo>
                  <a:pt x="984" y="1667"/>
                </a:lnTo>
                <a:lnTo>
                  <a:pt x="982" y="1685"/>
                </a:lnTo>
                <a:lnTo>
                  <a:pt x="978" y="1700"/>
                </a:lnTo>
                <a:lnTo>
                  <a:pt x="974" y="1716"/>
                </a:lnTo>
                <a:lnTo>
                  <a:pt x="969" y="1732"/>
                </a:lnTo>
                <a:lnTo>
                  <a:pt x="962" y="1745"/>
                </a:lnTo>
                <a:lnTo>
                  <a:pt x="955" y="1758"/>
                </a:lnTo>
                <a:lnTo>
                  <a:pt x="947" y="1769"/>
                </a:lnTo>
                <a:lnTo>
                  <a:pt x="938" y="1780"/>
                </a:lnTo>
                <a:lnTo>
                  <a:pt x="926" y="1790"/>
                </a:lnTo>
                <a:lnTo>
                  <a:pt x="914" y="1798"/>
                </a:lnTo>
                <a:lnTo>
                  <a:pt x="901" y="1806"/>
                </a:lnTo>
                <a:lnTo>
                  <a:pt x="887" y="1812"/>
                </a:lnTo>
                <a:lnTo>
                  <a:pt x="870" y="1817"/>
                </a:lnTo>
                <a:lnTo>
                  <a:pt x="853" y="1821"/>
                </a:lnTo>
                <a:lnTo>
                  <a:pt x="834" y="1824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00" name="Freeform 65"/>
          <p:cNvSpPr>
            <a:spLocks/>
          </p:cNvSpPr>
          <p:nvPr/>
        </p:nvSpPr>
        <p:spPr bwMode="auto">
          <a:xfrm>
            <a:off x="3471863" y="2079625"/>
            <a:ext cx="47625" cy="100013"/>
          </a:xfrm>
          <a:custGeom>
            <a:avLst/>
            <a:gdLst>
              <a:gd name="T0" fmla="*/ 2147483647 w 119"/>
              <a:gd name="T1" fmla="*/ 2147483647 h 252"/>
              <a:gd name="T2" fmla="*/ 2147483647 w 119"/>
              <a:gd name="T3" fmla="*/ 2147483647 h 252"/>
              <a:gd name="T4" fmla="*/ 2147483647 w 119"/>
              <a:gd name="T5" fmla="*/ 2147483647 h 252"/>
              <a:gd name="T6" fmla="*/ 2147483647 w 119"/>
              <a:gd name="T7" fmla="*/ 2147483647 h 252"/>
              <a:gd name="T8" fmla="*/ 2147483647 w 119"/>
              <a:gd name="T9" fmla="*/ 2147483647 h 252"/>
              <a:gd name="T10" fmla="*/ 2147483647 w 119"/>
              <a:gd name="T11" fmla="*/ 2147483647 h 252"/>
              <a:gd name="T12" fmla="*/ 2147483647 w 119"/>
              <a:gd name="T13" fmla="*/ 2147483647 h 252"/>
              <a:gd name="T14" fmla="*/ 2147483647 w 119"/>
              <a:gd name="T15" fmla="*/ 2147483647 h 252"/>
              <a:gd name="T16" fmla="*/ 2147483647 w 119"/>
              <a:gd name="T17" fmla="*/ 2147483647 h 252"/>
              <a:gd name="T18" fmla="*/ 2147483647 w 119"/>
              <a:gd name="T19" fmla="*/ 2147483647 h 252"/>
              <a:gd name="T20" fmla="*/ 2147483647 w 119"/>
              <a:gd name="T21" fmla="*/ 2147483647 h 252"/>
              <a:gd name="T22" fmla="*/ 2147483647 w 119"/>
              <a:gd name="T23" fmla="*/ 2147483647 h 252"/>
              <a:gd name="T24" fmla="*/ 2147483647 w 119"/>
              <a:gd name="T25" fmla="*/ 2147483647 h 252"/>
              <a:gd name="T26" fmla="*/ 2147483647 w 119"/>
              <a:gd name="T27" fmla="*/ 2147483647 h 252"/>
              <a:gd name="T28" fmla="*/ 2147483647 w 119"/>
              <a:gd name="T29" fmla="*/ 2147483647 h 252"/>
              <a:gd name="T30" fmla="*/ 0 w 119"/>
              <a:gd name="T31" fmla="*/ 2147483647 h 252"/>
              <a:gd name="T32" fmla="*/ 0 w 119"/>
              <a:gd name="T33" fmla="*/ 2147483647 h 252"/>
              <a:gd name="T34" fmla="*/ 0 w 119"/>
              <a:gd name="T35" fmla="*/ 2147483647 h 252"/>
              <a:gd name="T36" fmla="*/ 2147483647 w 119"/>
              <a:gd name="T37" fmla="*/ 2147483647 h 252"/>
              <a:gd name="T38" fmla="*/ 2147483647 w 119"/>
              <a:gd name="T39" fmla="*/ 2147483647 h 252"/>
              <a:gd name="T40" fmla="*/ 2147483647 w 119"/>
              <a:gd name="T41" fmla="*/ 2147483647 h 252"/>
              <a:gd name="T42" fmla="*/ 2147483647 w 119"/>
              <a:gd name="T43" fmla="*/ 2147483647 h 252"/>
              <a:gd name="T44" fmla="*/ 2147483647 w 119"/>
              <a:gd name="T45" fmla="*/ 2147483647 h 252"/>
              <a:gd name="T46" fmla="*/ 2147483647 w 119"/>
              <a:gd name="T47" fmla="*/ 2147483647 h 252"/>
              <a:gd name="T48" fmla="*/ 2147483647 w 119"/>
              <a:gd name="T49" fmla="*/ 2147483647 h 252"/>
              <a:gd name="T50" fmla="*/ 2147483647 w 119"/>
              <a:gd name="T51" fmla="*/ 2147483647 h 252"/>
              <a:gd name="T52" fmla="*/ 2147483647 w 119"/>
              <a:gd name="T53" fmla="*/ 2147483647 h 252"/>
              <a:gd name="T54" fmla="*/ 2147483647 w 119"/>
              <a:gd name="T55" fmla="*/ 2147483647 h 252"/>
              <a:gd name="T56" fmla="*/ 2147483647 w 119"/>
              <a:gd name="T57" fmla="*/ 2147483647 h 252"/>
              <a:gd name="T58" fmla="*/ 2147483647 w 119"/>
              <a:gd name="T59" fmla="*/ 0 h 252"/>
              <a:gd name="T60" fmla="*/ 2147483647 w 119"/>
              <a:gd name="T61" fmla="*/ 0 h 252"/>
              <a:gd name="T62" fmla="*/ 2147483647 w 119"/>
              <a:gd name="T63" fmla="*/ 0 h 252"/>
              <a:gd name="T64" fmla="*/ 2147483647 w 119"/>
              <a:gd name="T65" fmla="*/ 2147483647 h 252"/>
              <a:gd name="T66" fmla="*/ 2147483647 w 119"/>
              <a:gd name="T67" fmla="*/ 2147483647 h 252"/>
              <a:gd name="T68" fmla="*/ 2147483647 w 119"/>
              <a:gd name="T69" fmla="*/ 2147483647 h 252"/>
              <a:gd name="T70" fmla="*/ 2147483647 w 119"/>
              <a:gd name="T71" fmla="*/ 2147483647 h 252"/>
              <a:gd name="T72" fmla="*/ 2147483647 w 119"/>
              <a:gd name="T73" fmla="*/ 2147483647 h 252"/>
              <a:gd name="T74" fmla="*/ 2147483647 w 119"/>
              <a:gd name="T75" fmla="*/ 2147483647 h 252"/>
              <a:gd name="T76" fmla="*/ 2147483647 w 119"/>
              <a:gd name="T77" fmla="*/ 2147483647 h 252"/>
              <a:gd name="T78" fmla="*/ 2147483647 w 119"/>
              <a:gd name="T79" fmla="*/ 2147483647 h 252"/>
              <a:gd name="T80" fmla="*/ 2147483647 w 119"/>
              <a:gd name="T81" fmla="*/ 2147483647 h 252"/>
              <a:gd name="T82" fmla="*/ 2147483647 w 119"/>
              <a:gd name="T83" fmla="*/ 2147483647 h 252"/>
              <a:gd name="T84" fmla="*/ 2147483647 w 119"/>
              <a:gd name="T85" fmla="*/ 2147483647 h 252"/>
              <a:gd name="T86" fmla="*/ 2147483647 w 119"/>
              <a:gd name="T87" fmla="*/ 2147483647 h 252"/>
              <a:gd name="T88" fmla="*/ 2147483647 w 119"/>
              <a:gd name="T89" fmla="*/ 2147483647 h 252"/>
              <a:gd name="T90" fmla="*/ 2147483647 w 119"/>
              <a:gd name="T91" fmla="*/ 2147483647 h 252"/>
              <a:gd name="T92" fmla="*/ 2147483647 w 119"/>
              <a:gd name="T93" fmla="*/ 2147483647 h 252"/>
              <a:gd name="T94" fmla="*/ 2147483647 w 119"/>
              <a:gd name="T95" fmla="*/ 2147483647 h 252"/>
              <a:gd name="T96" fmla="*/ 2147483647 w 119"/>
              <a:gd name="T97" fmla="*/ 2147483647 h 252"/>
              <a:gd name="T98" fmla="*/ 2147483647 w 119"/>
              <a:gd name="T99" fmla="*/ 2147483647 h 252"/>
              <a:gd name="T100" fmla="*/ 2147483647 w 119"/>
              <a:gd name="T101" fmla="*/ 2147483647 h 252"/>
              <a:gd name="T102" fmla="*/ 2147483647 w 119"/>
              <a:gd name="T103" fmla="*/ 2147483647 h 252"/>
              <a:gd name="T104" fmla="*/ 2147483647 w 119"/>
              <a:gd name="T105" fmla="*/ 2147483647 h 25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19"/>
              <a:gd name="T160" fmla="*/ 0 h 252"/>
              <a:gd name="T161" fmla="*/ 119 w 119"/>
              <a:gd name="T162" fmla="*/ 252 h 25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19" h="252">
                <a:moveTo>
                  <a:pt x="70" y="252"/>
                </a:moveTo>
                <a:lnTo>
                  <a:pt x="62" y="245"/>
                </a:lnTo>
                <a:lnTo>
                  <a:pt x="57" y="239"/>
                </a:lnTo>
                <a:lnTo>
                  <a:pt x="50" y="236"/>
                </a:lnTo>
                <a:lnTo>
                  <a:pt x="40" y="233"/>
                </a:lnTo>
                <a:lnTo>
                  <a:pt x="40" y="220"/>
                </a:lnTo>
                <a:lnTo>
                  <a:pt x="39" y="207"/>
                </a:lnTo>
                <a:lnTo>
                  <a:pt x="36" y="195"/>
                </a:lnTo>
                <a:lnTo>
                  <a:pt x="34" y="185"/>
                </a:lnTo>
                <a:lnTo>
                  <a:pt x="28" y="174"/>
                </a:lnTo>
                <a:lnTo>
                  <a:pt x="22" y="167"/>
                </a:lnTo>
                <a:lnTo>
                  <a:pt x="18" y="163"/>
                </a:lnTo>
                <a:lnTo>
                  <a:pt x="13" y="160"/>
                </a:lnTo>
                <a:lnTo>
                  <a:pt x="8" y="157"/>
                </a:lnTo>
                <a:lnTo>
                  <a:pt x="1" y="156"/>
                </a:lnTo>
                <a:lnTo>
                  <a:pt x="0" y="143"/>
                </a:lnTo>
                <a:lnTo>
                  <a:pt x="0" y="128"/>
                </a:lnTo>
                <a:lnTo>
                  <a:pt x="0" y="112"/>
                </a:lnTo>
                <a:lnTo>
                  <a:pt x="1" y="96"/>
                </a:lnTo>
                <a:lnTo>
                  <a:pt x="2" y="81"/>
                </a:lnTo>
                <a:lnTo>
                  <a:pt x="5" y="65"/>
                </a:lnTo>
                <a:lnTo>
                  <a:pt x="9" y="50"/>
                </a:lnTo>
                <a:lnTo>
                  <a:pt x="13" y="35"/>
                </a:lnTo>
                <a:lnTo>
                  <a:pt x="19" y="23"/>
                </a:lnTo>
                <a:lnTo>
                  <a:pt x="26" y="13"/>
                </a:lnTo>
                <a:lnTo>
                  <a:pt x="30" y="9"/>
                </a:lnTo>
                <a:lnTo>
                  <a:pt x="35" y="7"/>
                </a:lnTo>
                <a:lnTo>
                  <a:pt x="39" y="3"/>
                </a:lnTo>
                <a:lnTo>
                  <a:pt x="44" y="1"/>
                </a:lnTo>
                <a:lnTo>
                  <a:pt x="49" y="0"/>
                </a:lnTo>
                <a:lnTo>
                  <a:pt x="56" y="0"/>
                </a:lnTo>
                <a:lnTo>
                  <a:pt x="61" y="0"/>
                </a:lnTo>
                <a:lnTo>
                  <a:pt x="67" y="3"/>
                </a:lnTo>
                <a:lnTo>
                  <a:pt x="74" y="5"/>
                </a:lnTo>
                <a:lnTo>
                  <a:pt x="82" y="9"/>
                </a:lnTo>
                <a:lnTo>
                  <a:pt x="90" y="13"/>
                </a:lnTo>
                <a:lnTo>
                  <a:pt x="97" y="20"/>
                </a:lnTo>
                <a:lnTo>
                  <a:pt x="101" y="47"/>
                </a:lnTo>
                <a:lnTo>
                  <a:pt x="108" y="81"/>
                </a:lnTo>
                <a:lnTo>
                  <a:pt x="114" y="117"/>
                </a:lnTo>
                <a:lnTo>
                  <a:pt x="118" y="155"/>
                </a:lnTo>
                <a:lnTo>
                  <a:pt x="119" y="172"/>
                </a:lnTo>
                <a:lnTo>
                  <a:pt x="119" y="190"/>
                </a:lnTo>
                <a:lnTo>
                  <a:pt x="117" y="206"/>
                </a:lnTo>
                <a:lnTo>
                  <a:pt x="113" y="219"/>
                </a:lnTo>
                <a:lnTo>
                  <a:pt x="110" y="225"/>
                </a:lnTo>
                <a:lnTo>
                  <a:pt x="106" y="232"/>
                </a:lnTo>
                <a:lnTo>
                  <a:pt x="103" y="237"/>
                </a:lnTo>
                <a:lnTo>
                  <a:pt x="97" y="241"/>
                </a:lnTo>
                <a:lnTo>
                  <a:pt x="92" y="245"/>
                </a:lnTo>
                <a:lnTo>
                  <a:pt x="86" y="249"/>
                </a:lnTo>
                <a:lnTo>
                  <a:pt x="78" y="251"/>
                </a:lnTo>
                <a:lnTo>
                  <a:pt x="70" y="252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01" name="Freeform 66"/>
          <p:cNvSpPr>
            <a:spLocks/>
          </p:cNvSpPr>
          <p:nvPr/>
        </p:nvSpPr>
        <p:spPr bwMode="auto">
          <a:xfrm>
            <a:off x="4281488" y="2138363"/>
            <a:ext cx="47625" cy="25400"/>
          </a:xfrm>
          <a:custGeom>
            <a:avLst/>
            <a:gdLst>
              <a:gd name="T0" fmla="*/ 2147483647 w 121"/>
              <a:gd name="T1" fmla="*/ 2147483647 h 65"/>
              <a:gd name="T2" fmla="*/ 2147483647 w 121"/>
              <a:gd name="T3" fmla="*/ 2147483647 h 65"/>
              <a:gd name="T4" fmla="*/ 0 w 121"/>
              <a:gd name="T5" fmla="*/ 2147483647 h 65"/>
              <a:gd name="T6" fmla="*/ 2147483647 w 121"/>
              <a:gd name="T7" fmla="*/ 2147483647 h 65"/>
              <a:gd name="T8" fmla="*/ 2147483647 w 121"/>
              <a:gd name="T9" fmla="*/ 2147483647 h 65"/>
              <a:gd name="T10" fmla="*/ 2147483647 w 121"/>
              <a:gd name="T11" fmla="*/ 2147483647 h 65"/>
              <a:gd name="T12" fmla="*/ 2147483647 w 121"/>
              <a:gd name="T13" fmla="*/ 2147483647 h 65"/>
              <a:gd name="T14" fmla="*/ 2147483647 w 121"/>
              <a:gd name="T15" fmla="*/ 2147483647 h 65"/>
              <a:gd name="T16" fmla="*/ 2147483647 w 121"/>
              <a:gd name="T17" fmla="*/ 2147483647 h 65"/>
              <a:gd name="T18" fmla="*/ 2147483647 w 121"/>
              <a:gd name="T19" fmla="*/ 2147483647 h 65"/>
              <a:gd name="T20" fmla="*/ 2147483647 w 121"/>
              <a:gd name="T21" fmla="*/ 2147483647 h 65"/>
              <a:gd name="T22" fmla="*/ 2147483647 w 121"/>
              <a:gd name="T23" fmla="*/ 2147483647 h 65"/>
              <a:gd name="T24" fmla="*/ 2147483647 w 121"/>
              <a:gd name="T25" fmla="*/ 2147483647 h 65"/>
              <a:gd name="T26" fmla="*/ 2147483647 w 121"/>
              <a:gd name="T27" fmla="*/ 0 h 65"/>
              <a:gd name="T28" fmla="*/ 2147483647 w 121"/>
              <a:gd name="T29" fmla="*/ 0 h 65"/>
              <a:gd name="T30" fmla="*/ 2147483647 w 121"/>
              <a:gd name="T31" fmla="*/ 2147483647 h 65"/>
              <a:gd name="T32" fmla="*/ 2147483647 w 121"/>
              <a:gd name="T33" fmla="*/ 2147483647 h 65"/>
              <a:gd name="T34" fmla="*/ 2147483647 w 121"/>
              <a:gd name="T35" fmla="*/ 2147483647 h 65"/>
              <a:gd name="T36" fmla="*/ 2147483647 w 121"/>
              <a:gd name="T37" fmla="*/ 2147483647 h 65"/>
              <a:gd name="T38" fmla="*/ 2147483647 w 121"/>
              <a:gd name="T39" fmla="*/ 2147483647 h 65"/>
              <a:gd name="T40" fmla="*/ 2147483647 w 121"/>
              <a:gd name="T41" fmla="*/ 2147483647 h 65"/>
              <a:gd name="T42" fmla="*/ 2147483647 w 121"/>
              <a:gd name="T43" fmla="*/ 2147483647 h 65"/>
              <a:gd name="T44" fmla="*/ 2147483647 w 121"/>
              <a:gd name="T45" fmla="*/ 2147483647 h 65"/>
              <a:gd name="T46" fmla="*/ 2147483647 w 121"/>
              <a:gd name="T47" fmla="*/ 2147483647 h 65"/>
              <a:gd name="T48" fmla="*/ 2147483647 w 121"/>
              <a:gd name="T49" fmla="*/ 2147483647 h 65"/>
              <a:gd name="T50" fmla="*/ 2147483647 w 121"/>
              <a:gd name="T51" fmla="*/ 2147483647 h 65"/>
              <a:gd name="T52" fmla="*/ 2147483647 w 121"/>
              <a:gd name="T53" fmla="*/ 2147483647 h 65"/>
              <a:gd name="T54" fmla="*/ 2147483647 w 121"/>
              <a:gd name="T55" fmla="*/ 2147483647 h 65"/>
              <a:gd name="T56" fmla="*/ 2147483647 w 121"/>
              <a:gd name="T57" fmla="*/ 2147483647 h 65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21"/>
              <a:gd name="T88" fmla="*/ 0 h 65"/>
              <a:gd name="T89" fmla="*/ 121 w 121"/>
              <a:gd name="T90" fmla="*/ 65 h 65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21" h="65">
                <a:moveTo>
                  <a:pt x="19" y="65"/>
                </a:moveTo>
                <a:lnTo>
                  <a:pt x="9" y="63"/>
                </a:lnTo>
                <a:lnTo>
                  <a:pt x="0" y="60"/>
                </a:lnTo>
                <a:lnTo>
                  <a:pt x="2" y="50"/>
                </a:lnTo>
                <a:lnTo>
                  <a:pt x="6" y="41"/>
                </a:lnTo>
                <a:lnTo>
                  <a:pt x="10" y="33"/>
                </a:lnTo>
                <a:lnTo>
                  <a:pt x="15" y="26"/>
                </a:lnTo>
                <a:lnTo>
                  <a:pt x="22" y="20"/>
                </a:lnTo>
                <a:lnTo>
                  <a:pt x="30" y="13"/>
                </a:lnTo>
                <a:lnTo>
                  <a:pt x="37" y="9"/>
                </a:lnTo>
                <a:lnTo>
                  <a:pt x="47" y="6"/>
                </a:lnTo>
                <a:lnTo>
                  <a:pt x="56" y="3"/>
                </a:lnTo>
                <a:lnTo>
                  <a:pt x="65" y="2"/>
                </a:lnTo>
                <a:lnTo>
                  <a:pt x="74" y="0"/>
                </a:lnTo>
                <a:lnTo>
                  <a:pt x="84" y="0"/>
                </a:lnTo>
                <a:lnTo>
                  <a:pt x="93" y="2"/>
                </a:lnTo>
                <a:lnTo>
                  <a:pt x="104" y="4"/>
                </a:lnTo>
                <a:lnTo>
                  <a:pt x="113" y="7"/>
                </a:lnTo>
                <a:lnTo>
                  <a:pt x="121" y="12"/>
                </a:lnTo>
                <a:lnTo>
                  <a:pt x="119" y="22"/>
                </a:lnTo>
                <a:lnTo>
                  <a:pt x="118" y="33"/>
                </a:lnTo>
                <a:lnTo>
                  <a:pt x="117" y="43"/>
                </a:lnTo>
                <a:lnTo>
                  <a:pt x="116" y="54"/>
                </a:lnTo>
                <a:lnTo>
                  <a:pt x="110" y="56"/>
                </a:lnTo>
                <a:lnTo>
                  <a:pt x="106" y="59"/>
                </a:lnTo>
                <a:lnTo>
                  <a:pt x="101" y="60"/>
                </a:lnTo>
                <a:lnTo>
                  <a:pt x="93" y="62"/>
                </a:lnTo>
                <a:lnTo>
                  <a:pt x="67" y="63"/>
                </a:lnTo>
                <a:lnTo>
                  <a:pt x="19" y="65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02" name="Freeform 67"/>
          <p:cNvSpPr>
            <a:spLocks/>
          </p:cNvSpPr>
          <p:nvPr/>
        </p:nvSpPr>
        <p:spPr bwMode="auto">
          <a:xfrm>
            <a:off x="730250" y="1982788"/>
            <a:ext cx="146050" cy="173037"/>
          </a:xfrm>
          <a:custGeom>
            <a:avLst/>
            <a:gdLst>
              <a:gd name="T0" fmla="*/ 2147483647 w 369"/>
              <a:gd name="T1" fmla="*/ 2147483647 h 438"/>
              <a:gd name="T2" fmla="*/ 2147483647 w 369"/>
              <a:gd name="T3" fmla="*/ 2147483647 h 438"/>
              <a:gd name="T4" fmla="*/ 2147483647 w 369"/>
              <a:gd name="T5" fmla="*/ 2147483647 h 438"/>
              <a:gd name="T6" fmla="*/ 2147483647 w 369"/>
              <a:gd name="T7" fmla="*/ 2147483647 h 438"/>
              <a:gd name="T8" fmla="*/ 2147483647 w 369"/>
              <a:gd name="T9" fmla="*/ 2147483647 h 438"/>
              <a:gd name="T10" fmla="*/ 2147483647 w 369"/>
              <a:gd name="T11" fmla="*/ 2147483647 h 438"/>
              <a:gd name="T12" fmla="*/ 2147483647 w 369"/>
              <a:gd name="T13" fmla="*/ 2147483647 h 438"/>
              <a:gd name="T14" fmla="*/ 2147483647 w 369"/>
              <a:gd name="T15" fmla="*/ 2147483647 h 438"/>
              <a:gd name="T16" fmla="*/ 2147483647 w 369"/>
              <a:gd name="T17" fmla="*/ 2147483647 h 438"/>
              <a:gd name="T18" fmla="*/ 0 w 369"/>
              <a:gd name="T19" fmla="*/ 2147483647 h 438"/>
              <a:gd name="T20" fmla="*/ 2147483647 w 369"/>
              <a:gd name="T21" fmla="*/ 2147483647 h 438"/>
              <a:gd name="T22" fmla="*/ 2147483647 w 369"/>
              <a:gd name="T23" fmla="*/ 2147483647 h 438"/>
              <a:gd name="T24" fmla="*/ 2147483647 w 369"/>
              <a:gd name="T25" fmla="*/ 2147483647 h 438"/>
              <a:gd name="T26" fmla="*/ 2147483647 w 369"/>
              <a:gd name="T27" fmla="*/ 2147483647 h 438"/>
              <a:gd name="T28" fmla="*/ 2147483647 w 369"/>
              <a:gd name="T29" fmla="*/ 2147483647 h 438"/>
              <a:gd name="T30" fmla="*/ 2147483647 w 369"/>
              <a:gd name="T31" fmla="*/ 2147483647 h 438"/>
              <a:gd name="T32" fmla="*/ 2147483647 w 369"/>
              <a:gd name="T33" fmla="*/ 2147483647 h 438"/>
              <a:gd name="T34" fmla="*/ 2147483647 w 369"/>
              <a:gd name="T35" fmla="*/ 2147483647 h 438"/>
              <a:gd name="T36" fmla="*/ 2147483647 w 369"/>
              <a:gd name="T37" fmla="*/ 2147483647 h 438"/>
              <a:gd name="T38" fmla="*/ 2147483647 w 369"/>
              <a:gd name="T39" fmla="*/ 2147483647 h 438"/>
              <a:gd name="T40" fmla="*/ 2147483647 w 369"/>
              <a:gd name="T41" fmla="*/ 2147483647 h 438"/>
              <a:gd name="T42" fmla="*/ 2147483647 w 369"/>
              <a:gd name="T43" fmla="*/ 2147483647 h 438"/>
              <a:gd name="T44" fmla="*/ 2147483647 w 369"/>
              <a:gd name="T45" fmla="*/ 2147483647 h 438"/>
              <a:gd name="T46" fmla="*/ 2147483647 w 369"/>
              <a:gd name="T47" fmla="*/ 2147483647 h 438"/>
              <a:gd name="T48" fmla="*/ 2147483647 w 369"/>
              <a:gd name="T49" fmla="*/ 2147483647 h 438"/>
              <a:gd name="T50" fmla="*/ 2147483647 w 369"/>
              <a:gd name="T51" fmla="*/ 2147483647 h 438"/>
              <a:gd name="T52" fmla="*/ 2147483647 w 369"/>
              <a:gd name="T53" fmla="*/ 2147483647 h 438"/>
              <a:gd name="T54" fmla="*/ 2147483647 w 369"/>
              <a:gd name="T55" fmla="*/ 2147483647 h 438"/>
              <a:gd name="T56" fmla="*/ 2147483647 w 369"/>
              <a:gd name="T57" fmla="*/ 2147483647 h 438"/>
              <a:gd name="T58" fmla="*/ 2147483647 w 369"/>
              <a:gd name="T59" fmla="*/ 2147483647 h 438"/>
              <a:gd name="T60" fmla="*/ 2147483647 w 369"/>
              <a:gd name="T61" fmla="*/ 2147483647 h 438"/>
              <a:gd name="T62" fmla="*/ 2147483647 w 369"/>
              <a:gd name="T63" fmla="*/ 2147483647 h 438"/>
              <a:gd name="T64" fmla="*/ 2147483647 w 369"/>
              <a:gd name="T65" fmla="*/ 2147483647 h 438"/>
              <a:gd name="T66" fmla="*/ 2147483647 w 369"/>
              <a:gd name="T67" fmla="*/ 2147483647 h 438"/>
              <a:gd name="T68" fmla="*/ 2147483647 w 369"/>
              <a:gd name="T69" fmla="*/ 2147483647 h 438"/>
              <a:gd name="T70" fmla="*/ 2147483647 w 369"/>
              <a:gd name="T71" fmla="*/ 2147483647 h 43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69"/>
              <a:gd name="T109" fmla="*/ 0 h 438"/>
              <a:gd name="T110" fmla="*/ 369 w 369"/>
              <a:gd name="T111" fmla="*/ 438 h 438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69" h="438">
                <a:moveTo>
                  <a:pt x="229" y="438"/>
                </a:moveTo>
                <a:lnTo>
                  <a:pt x="194" y="392"/>
                </a:lnTo>
                <a:lnTo>
                  <a:pt x="158" y="351"/>
                </a:lnTo>
                <a:lnTo>
                  <a:pt x="142" y="329"/>
                </a:lnTo>
                <a:lnTo>
                  <a:pt x="126" y="307"/>
                </a:lnTo>
                <a:lnTo>
                  <a:pt x="119" y="295"/>
                </a:lnTo>
                <a:lnTo>
                  <a:pt x="113" y="283"/>
                </a:lnTo>
                <a:lnTo>
                  <a:pt x="106" y="270"/>
                </a:lnTo>
                <a:lnTo>
                  <a:pt x="101" y="257"/>
                </a:lnTo>
                <a:lnTo>
                  <a:pt x="86" y="236"/>
                </a:lnTo>
                <a:lnTo>
                  <a:pt x="73" y="217"/>
                </a:lnTo>
                <a:lnTo>
                  <a:pt x="62" y="197"/>
                </a:lnTo>
                <a:lnTo>
                  <a:pt x="53" y="178"/>
                </a:lnTo>
                <a:lnTo>
                  <a:pt x="47" y="157"/>
                </a:lnTo>
                <a:lnTo>
                  <a:pt x="40" y="136"/>
                </a:lnTo>
                <a:lnTo>
                  <a:pt x="34" y="111"/>
                </a:lnTo>
                <a:lnTo>
                  <a:pt x="28" y="84"/>
                </a:lnTo>
                <a:lnTo>
                  <a:pt x="11" y="76"/>
                </a:lnTo>
                <a:lnTo>
                  <a:pt x="4" y="72"/>
                </a:lnTo>
                <a:lnTo>
                  <a:pt x="0" y="68"/>
                </a:lnTo>
                <a:lnTo>
                  <a:pt x="0" y="66"/>
                </a:lnTo>
                <a:lnTo>
                  <a:pt x="14" y="66"/>
                </a:lnTo>
                <a:lnTo>
                  <a:pt x="28" y="67"/>
                </a:lnTo>
                <a:lnTo>
                  <a:pt x="43" y="70"/>
                </a:lnTo>
                <a:lnTo>
                  <a:pt x="56" y="72"/>
                </a:lnTo>
                <a:lnTo>
                  <a:pt x="83" y="79"/>
                </a:lnTo>
                <a:lnTo>
                  <a:pt x="113" y="84"/>
                </a:lnTo>
                <a:lnTo>
                  <a:pt x="110" y="74"/>
                </a:lnTo>
                <a:lnTo>
                  <a:pt x="105" y="65"/>
                </a:lnTo>
                <a:lnTo>
                  <a:pt x="100" y="55"/>
                </a:lnTo>
                <a:lnTo>
                  <a:pt x="93" y="48"/>
                </a:lnTo>
                <a:lnTo>
                  <a:pt x="88" y="40"/>
                </a:lnTo>
                <a:lnTo>
                  <a:pt x="82" y="32"/>
                </a:lnTo>
                <a:lnTo>
                  <a:pt x="78" y="24"/>
                </a:lnTo>
                <a:lnTo>
                  <a:pt x="74" y="15"/>
                </a:lnTo>
                <a:lnTo>
                  <a:pt x="90" y="9"/>
                </a:lnTo>
                <a:lnTo>
                  <a:pt x="101" y="5"/>
                </a:lnTo>
                <a:lnTo>
                  <a:pt x="114" y="2"/>
                </a:lnTo>
                <a:lnTo>
                  <a:pt x="134" y="0"/>
                </a:lnTo>
                <a:lnTo>
                  <a:pt x="155" y="33"/>
                </a:lnTo>
                <a:lnTo>
                  <a:pt x="178" y="65"/>
                </a:lnTo>
                <a:lnTo>
                  <a:pt x="188" y="81"/>
                </a:lnTo>
                <a:lnTo>
                  <a:pt x="199" y="97"/>
                </a:lnTo>
                <a:lnTo>
                  <a:pt x="207" y="114"/>
                </a:lnTo>
                <a:lnTo>
                  <a:pt x="213" y="132"/>
                </a:lnTo>
                <a:lnTo>
                  <a:pt x="229" y="133"/>
                </a:lnTo>
                <a:lnTo>
                  <a:pt x="243" y="133"/>
                </a:lnTo>
                <a:lnTo>
                  <a:pt x="253" y="131"/>
                </a:lnTo>
                <a:lnTo>
                  <a:pt x="264" y="127"/>
                </a:lnTo>
                <a:lnTo>
                  <a:pt x="285" y="117"/>
                </a:lnTo>
                <a:lnTo>
                  <a:pt x="311" y="104"/>
                </a:lnTo>
                <a:lnTo>
                  <a:pt x="313" y="127"/>
                </a:lnTo>
                <a:lnTo>
                  <a:pt x="315" y="152"/>
                </a:lnTo>
                <a:lnTo>
                  <a:pt x="318" y="175"/>
                </a:lnTo>
                <a:lnTo>
                  <a:pt x="321" y="200"/>
                </a:lnTo>
                <a:lnTo>
                  <a:pt x="330" y="222"/>
                </a:lnTo>
                <a:lnTo>
                  <a:pt x="341" y="243"/>
                </a:lnTo>
                <a:lnTo>
                  <a:pt x="348" y="264"/>
                </a:lnTo>
                <a:lnTo>
                  <a:pt x="356" y="284"/>
                </a:lnTo>
                <a:lnTo>
                  <a:pt x="363" y="305"/>
                </a:lnTo>
                <a:lnTo>
                  <a:pt x="367" y="327"/>
                </a:lnTo>
                <a:lnTo>
                  <a:pt x="369" y="351"/>
                </a:lnTo>
                <a:lnTo>
                  <a:pt x="369" y="375"/>
                </a:lnTo>
                <a:lnTo>
                  <a:pt x="348" y="377"/>
                </a:lnTo>
                <a:lnTo>
                  <a:pt x="332" y="381"/>
                </a:lnTo>
                <a:lnTo>
                  <a:pt x="316" y="385"/>
                </a:lnTo>
                <a:lnTo>
                  <a:pt x="303" y="390"/>
                </a:lnTo>
                <a:lnTo>
                  <a:pt x="290" y="396"/>
                </a:lnTo>
                <a:lnTo>
                  <a:pt x="278" y="405"/>
                </a:lnTo>
                <a:lnTo>
                  <a:pt x="266" y="418"/>
                </a:lnTo>
                <a:lnTo>
                  <a:pt x="253" y="433"/>
                </a:lnTo>
                <a:lnTo>
                  <a:pt x="240" y="435"/>
                </a:lnTo>
                <a:lnTo>
                  <a:pt x="229" y="438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03" name="Freeform 68"/>
          <p:cNvSpPr>
            <a:spLocks/>
          </p:cNvSpPr>
          <p:nvPr/>
        </p:nvSpPr>
        <p:spPr bwMode="auto">
          <a:xfrm>
            <a:off x="4368800" y="2095500"/>
            <a:ext cx="25400" cy="47625"/>
          </a:xfrm>
          <a:custGeom>
            <a:avLst/>
            <a:gdLst>
              <a:gd name="T0" fmla="*/ 2147483647 w 63"/>
              <a:gd name="T1" fmla="*/ 2147483647 h 121"/>
              <a:gd name="T2" fmla="*/ 2147483647 w 63"/>
              <a:gd name="T3" fmla="*/ 2147483647 h 121"/>
              <a:gd name="T4" fmla="*/ 2147483647 w 63"/>
              <a:gd name="T5" fmla="*/ 2147483647 h 121"/>
              <a:gd name="T6" fmla="*/ 2147483647 w 63"/>
              <a:gd name="T7" fmla="*/ 2147483647 h 121"/>
              <a:gd name="T8" fmla="*/ 0 w 63"/>
              <a:gd name="T9" fmla="*/ 2147483647 h 121"/>
              <a:gd name="T10" fmla="*/ 0 w 63"/>
              <a:gd name="T11" fmla="*/ 2147483647 h 121"/>
              <a:gd name="T12" fmla="*/ 2147483647 w 63"/>
              <a:gd name="T13" fmla="*/ 2147483647 h 121"/>
              <a:gd name="T14" fmla="*/ 2147483647 w 63"/>
              <a:gd name="T15" fmla="*/ 2147483647 h 121"/>
              <a:gd name="T16" fmla="*/ 2147483647 w 63"/>
              <a:gd name="T17" fmla="*/ 2147483647 h 121"/>
              <a:gd name="T18" fmla="*/ 2147483647 w 63"/>
              <a:gd name="T19" fmla="*/ 2147483647 h 121"/>
              <a:gd name="T20" fmla="*/ 2147483647 w 63"/>
              <a:gd name="T21" fmla="*/ 2147483647 h 121"/>
              <a:gd name="T22" fmla="*/ 2147483647 w 63"/>
              <a:gd name="T23" fmla="*/ 2147483647 h 121"/>
              <a:gd name="T24" fmla="*/ 2147483647 w 63"/>
              <a:gd name="T25" fmla="*/ 0 h 121"/>
              <a:gd name="T26" fmla="*/ 2147483647 w 63"/>
              <a:gd name="T27" fmla="*/ 2147483647 h 121"/>
              <a:gd name="T28" fmla="*/ 2147483647 w 63"/>
              <a:gd name="T29" fmla="*/ 2147483647 h 121"/>
              <a:gd name="T30" fmla="*/ 2147483647 w 63"/>
              <a:gd name="T31" fmla="*/ 2147483647 h 121"/>
              <a:gd name="T32" fmla="*/ 2147483647 w 63"/>
              <a:gd name="T33" fmla="*/ 2147483647 h 121"/>
              <a:gd name="T34" fmla="*/ 2147483647 w 63"/>
              <a:gd name="T35" fmla="*/ 2147483647 h 121"/>
              <a:gd name="T36" fmla="*/ 2147483647 w 63"/>
              <a:gd name="T37" fmla="*/ 2147483647 h 121"/>
              <a:gd name="T38" fmla="*/ 2147483647 w 63"/>
              <a:gd name="T39" fmla="*/ 2147483647 h 121"/>
              <a:gd name="T40" fmla="*/ 2147483647 w 63"/>
              <a:gd name="T41" fmla="*/ 2147483647 h 121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63"/>
              <a:gd name="T64" fmla="*/ 0 h 121"/>
              <a:gd name="T65" fmla="*/ 63 w 63"/>
              <a:gd name="T66" fmla="*/ 121 h 121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63" h="121">
                <a:moveTo>
                  <a:pt x="29" y="121"/>
                </a:moveTo>
                <a:lnTo>
                  <a:pt x="13" y="101"/>
                </a:lnTo>
                <a:lnTo>
                  <a:pt x="4" y="82"/>
                </a:lnTo>
                <a:lnTo>
                  <a:pt x="1" y="75"/>
                </a:lnTo>
                <a:lnTo>
                  <a:pt x="0" y="68"/>
                </a:lnTo>
                <a:lnTo>
                  <a:pt x="0" y="62"/>
                </a:lnTo>
                <a:lnTo>
                  <a:pt x="1" y="55"/>
                </a:lnTo>
                <a:lnTo>
                  <a:pt x="3" y="49"/>
                </a:lnTo>
                <a:lnTo>
                  <a:pt x="7" y="42"/>
                </a:lnTo>
                <a:lnTo>
                  <a:pt x="12" y="37"/>
                </a:lnTo>
                <a:lnTo>
                  <a:pt x="17" y="30"/>
                </a:lnTo>
                <a:lnTo>
                  <a:pt x="33" y="16"/>
                </a:lnTo>
                <a:lnTo>
                  <a:pt x="54" y="0"/>
                </a:lnTo>
                <a:lnTo>
                  <a:pt x="57" y="17"/>
                </a:lnTo>
                <a:lnTo>
                  <a:pt x="61" y="32"/>
                </a:lnTo>
                <a:lnTo>
                  <a:pt x="63" y="46"/>
                </a:lnTo>
                <a:lnTo>
                  <a:pt x="63" y="60"/>
                </a:lnTo>
                <a:lnTo>
                  <a:pt x="60" y="89"/>
                </a:lnTo>
                <a:lnTo>
                  <a:pt x="54" y="121"/>
                </a:lnTo>
                <a:lnTo>
                  <a:pt x="41" y="121"/>
                </a:lnTo>
                <a:lnTo>
                  <a:pt x="29" y="121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04" name="Freeform 69"/>
          <p:cNvSpPr>
            <a:spLocks/>
          </p:cNvSpPr>
          <p:nvPr/>
        </p:nvSpPr>
        <p:spPr bwMode="auto">
          <a:xfrm>
            <a:off x="5641975" y="2032000"/>
            <a:ext cx="61913" cy="52388"/>
          </a:xfrm>
          <a:custGeom>
            <a:avLst/>
            <a:gdLst>
              <a:gd name="T0" fmla="*/ 2147483647 w 156"/>
              <a:gd name="T1" fmla="*/ 2147483647 h 134"/>
              <a:gd name="T2" fmla="*/ 2147483647 w 156"/>
              <a:gd name="T3" fmla="*/ 2147483647 h 134"/>
              <a:gd name="T4" fmla="*/ 2147483647 w 156"/>
              <a:gd name="T5" fmla="*/ 2147483647 h 134"/>
              <a:gd name="T6" fmla="*/ 2147483647 w 156"/>
              <a:gd name="T7" fmla="*/ 2147483647 h 134"/>
              <a:gd name="T8" fmla="*/ 2147483647 w 156"/>
              <a:gd name="T9" fmla="*/ 2147483647 h 134"/>
              <a:gd name="T10" fmla="*/ 2147483647 w 156"/>
              <a:gd name="T11" fmla="*/ 2147483647 h 134"/>
              <a:gd name="T12" fmla="*/ 2147483647 w 156"/>
              <a:gd name="T13" fmla="*/ 2147483647 h 134"/>
              <a:gd name="T14" fmla="*/ 2147483647 w 156"/>
              <a:gd name="T15" fmla="*/ 2147483647 h 134"/>
              <a:gd name="T16" fmla="*/ 2147483647 w 156"/>
              <a:gd name="T17" fmla="*/ 2147483647 h 134"/>
              <a:gd name="T18" fmla="*/ 2147483647 w 156"/>
              <a:gd name="T19" fmla="*/ 2147483647 h 134"/>
              <a:gd name="T20" fmla="*/ 0 w 156"/>
              <a:gd name="T21" fmla="*/ 2147483647 h 134"/>
              <a:gd name="T22" fmla="*/ 2147483647 w 156"/>
              <a:gd name="T23" fmla="*/ 2147483647 h 134"/>
              <a:gd name="T24" fmla="*/ 2147483647 w 156"/>
              <a:gd name="T25" fmla="*/ 2147483647 h 134"/>
              <a:gd name="T26" fmla="*/ 2147483647 w 156"/>
              <a:gd name="T27" fmla="*/ 2147483647 h 134"/>
              <a:gd name="T28" fmla="*/ 2147483647 w 156"/>
              <a:gd name="T29" fmla="*/ 2147483647 h 134"/>
              <a:gd name="T30" fmla="*/ 2147483647 w 156"/>
              <a:gd name="T31" fmla="*/ 2147483647 h 134"/>
              <a:gd name="T32" fmla="*/ 2147483647 w 156"/>
              <a:gd name="T33" fmla="*/ 2147483647 h 134"/>
              <a:gd name="T34" fmla="*/ 2147483647 w 156"/>
              <a:gd name="T35" fmla="*/ 2147483647 h 134"/>
              <a:gd name="T36" fmla="*/ 2147483647 w 156"/>
              <a:gd name="T37" fmla="*/ 0 h 134"/>
              <a:gd name="T38" fmla="*/ 2147483647 w 156"/>
              <a:gd name="T39" fmla="*/ 2147483647 h 134"/>
              <a:gd name="T40" fmla="*/ 2147483647 w 156"/>
              <a:gd name="T41" fmla="*/ 2147483647 h 134"/>
              <a:gd name="T42" fmla="*/ 2147483647 w 156"/>
              <a:gd name="T43" fmla="*/ 2147483647 h 134"/>
              <a:gd name="T44" fmla="*/ 2147483647 w 156"/>
              <a:gd name="T45" fmla="*/ 2147483647 h 134"/>
              <a:gd name="T46" fmla="*/ 2147483647 w 156"/>
              <a:gd name="T47" fmla="*/ 2147483647 h 134"/>
              <a:gd name="T48" fmla="*/ 2147483647 w 156"/>
              <a:gd name="T49" fmla="*/ 2147483647 h 134"/>
              <a:gd name="T50" fmla="*/ 2147483647 w 156"/>
              <a:gd name="T51" fmla="*/ 2147483647 h 134"/>
              <a:gd name="T52" fmla="*/ 2147483647 w 156"/>
              <a:gd name="T53" fmla="*/ 2147483647 h 134"/>
              <a:gd name="T54" fmla="*/ 2147483647 w 156"/>
              <a:gd name="T55" fmla="*/ 2147483647 h 134"/>
              <a:gd name="T56" fmla="*/ 2147483647 w 156"/>
              <a:gd name="T57" fmla="*/ 2147483647 h 134"/>
              <a:gd name="T58" fmla="*/ 2147483647 w 156"/>
              <a:gd name="T59" fmla="*/ 2147483647 h 134"/>
              <a:gd name="T60" fmla="*/ 2147483647 w 156"/>
              <a:gd name="T61" fmla="*/ 2147483647 h 134"/>
              <a:gd name="T62" fmla="*/ 2147483647 w 156"/>
              <a:gd name="T63" fmla="*/ 2147483647 h 134"/>
              <a:gd name="T64" fmla="*/ 2147483647 w 156"/>
              <a:gd name="T65" fmla="*/ 2147483647 h 134"/>
              <a:gd name="T66" fmla="*/ 2147483647 w 156"/>
              <a:gd name="T67" fmla="*/ 2147483647 h 134"/>
              <a:gd name="T68" fmla="*/ 2147483647 w 156"/>
              <a:gd name="T69" fmla="*/ 2147483647 h 134"/>
              <a:gd name="T70" fmla="*/ 2147483647 w 156"/>
              <a:gd name="T71" fmla="*/ 2147483647 h 134"/>
              <a:gd name="T72" fmla="*/ 2147483647 w 156"/>
              <a:gd name="T73" fmla="*/ 2147483647 h 134"/>
              <a:gd name="T74" fmla="*/ 2147483647 w 156"/>
              <a:gd name="T75" fmla="*/ 2147483647 h 134"/>
              <a:gd name="T76" fmla="*/ 2147483647 w 156"/>
              <a:gd name="T77" fmla="*/ 2147483647 h 134"/>
              <a:gd name="T78" fmla="*/ 2147483647 w 156"/>
              <a:gd name="T79" fmla="*/ 2147483647 h 134"/>
              <a:gd name="T80" fmla="*/ 2147483647 w 156"/>
              <a:gd name="T81" fmla="*/ 2147483647 h 134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56"/>
              <a:gd name="T124" fmla="*/ 0 h 134"/>
              <a:gd name="T125" fmla="*/ 156 w 156"/>
              <a:gd name="T126" fmla="*/ 134 h 134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56" h="134">
                <a:moveTo>
                  <a:pt x="90" y="134"/>
                </a:moveTo>
                <a:lnTo>
                  <a:pt x="60" y="122"/>
                </a:lnTo>
                <a:lnTo>
                  <a:pt x="32" y="109"/>
                </a:lnTo>
                <a:lnTo>
                  <a:pt x="26" y="105"/>
                </a:lnTo>
                <a:lnTo>
                  <a:pt x="21" y="102"/>
                </a:lnTo>
                <a:lnTo>
                  <a:pt x="15" y="96"/>
                </a:lnTo>
                <a:lnTo>
                  <a:pt x="12" y="91"/>
                </a:lnTo>
                <a:lnTo>
                  <a:pt x="8" y="85"/>
                </a:lnTo>
                <a:lnTo>
                  <a:pt x="4" y="78"/>
                </a:lnTo>
                <a:lnTo>
                  <a:pt x="1" y="72"/>
                </a:lnTo>
                <a:lnTo>
                  <a:pt x="0" y="64"/>
                </a:lnTo>
                <a:lnTo>
                  <a:pt x="9" y="56"/>
                </a:lnTo>
                <a:lnTo>
                  <a:pt x="17" y="50"/>
                </a:lnTo>
                <a:lnTo>
                  <a:pt x="22" y="44"/>
                </a:lnTo>
                <a:lnTo>
                  <a:pt x="26" y="38"/>
                </a:lnTo>
                <a:lnTo>
                  <a:pt x="28" y="31"/>
                </a:lnTo>
                <a:lnTo>
                  <a:pt x="30" y="24"/>
                </a:lnTo>
                <a:lnTo>
                  <a:pt x="31" y="13"/>
                </a:lnTo>
                <a:lnTo>
                  <a:pt x="32" y="0"/>
                </a:lnTo>
                <a:lnTo>
                  <a:pt x="92" y="5"/>
                </a:lnTo>
                <a:lnTo>
                  <a:pt x="125" y="9"/>
                </a:lnTo>
                <a:lnTo>
                  <a:pt x="134" y="10"/>
                </a:lnTo>
                <a:lnTo>
                  <a:pt x="140" y="13"/>
                </a:lnTo>
                <a:lnTo>
                  <a:pt x="146" y="14"/>
                </a:lnTo>
                <a:lnTo>
                  <a:pt x="149" y="17"/>
                </a:lnTo>
                <a:lnTo>
                  <a:pt x="153" y="26"/>
                </a:lnTo>
                <a:lnTo>
                  <a:pt x="155" y="35"/>
                </a:lnTo>
                <a:lnTo>
                  <a:pt x="156" y="44"/>
                </a:lnTo>
                <a:lnTo>
                  <a:pt x="155" y="53"/>
                </a:lnTo>
                <a:lnTo>
                  <a:pt x="153" y="63"/>
                </a:lnTo>
                <a:lnTo>
                  <a:pt x="151" y="72"/>
                </a:lnTo>
                <a:lnTo>
                  <a:pt x="148" y="81"/>
                </a:lnTo>
                <a:lnTo>
                  <a:pt x="144" y="89"/>
                </a:lnTo>
                <a:lnTo>
                  <a:pt x="139" y="98"/>
                </a:lnTo>
                <a:lnTo>
                  <a:pt x="133" y="105"/>
                </a:lnTo>
                <a:lnTo>
                  <a:pt x="127" y="112"/>
                </a:lnTo>
                <a:lnTo>
                  <a:pt x="120" y="118"/>
                </a:lnTo>
                <a:lnTo>
                  <a:pt x="113" y="124"/>
                </a:lnTo>
                <a:lnTo>
                  <a:pt x="105" y="129"/>
                </a:lnTo>
                <a:lnTo>
                  <a:pt x="97" y="133"/>
                </a:lnTo>
                <a:lnTo>
                  <a:pt x="90" y="134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05" name="Freeform 70"/>
          <p:cNvSpPr>
            <a:spLocks/>
          </p:cNvSpPr>
          <p:nvPr/>
        </p:nvSpPr>
        <p:spPr bwMode="auto">
          <a:xfrm>
            <a:off x="4203700" y="2030413"/>
            <a:ext cx="20638" cy="26987"/>
          </a:xfrm>
          <a:custGeom>
            <a:avLst/>
            <a:gdLst>
              <a:gd name="T0" fmla="*/ 2147483647 w 53"/>
              <a:gd name="T1" fmla="*/ 2147483647 h 66"/>
              <a:gd name="T2" fmla="*/ 2147483647 w 53"/>
              <a:gd name="T3" fmla="*/ 2147483647 h 66"/>
              <a:gd name="T4" fmla="*/ 2147483647 w 53"/>
              <a:gd name="T5" fmla="*/ 2147483647 h 66"/>
              <a:gd name="T6" fmla="*/ 0 w 53"/>
              <a:gd name="T7" fmla="*/ 2147483647 h 66"/>
              <a:gd name="T8" fmla="*/ 2147483647 w 53"/>
              <a:gd name="T9" fmla="*/ 2147483647 h 66"/>
              <a:gd name="T10" fmla="*/ 2147483647 w 53"/>
              <a:gd name="T11" fmla="*/ 2147483647 h 66"/>
              <a:gd name="T12" fmla="*/ 2147483647 w 53"/>
              <a:gd name="T13" fmla="*/ 0 h 66"/>
              <a:gd name="T14" fmla="*/ 2147483647 w 53"/>
              <a:gd name="T15" fmla="*/ 0 h 66"/>
              <a:gd name="T16" fmla="*/ 2147483647 w 53"/>
              <a:gd name="T17" fmla="*/ 2147483647 h 66"/>
              <a:gd name="T18" fmla="*/ 2147483647 w 53"/>
              <a:gd name="T19" fmla="*/ 2147483647 h 66"/>
              <a:gd name="T20" fmla="*/ 2147483647 w 53"/>
              <a:gd name="T21" fmla="*/ 2147483647 h 66"/>
              <a:gd name="T22" fmla="*/ 2147483647 w 53"/>
              <a:gd name="T23" fmla="*/ 2147483647 h 66"/>
              <a:gd name="T24" fmla="*/ 2147483647 w 53"/>
              <a:gd name="T25" fmla="*/ 2147483647 h 66"/>
              <a:gd name="T26" fmla="*/ 2147483647 w 53"/>
              <a:gd name="T27" fmla="*/ 2147483647 h 66"/>
              <a:gd name="T28" fmla="*/ 2147483647 w 53"/>
              <a:gd name="T29" fmla="*/ 2147483647 h 6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53"/>
              <a:gd name="T46" fmla="*/ 0 h 66"/>
              <a:gd name="T47" fmla="*/ 53 w 53"/>
              <a:gd name="T48" fmla="*/ 66 h 6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53" h="66">
                <a:moveTo>
                  <a:pt x="14" y="66"/>
                </a:moveTo>
                <a:lnTo>
                  <a:pt x="6" y="44"/>
                </a:lnTo>
                <a:lnTo>
                  <a:pt x="1" y="30"/>
                </a:lnTo>
                <a:lnTo>
                  <a:pt x="0" y="19"/>
                </a:lnTo>
                <a:lnTo>
                  <a:pt x="1" y="6"/>
                </a:lnTo>
                <a:lnTo>
                  <a:pt x="14" y="1"/>
                </a:lnTo>
                <a:lnTo>
                  <a:pt x="26" y="0"/>
                </a:lnTo>
                <a:lnTo>
                  <a:pt x="37" y="0"/>
                </a:lnTo>
                <a:lnTo>
                  <a:pt x="53" y="1"/>
                </a:lnTo>
                <a:lnTo>
                  <a:pt x="46" y="19"/>
                </a:lnTo>
                <a:lnTo>
                  <a:pt x="39" y="36"/>
                </a:lnTo>
                <a:lnTo>
                  <a:pt x="33" y="45"/>
                </a:lnTo>
                <a:lnTo>
                  <a:pt x="28" y="53"/>
                </a:lnTo>
                <a:lnTo>
                  <a:pt x="22" y="60"/>
                </a:lnTo>
                <a:lnTo>
                  <a:pt x="14" y="66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06" name="Freeform 71"/>
          <p:cNvSpPr>
            <a:spLocks/>
          </p:cNvSpPr>
          <p:nvPr/>
        </p:nvSpPr>
        <p:spPr bwMode="auto">
          <a:xfrm>
            <a:off x="4286250" y="2044700"/>
            <a:ext cx="14288" cy="7938"/>
          </a:xfrm>
          <a:custGeom>
            <a:avLst/>
            <a:gdLst>
              <a:gd name="T0" fmla="*/ 2147483647 w 36"/>
              <a:gd name="T1" fmla="*/ 2147483647 h 21"/>
              <a:gd name="T2" fmla="*/ 2147483647 w 36"/>
              <a:gd name="T3" fmla="*/ 2147483647 h 21"/>
              <a:gd name="T4" fmla="*/ 2147483647 w 36"/>
              <a:gd name="T5" fmla="*/ 2147483647 h 21"/>
              <a:gd name="T6" fmla="*/ 2147483647 w 36"/>
              <a:gd name="T7" fmla="*/ 2147483647 h 21"/>
              <a:gd name="T8" fmla="*/ 0 w 36"/>
              <a:gd name="T9" fmla="*/ 0 h 21"/>
              <a:gd name="T10" fmla="*/ 2147483647 w 36"/>
              <a:gd name="T11" fmla="*/ 0 h 21"/>
              <a:gd name="T12" fmla="*/ 2147483647 w 36"/>
              <a:gd name="T13" fmla="*/ 0 h 21"/>
              <a:gd name="T14" fmla="*/ 2147483647 w 36"/>
              <a:gd name="T15" fmla="*/ 2147483647 h 21"/>
              <a:gd name="T16" fmla="*/ 2147483647 w 36"/>
              <a:gd name="T17" fmla="*/ 2147483647 h 21"/>
              <a:gd name="T18" fmla="*/ 2147483647 w 36"/>
              <a:gd name="T19" fmla="*/ 2147483647 h 21"/>
              <a:gd name="T20" fmla="*/ 2147483647 w 36"/>
              <a:gd name="T21" fmla="*/ 2147483647 h 2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6"/>
              <a:gd name="T34" fmla="*/ 0 h 21"/>
              <a:gd name="T35" fmla="*/ 36 w 36"/>
              <a:gd name="T36" fmla="*/ 21 h 2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6" h="21">
                <a:moveTo>
                  <a:pt x="17" y="21"/>
                </a:moveTo>
                <a:lnTo>
                  <a:pt x="10" y="17"/>
                </a:lnTo>
                <a:lnTo>
                  <a:pt x="7" y="15"/>
                </a:lnTo>
                <a:lnTo>
                  <a:pt x="3" y="9"/>
                </a:lnTo>
                <a:lnTo>
                  <a:pt x="0" y="0"/>
                </a:lnTo>
                <a:lnTo>
                  <a:pt x="12" y="0"/>
                </a:lnTo>
                <a:lnTo>
                  <a:pt x="26" y="0"/>
                </a:lnTo>
                <a:lnTo>
                  <a:pt x="31" y="9"/>
                </a:lnTo>
                <a:lnTo>
                  <a:pt x="36" y="21"/>
                </a:lnTo>
                <a:lnTo>
                  <a:pt x="26" y="21"/>
                </a:lnTo>
                <a:lnTo>
                  <a:pt x="17" y="21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07" name="Freeform 72"/>
          <p:cNvSpPr>
            <a:spLocks/>
          </p:cNvSpPr>
          <p:nvPr/>
        </p:nvSpPr>
        <p:spPr bwMode="auto">
          <a:xfrm>
            <a:off x="3314700" y="1436688"/>
            <a:ext cx="903288" cy="582612"/>
          </a:xfrm>
          <a:custGeom>
            <a:avLst/>
            <a:gdLst>
              <a:gd name="T0" fmla="*/ 2147483647 w 2275"/>
              <a:gd name="T1" fmla="*/ 2147483647 h 1469"/>
              <a:gd name="T2" fmla="*/ 2147483647 w 2275"/>
              <a:gd name="T3" fmla="*/ 2147483647 h 1469"/>
              <a:gd name="T4" fmla="*/ 2147483647 w 2275"/>
              <a:gd name="T5" fmla="*/ 2147483647 h 1469"/>
              <a:gd name="T6" fmla="*/ 2147483647 w 2275"/>
              <a:gd name="T7" fmla="*/ 2147483647 h 1469"/>
              <a:gd name="T8" fmla="*/ 2147483647 w 2275"/>
              <a:gd name="T9" fmla="*/ 2147483647 h 1469"/>
              <a:gd name="T10" fmla="*/ 2147483647 w 2275"/>
              <a:gd name="T11" fmla="*/ 2147483647 h 1469"/>
              <a:gd name="T12" fmla="*/ 2147483647 w 2275"/>
              <a:gd name="T13" fmla="*/ 2147483647 h 1469"/>
              <a:gd name="T14" fmla="*/ 2147483647 w 2275"/>
              <a:gd name="T15" fmla="*/ 2147483647 h 1469"/>
              <a:gd name="T16" fmla="*/ 2147483647 w 2275"/>
              <a:gd name="T17" fmla="*/ 2147483647 h 1469"/>
              <a:gd name="T18" fmla="*/ 2147483647 w 2275"/>
              <a:gd name="T19" fmla="*/ 2147483647 h 1469"/>
              <a:gd name="T20" fmla="*/ 2147483647 w 2275"/>
              <a:gd name="T21" fmla="*/ 2147483647 h 1469"/>
              <a:gd name="T22" fmla="*/ 2147483647 w 2275"/>
              <a:gd name="T23" fmla="*/ 2147483647 h 1469"/>
              <a:gd name="T24" fmla="*/ 2147483647 w 2275"/>
              <a:gd name="T25" fmla="*/ 2147483647 h 1469"/>
              <a:gd name="T26" fmla="*/ 2147483647 w 2275"/>
              <a:gd name="T27" fmla="*/ 2147483647 h 1469"/>
              <a:gd name="T28" fmla="*/ 2147483647 w 2275"/>
              <a:gd name="T29" fmla="*/ 2147483647 h 1469"/>
              <a:gd name="T30" fmla="*/ 2147483647 w 2275"/>
              <a:gd name="T31" fmla="*/ 2147483647 h 1469"/>
              <a:gd name="T32" fmla="*/ 2147483647 w 2275"/>
              <a:gd name="T33" fmla="*/ 2147483647 h 1469"/>
              <a:gd name="T34" fmla="*/ 2147483647 w 2275"/>
              <a:gd name="T35" fmla="*/ 2147483647 h 1469"/>
              <a:gd name="T36" fmla="*/ 2147483647 w 2275"/>
              <a:gd name="T37" fmla="*/ 2147483647 h 1469"/>
              <a:gd name="T38" fmla="*/ 2147483647 w 2275"/>
              <a:gd name="T39" fmla="*/ 2147483647 h 1469"/>
              <a:gd name="T40" fmla="*/ 2147483647 w 2275"/>
              <a:gd name="T41" fmla="*/ 2147483647 h 1469"/>
              <a:gd name="T42" fmla="*/ 2147483647 w 2275"/>
              <a:gd name="T43" fmla="*/ 2147483647 h 1469"/>
              <a:gd name="T44" fmla="*/ 2147483647 w 2275"/>
              <a:gd name="T45" fmla="*/ 2147483647 h 1469"/>
              <a:gd name="T46" fmla="*/ 2147483647 w 2275"/>
              <a:gd name="T47" fmla="*/ 2147483647 h 1469"/>
              <a:gd name="T48" fmla="*/ 2147483647 w 2275"/>
              <a:gd name="T49" fmla="*/ 2147483647 h 1469"/>
              <a:gd name="T50" fmla="*/ 2147483647 w 2275"/>
              <a:gd name="T51" fmla="*/ 2147483647 h 1469"/>
              <a:gd name="T52" fmla="*/ 2147483647 w 2275"/>
              <a:gd name="T53" fmla="*/ 2147483647 h 1469"/>
              <a:gd name="T54" fmla="*/ 2147483647 w 2275"/>
              <a:gd name="T55" fmla="*/ 2147483647 h 1469"/>
              <a:gd name="T56" fmla="*/ 2147483647 w 2275"/>
              <a:gd name="T57" fmla="*/ 2147483647 h 1469"/>
              <a:gd name="T58" fmla="*/ 2147483647 w 2275"/>
              <a:gd name="T59" fmla="*/ 2147483647 h 1469"/>
              <a:gd name="T60" fmla="*/ 2147483647 w 2275"/>
              <a:gd name="T61" fmla="*/ 2147483647 h 1469"/>
              <a:gd name="T62" fmla="*/ 2147483647 w 2275"/>
              <a:gd name="T63" fmla="*/ 2147483647 h 1469"/>
              <a:gd name="T64" fmla="*/ 2147483647 w 2275"/>
              <a:gd name="T65" fmla="*/ 2147483647 h 1469"/>
              <a:gd name="T66" fmla="*/ 2147483647 w 2275"/>
              <a:gd name="T67" fmla="*/ 2147483647 h 1469"/>
              <a:gd name="T68" fmla="*/ 2147483647 w 2275"/>
              <a:gd name="T69" fmla="*/ 2147483647 h 1469"/>
              <a:gd name="T70" fmla="*/ 2147483647 w 2275"/>
              <a:gd name="T71" fmla="*/ 2147483647 h 1469"/>
              <a:gd name="T72" fmla="*/ 2147483647 w 2275"/>
              <a:gd name="T73" fmla="*/ 2147483647 h 1469"/>
              <a:gd name="T74" fmla="*/ 2147483647 w 2275"/>
              <a:gd name="T75" fmla="*/ 2147483647 h 1469"/>
              <a:gd name="T76" fmla="*/ 2147483647 w 2275"/>
              <a:gd name="T77" fmla="*/ 2147483647 h 1469"/>
              <a:gd name="T78" fmla="*/ 2147483647 w 2275"/>
              <a:gd name="T79" fmla="*/ 2147483647 h 1469"/>
              <a:gd name="T80" fmla="*/ 2147483647 w 2275"/>
              <a:gd name="T81" fmla="*/ 2147483647 h 1469"/>
              <a:gd name="T82" fmla="*/ 2147483647 w 2275"/>
              <a:gd name="T83" fmla="*/ 2147483647 h 1469"/>
              <a:gd name="T84" fmla="*/ 2147483647 w 2275"/>
              <a:gd name="T85" fmla="*/ 2147483647 h 1469"/>
              <a:gd name="T86" fmla="*/ 2147483647 w 2275"/>
              <a:gd name="T87" fmla="*/ 2147483647 h 1469"/>
              <a:gd name="T88" fmla="*/ 2147483647 w 2275"/>
              <a:gd name="T89" fmla="*/ 2147483647 h 1469"/>
              <a:gd name="T90" fmla="*/ 2147483647 w 2275"/>
              <a:gd name="T91" fmla="*/ 2147483647 h 1469"/>
              <a:gd name="T92" fmla="*/ 2147483647 w 2275"/>
              <a:gd name="T93" fmla="*/ 2147483647 h 1469"/>
              <a:gd name="T94" fmla="*/ 2147483647 w 2275"/>
              <a:gd name="T95" fmla="*/ 2147483647 h 1469"/>
              <a:gd name="T96" fmla="*/ 2147483647 w 2275"/>
              <a:gd name="T97" fmla="*/ 2147483647 h 1469"/>
              <a:gd name="T98" fmla="*/ 2147483647 w 2275"/>
              <a:gd name="T99" fmla="*/ 2147483647 h 1469"/>
              <a:gd name="T100" fmla="*/ 2147483647 w 2275"/>
              <a:gd name="T101" fmla="*/ 2147483647 h 1469"/>
              <a:gd name="T102" fmla="*/ 2147483647 w 2275"/>
              <a:gd name="T103" fmla="*/ 2147483647 h 1469"/>
              <a:gd name="T104" fmla="*/ 2147483647 w 2275"/>
              <a:gd name="T105" fmla="*/ 2147483647 h 1469"/>
              <a:gd name="T106" fmla="*/ 2147483647 w 2275"/>
              <a:gd name="T107" fmla="*/ 2147483647 h 1469"/>
              <a:gd name="T108" fmla="*/ 2147483647 w 2275"/>
              <a:gd name="T109" fmla="*/ 2147483647 h 1469"/>
              <a:gd name="T110" fmla="*/ 2147483647 w 2275"/>
              <a:gd name="T111" fmla="*/ 2147483647 h 1469"/>
              <a:gd name="T112" fmla="*/ 2147483647 w 2275"/>
              <a:gd name="T113" fmla="*/ 2147483647 h 1469"/>
              <a:gd name="T114" fmla="*/ 2147483647 w 2275"/>
              <a:gd name="T115" fmla="*/ 2147483647 h 1469"/>
              <a:gd name="T116" fmla="*/ 2147483647 w 2275"/>
              <a:gd name="T117" fmla="*/ 2147483647 h 1469"/>
              <a:gd name="T118" fmla="*/ 2147483647 w 2275"/>
              <a:gd name="T119" fmla="*/ 2147483647 h 1469"/>
              <a:gd name="T120" fmla="*/ 2147483647 w 2275"/>
              <a:gd name="T121" fmla="*/ 2147483647 h 1469"/>
              <a:gd name="T122" fmla="*/ 2147483647 w 2275"/>
              <a:gd name="T123" fmla="*/ 2147483647 h 1469"/>
              <a:gd name="T124" fmla="*/ 2147483647 w 2275"/>
              <a:gd name="T125" fmla="*/ 2147483647 h 146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275"/>
              <a:gd name="T190" fmla="*/ 0 h 1469"/>
              <a:gd name="T191" fmla="*/ 2275 w 2275"/>
              <a:gd name="T192" fmla="*/ 1469 h 1469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275" h="1469">
                <a:moveTo>
                  <a:pt x="376" y="1469"/>
                </a:moveTo>
                <a:lnTo>
                  <a:pt x="373" y="1458"/>
                </a:lnTo>
                <a:lnTo>
                  <a:pt x="370" y="1451"/>
                </a:lnTo>
                <a:lnTo>
                  <a:pt x="353" y="1449"/>
                </a:lnTo>
                <a:lnTo>
                  <a:pt x="337" y="1447"/>
                </a:lnTo>
                <a:lnTo>
                  <a:pt x="321" y="1442"/>
                </a:lnTo>
                <a:lnTo>
                  <a:pt x="305" y="1436"/>
                </a:lnTo>
                <a:lnTo>
                  <a:pt x="291" y="1430"/>
                </a:lnTo>
                <a:lnTo>
                  <a:pt x="277" y="1422"/>
                </a:lnTo>
                <a:lnTo>
                  <a:pt x="264" y="1413"/>
                </a:lnTo>
                <a:lnTo>
                  <a:pt x="249" y="1405"/>
                </a:lnTo>
                <a:lnTo>
                  <a:pt x="223" y="1387"/>
                </a:lnTo>
                <a:lnTo>
                  <a:pt x="195" y="1370"/>
                </a:lnTo>
                <a:lnTo>
                  <a:pt x="180" y="1362"/>
                </a:lnTo>
                <a:lnTo>
                  <a:pt x="166" y="1356"/>
                </a:lnTo>
                <a:lnTo>
                  <a:pt x="150" y="1350"/>
                </a:lnTo>
                <a:lnTo>
                  <a:pt x="134" y="1347"/>
                </a:lnTo>
                <a:lnTo>
                  <a:pt x="131" y="1334"/>
                </a:lnTo>
                <a:lnTo>
                  <a:pt x="128" y="1321"/>
                </a:lnTo>
                <a:lnTo>
                  <a:pt x="126" y="1308"/>
                </a:lnTo>
                <a:lnTo>
                  <a:pt x="122" y="1296"/>
                </a:lnTo>
                <a:lnTo>
                  <a:pt x="105" y="1284"/>
                </a:lnTo>
                <a:lnTo>
                  <a:pt x="89" y="1274"/>
                </a:lnTo>
                <a:lnTo>
                  <a:pt x="76" y="1265"/>
                </a:lnTo>
                <a:lnTo>
                  <a:pt x="67" y="1256"/>
                </a:lnTo>
                <a:lnTo>
                  <a:pt x="62" y="1250"/>
                </a:lnTo>
                <a:lnTo>
                  <a:pt x="59" y="1245"/>
                </a:lnTo>
                <a:lnTo>
                  <a:pt x="57" y="1239"/>
                </a:lnTo>
                <a:lnTo>
                  <a:pt x="54" y="1232"/>
                </a:lnTo>
                <a:lnTo>
                  <a:pt x="53" y="1224"/>
                </a:lnTo>
                <a:lnTo>
                  <a:pt x="52" y="1216"/>
                </a:lnTo>
                <a:lnTo>
                  <a:pt x="53" y="1207"/>
                </a:lnTo>
                <a:lnTo>
                  <a:pt x="53" y="1196"/>
                </a:lnTo>
                <a:lnTo>
                  <a:pt x="72" y="1188"/>
                </a:lnTo>
                <a:lnTo>
                  <a:pt x="92" y="1179"/>
                </a:lnTo>
                <a:lnTo>
                  <a:pt x="111" y="1170"/>
                </a:lnTo>
                <a:lnTo>
                  <a:pt x="132" y="1162"/>
                </a:lnTo>
                <a:lnTo>
                  <a:pt x="131" y="1146"/>
                </a:lnTo>
                <a:lnTo>
                  <a:pt x="130" y="1132"/>
                </a:lnTo>
                <a:lnTo>
                  <a:pt x="127" y="1118"/>
                </a:lnTo>
                <a:lnTo>
                  <a:pt x="124" y="1105"/>
                </a:lnTo>
                <a:lnTo>
                  <a:pt x="123" y="1092"/>
                </a:lnTo>
                <a:lnTo>
                  <a:pt x="121" y="1077"/>
                </a:lnTo>
                <a:lnTo>
                  <a:pt x="119" y="1063"/>
                </a:lnTo>
                <a:lnTo>
                  <a:pt x="118" y="1049"/>
                </a:lnTo>
                <a:lnTo>
                  <a:pt x="127" y="1036"/>
                </a:lnTo>
                <a:lnTo>
                  <a:pt x="132" y="1027"/>
                </a:lnTo>
                <a:lnTo>
                  <a:pt x="135" y="1019"/>
                </a:lnTo>
                <a:lnTo>
                  <a:pt x="137" y="1008"/>
                </a:lnTo>
                <a:lnTo>
                  <a:pt x="126" y="1001"/>
                </a:lnTo>
                <a:lnTo>
                  <a:pt x="118" y="994"/>
                </a:lnTo>
                <a:lnTo>
                  <a:pt x="113" y="988"/>
                </a:lnTo>
                <a:lnTo>
                  <a:pt x="109" y="980"/>
                </a:lnTo>
                <a:lnTo>
                  <a:pt x="104" y="962"/>
                </a:lnTo>
                <a:lnTo>
                  <a:pt x="93" y="941"/>
                </a:lnTo>
                <a:lnTo>
                  <a:pt x="71" y="935"/>
                </a:lnTo>
                <a:lnTo>
                  <a:pt x="50" y="932"/>
                </a:lnTo>
                <a:lnTo>
                  <a:pt x="29" y="928"/>
                </a:lnTo>
                <a:lnTo>
                  <a:pt x="9" y="925"/>
                </a:lnTo>
                <a:lnTo>
                  <a:pt x="5" y="915"/>
                </a:lnTo>
                <a:lnTo>
                  <a:pt x="2" y="904"/>
                </a:lnTo>
                <a:lnTo>
                  <a:pt x="1" y="895"/>
                </a:lnTo>
                <a:lnTo>
                  <a:pt x="0" y="885"/>
                </a:lnTo>
                <a:lnTo>
                  <a:pt x="1" y="863"/>
                </a:lnTo>
                <a:lnTo>
                  <a:pt x="3" y="841"/>
                </a:lnTo>
                <a:lnTo>
                  <a:pt x="20" y="833"/>
                </a:lnTo>
                <a:lnTo>
                  <a:pt x="32" y="825"/>
                </a:lnTo>
                <a:lnTo>
                  <a:pt x="44" y="817"/>
                </a:lnTo>
                <a:lnTo>
                  <a:pt x="62" y="802"/>
                </a:lnTo>
                <a:lnTo>
                  <a:pt x="69" y="794"/>
                </a:lnTo>
                <a:lnTo>
                  <a:pt x="76" y="786"/>
                </a:lnTo>
                <a:lnTo>
                  <a:pt x="83" y="779"/>
                </a:lnTo>
                <a:lnTo>
                  <a:pt x="89" y="774"/>
                </a:lnTo>
                <a:lnTo>
                  <a:pt x="105" y="765"/>
                </a:lnTo>
                <a:lnTo>
                  <a:pt x="121" y="759"/>
                </a:lnTo>
                <a:lnTo>
                  <a:pt x="153" y="751"/>
                </a:lnTo>
                <a:lnTo>
                  <a:pt x="187" y="744"/>
                </a:lnTo>
                <a:lnTo>
                  <a:pt x="204" y="740"/>
                </a:lnTo>
                <a:lnTo>
                  <a:pt x="221" y="735"/>
                </a:lnTo>
                <a:lnTo>
                  <a:pt x="229" y="731"/>
                </a:lnTo>
                <a:lnTo>
                  <a:pt x="236" y="727"/>
                </a:lnTo>
                <a:lnTo>
                  <a:pt x="244" y="722"/>
                </a:lnTo>
                <a:lnTo>
                  <a:pt x="252" y="716"/>
                </a:lnTo>
                <a:lnTo>
                  <a:pt x="258" y="709"/>
                </a:lnTo>
                <a:lnTo>
                  <a:pt x="266" y="701"/>
                </a:lnTo>
                <a:lnTo>
                  <a:pt x="273" y="694"/>
                </a:lnTo>
                <a:lnTo>
                  <a:pt x="279" y="683"/>
                </a:lnTo>
                <a:lnTo>
                  <a:pt x="286" y="673"/>
                </a:lnTo>
                <a:lnTo>
                  <a:pt x="292" y="660"/>
                </a:lnTo>
                <a:lnTo>
                  <a:pt x="297" y="647"/>
                </a:lnTo>
                <a:lnTo>
                  <a:pt x="303" y="631"/>
                </a:lnTo>
                <a:lnTo>
                  <a:pt x="338" y="606"/>
                </a:lnTo>
                <a:lnTo>
                  <a:pt x="366" y="588"/>
                </a:lnTo>
                <a:lnTo>
                  <a:pt x="381" y="582"/>
                </a:lnTo>
                <a:lnTo>
                  <a:pt x="396" y="576"/>
                </a:lnTo>
                <a:lnTo>
                  <a:pt x="416" y="570"/>
                </a:lnTo>
                <a:lnTo>
                  <a:pt x="439" y="565"/>
                </a:lnTo>
                <a:lnTo>
                  <a:pt x="446" y="554"/>
                </a:lnTo>
                <a:lnTo>
                  <a:pt x="451" y="544"/>
                </a:lnTo>
                <a:lnTo>
                  <a:pt x="467" y="544"/>
                </a:lnTo>
                <a:lnTo>
                  <a:pt x="484" y="544"/>
                </a:lnTo>
                <a:lnTo>
                  <a:pt x="499" y="544"/>
                </a:lnTo>
                <a:lnTo>
                  <a:pt x="516" y="544"/>
                </a:lnTo>
                <a:lnTo>
                  <a:pt x="526" y="556"/>
                </a:lnTo>
                <a:lnTo>
                  <a:pt x="536" y="562"/>
                </a:lnTo>
                <a:lnTo>
                  <a:pt x="542" y="567"/>
                </a:lnTo>
                <a:lnTo>
                  <a:pt x="550" y="569"/>
                </a:lnTo>
                <a:lnTo>
                  <a:pt x="555" y="567"/>
                </a:lnTo>
                <a:lnTo>
                  <a:pt x="562" y="563"/>
                </a:lnTo>
                <a:lnTo>
                  <a:pt x="567" y="558"/>
                </a:lnTo>
                <a:lnTo>
                  <a:pt x="572" y="552"/>
                </a:lnTo>
                <a:lnTo>
                  <a:pt x="581" y="535"/>
                </a:lnTo>
                <a:lnTo>
                  <a:pt x="593" y="517"/>
                </a:lnTo>
                <a:lnTo>
                  <a:pt x="599" y="507"/>
                </a:lnTo>
                <a:lnTo>
                  <a:pt x="606" y="500"/>
                </a:lnTo>
                <a:lnTo>
                  <a:pt x="614" y="492"/>
                </a:lnTo>
                <a:lnTo>
                  <a:pt x="623" y="487"/>
                </a:lnTo>
                <a:lnTo>
                  <a:pt x="641" y="487"/>
                </a:lnTo>
                <a:lnTo>
                  <a:pt x="663" y="491"/>
                </a:lnTo>
                <a:lnTo>
                  <a:pt x="675" y="492"/>
                </a:lnTo>
                <a:lnTo>
                  <a:pt x="688" y="493"/>
                </a:lnTo>
                <a:lnTo>
                  <a:pt x="702" y="494"/>
                </a:lnTo>
                <a:lnTo>
                  <a:pt x="716" y="494"/>
                </a:lnTo>
                <a:lnTo>
                  <a:pt x="716" y="476"/>
                </a:lnTo>
                <a:lnTo>
                  <a:pt x="716" y="459"/>
                </a:lnTo>
                <a:lnTo>
                  <a:pt x="713" y="457"/>
                </a:lnTo>
                <a:lnTo>
                  <a:pt x="707" y="455"/>
                </a:lnTo>
                <a:lnTo>
                  <a:pt x="701" y="454"/>
                </a:lnTo>
                <a:lnTo>
                  <a:pt x="692" y="453"/>
                </a:lnTo>
                <a:lnTo>
                  <a:pt x="659" y="452"/>
                </a:lnTo>
                <a:lnTo>
                  <a:pt x="599" y="450"/>
                </a:lnTo>
                <a:lnTo>
                  <a:pt x="593" y="429"/>
                </a:lnTo>
                <a:lnTo>
                  <a:pt x="588" y="411"/>
                </a:lnTo>
                <a:lnTo>
                  <a:pt x="606" y="409"/>
                </a:lnTo>
                <a:lnTo>
                  <a:pt x="627" y="407"/>
                </a:lnTo>
                <a:lnTo>
                  <a:pt x="641" y="401"/>
                </a:lnTo>
                <a:lnTo>
                  <a:pt x="663" y="393"/>
                </a:lnTo>
                <a:lnTo>
                  <a:pt x="690" y="383"/>
                </a:lnTo>
                <a:lnTo>
                  <a:pt x="720" y="374"/>
                </a:lnTo>
                <a:lnTo>
                  <a:pt x="749" y="367"/>
                </a:lnTo>
                <a:lnTo>
                  <a:pt x="775" y="363"/>
                </a:lnTo>
                <a:lnTo>
                  <a:pt x="787" y="362"/>
                </a:lnTo>
                <a:lnTo>
                  <a:pt x="797" y="363"/>
                </a:lnTo>
                <a:lnTo>
                  <a:pt x="805" y="366"/>
                </a:lnTo>
                <a:lnTo>
                  <a:pt x="811" y="370"/>
                </a:lnTo>
                <a:lnTo>
                  <a:pt x="818" y="366"/>
                </a:lnTo>
                <a:lnTo>
                  <a:pt x="824" y="362"/>
                </a:lnTo>
                <a:lnTo>
                  <a:pt x="830" y="358"/>
                </a:lnTo>
                <a:lnTo>
                  <a:pt x="832" y="353"/>
                </a:lnTo>
                <a:lnTo>
                  <a:pt x="837" y="340"/>
                </a:lnTo>
                <a:lnTo>
                  <a:pt x="841" y="325"/>
                </a:lnTo>
                <a:lnTo>
                  <a:pt x="860" y="318"/>
                </a:lnTo>
                <a:lnTo>
                  <a:pt x="873" y="312"/>
                </a:lnTo>
                <a:lnTo>
                  <a:pt x="884" y="311"/>
                </a:lnTo>
                <a:lnTo>
                  <a:pt x="901" y="310"/>
                </a:lnTo>
                <a:lnTo>
                  <a:pt x="902" y="299"/>
                </a:lnTo>
                <a:lnTo>
                  <a:pt x="904" y="289"/>
                </a:lnTo>
                <a:lnTo>
                  <a:pt x="905" y="280"/>
                </a:lnTo>
                <a:lnTo>
                  <a:pt x="906" y="269"/>
                </a:lnTo>
                <a:lnTo>
                  <a:pt x="926" y="269"/>
                </a:lnTo>
                <a:lnTo>
                  <a:pt x="945" y="269"/>
                </a:lnTo>
                <a:lnTo>
                  <a:pt x="966" y="269"/>
                </a:lnTo>
                <a:lnTo>
                  <a:pt x="986" y="271"/>
                </a:lnTo>
                <a:lnTo>
                  <a:pt x="984" y="242"/>
                </a:lnTo>
                <a:lnTo>
                  <a:pt x="983" y="225"/>
                </a:lnTo>
                <a:lnTo>
                  <a:pt x="982" y="215"/>
                </a:lnTo>
                <a:lnTo>
                  <a:pt x="978" y="206"/>
                </a:lnTo>
                <a:lnTo>
                  <a:pt x="997" y="203"/>
                </a:lnTo>
                <a:lnTo>
                  <a:pt x="1017" y="202"/>
                </a:lnTo>
                <a:lnTo>
                  <a:pt x="1036" y="199"/>
                </a:lnTo>
                <a:lnTo>
                  <a:pt x="1057" y="198"/>
                </a:lnTo>
                <a:lnTo>
                  <a:pt x="1070" y="178"/>
                </a:lnTo>
                <a:lnTo>
                  <a:pt x="1081" y="167"/>
                </a:lnTo>
                <a:lnTo>
                  <a:pt x="1086" y="161"/>
                </a:lnTo>
                <a:lnTo>
                  <a:pt x="1094" y="158"/>
                </a:lnTo>
                <a:lnTo>
                  <a:pt x="1102" y="154"/>
                </a:lnTo>
                <a:lnTo>
                  <a:pt x="1113" y="148"/>
                </a:lnTo>
                <a:lnTo>
                  <a:pt x="1116" y="137"/>
                </a:lnTo>
                <a:lnTo>
                  <a:pt x="1118" y="125"/>
                </a:lnTo>
                <a:lnTo>
                  <a:pt x="1122" y="115"/>
                </a:lnTo>
                <a:lnTo>
                  <a:pt x="1126" y="104"/>
                </a:lnTo>
                <a:lnTo>
                  <a:pt x="1147" y="109"/>
                </a:lnTo>
                <a:lnTo>
                  <a:pt x="1167" y="117"/>
                </a:lnTo>
                <a:lnTo>
                  <a:pt x="1177" y="120"/>
                </a:lnTo>
                <a:lnTo>
                  <a:pt x="1187" y="122"/>
                </a:lnTo>
                <a:lnTo>
                  <a:pt x="1198" y="124"/>
                </a:lnTo>
                <a:lnTo>
                  <a:pt x="1209" y="122"/>
                </a:lnTo>
                <a:lnTo>
                  <a:pt x="1216" y="111"/>
                </a:lnTo>
                <a:lnTo>
                  <a:pt x="1224" y="100"/>
                </a:lnTo>
                <a:lnTo>
                  <a:pt x="1232" y="93"/>
                </a:lnTo>
                <a:lnTo>
                  <a:pt x="1239" y="86"/>
                </a:lnTo>
                <a:lnTo>
                  <a:pt x="1247" y="81"/>
                </a:lnTo>
                <a:lnTo>
                  <a:pt x="1255" y="74"/>
                </a:lnTo>
                <a:lnTo>
                  <a:pt x="1263" y="66"/>
                </a:lnTo>
                <a:lnTo>
                  <a:pt x="1271" y="56"/>
                </a:lnTo>
                <a:lnTo>
                  <a:pt x="1295" y="55"/>
                </a:lnTo>
                <a:lnTo>
                  <a:pt x="1321" y="53"/>
                </a:lnTo>
                <a:lnTo>
                  <a:pt x="1346" y="52"/>
                </a:lnTo>
                <a:lnTo>
                  <a:pt x="1372" y="50"/>
                </a:lnTo>
                <a:lnTo>
                  <a:pt x="1397" y="48"/>
                </a:lnTo>
                <a:lnTo>
                  <a:pt x="1422" y="47"/>
                </a:lnTo>
                <a:lnTo>
                  <a:pt x="1448" y="47"/>
                </a:lnTo>
                <a:lnTo>
                  <a:pt x="1472" y="48"/>
                </a:lnTo>
                <a:lnTo>
                  <a:pt x="1498" y="34"/>
                </a:lnTo>
                <a:lnTo>
                  <a:pt x="1514" y="26"/>
                </a:lnTo>
                <a:lnTo>
                  <a:pt x="1524" y="22"/>
                </a:lnTo>
                <a:lnTo>
                  <a:pt x="1536" y="20"/>
                </a:lnTo>
                <a:lnTo>
                  <a:pt x="1539" y="35"/>
                </a:lnTo>
                <a:lnTo>
                  <a:pt x="1541" y="52"/>
                </a:lnTo>
                <a:lnTo>
                  <a:pt x="1565" y="53"/>
                </a:lnTo>
                <a:lnTo>
                  <a:pt x="1578" y="52"/>
                </a:lnTo>
                <a:lnTo>
                  <a:pt x="1585" y="51"/>
                </a:lnTo>
                <a:lnTo>
                  <a:pt x="1593" y="46"/>
                </a:lnTo>
                <a:lnTo>
                  <a:pt x="1595" y="34"/>
                </a:lnTo>
                <a:lnTo>
                  <a:pt x="1596" y="24"/>
                </a:lnTo>
                <a:lnTo>
                  <a:pt x="1598" y="12"/>
                </a:lnTo>
                <a:lnTo>
                  <a:pt x="1600" y="0"/>
                </a:lnTo>
                <a:lnTo>
                  <a:pt x="1619" y="1"/>
                </a:lnTo>
                <a:lnTo>
                  <a:pt x="1634" y="4"/>
                </a:lnTo>
                <a:lnTo>
                  <a:pt x="1645" y="8"/>
                </a:lnTo>
                <a:lnTo>
                  <a:pt x="1656" y="12"/>
                </a:lnTo>
                <a:lnTo>
                  <a:pt x="1664" y="20"/>
                </a:lnTo>
                <a:lnTo>
                  <a:pt x="1671" y="30"/>
                </a:lnTo>
                <a:lnTo>
                  <a:pt x="1679" y="43"/>
                </a:lnTo>
                <a:lnTo>
                  <a:pt x="1688" y="60"/>
                </a:lnTo>
                <a:lnTo>
                  <a:pt x="1699" y="64"/>
                </a:lnTo>
                <a:lnTo>
                  <a:pt x="1710" y="68"/>
                </a:lnTo>
                <a:lnTo>
                  <a:pt x="1723" y="72"/>
                </a:lnTo>
                <a:lnTo>
                  <a:pt x="1736" y="74"/>
                </a:lnTo>
                <a:lnTo>
                  <a:pt x="1762" y="77"/>
                </a:lnTo>
                <a:lnTo>
                  <a:pt x="1790" y="80"/>
                </a:lnTo>
                <a:lnTo>
                  <a:pt x="1817" y="82"/>
                </a:lnTo>
                <a:lnTo>
                  <a:pt x="1844" y="87"/>
                </a:lnTo>
                <a:lnTo>
                  <a:pt x="1857" y="90"/>
                </a:lnTo>
                <a:lnTo>
                  <a:pt x="1870" y="94"/>
                </a:lnTo>
                <a:lnTo>
                  <a:pt x="1883" y="99"/>
                </a:lnTo>
                <a:lnTo>
                  <a:pt x="1895" y="106"/>
                </a:lnTo>
                <a:lnTo>
                  <a:pt x="1906" y="104"/>
                </a:lnTo>
                <a:lnTo>
                  <a:pt x="1917" y="104"/>
                </a:lnTo>
                <a:lnTo>
                  <a:pt x="1929" y="104"/>
                </a:lnTo>
                <a:lnTo>
                  <a:pt x="1939" y="104"/>
                </a:lnTo>
                <a:lnTo>
                  <a:pt x="1948" y="90"/>
                </a:lnTo>
                <a:lnTo>
                  <a:pt x="1958" y="76"/>
                </a:lnTo>
                <a:lnTo>
                  <a:pt x="1974" y="76"/>
                </a:lnTo>
                <a:lnTo>
                  <a:pt x="1995" y="80"/>
                </a:lnTo>
                <a:lnTo>
                  <a:pt x="2006" y="82"/>
                </a:lnTo>
                <a:lnTo>
                  <a:pt x="2016" y="83"/>
                </a:lnTo>
                <a:lnTo>
                  <a:pt x="2027" y="85"/>
                </a:lnTo>
                <a:lnTo>
                  <a:pt x="2036" y="85"/>
                </a:lnTo>
                <a:lnTo>
                  <a:pt x="2042" y="72"/>
                </a:lnTo>
                <a:lnTo>
                  <a:pt x="2050" y="60"/>
                </a:lnTo>
                <a:lnTo>
                  <a:pt x="2059" y="50"/>
                </a:lnTo>
                <a:lnTo>
                  <a:pt x="2069" y="40"/>
                </a:lnTo>
                <a:lnTo>
                  <a:pt x="2081" y="33"/>
                </a:lnTo>
                <a:lnTo>
                  <a:pt x="2093" y="25"/>
                </a:lnTo>
                <a:lnTo>
                  <a:pt x="2106" y="18"/>
                </a:lnTo>
                <a:lnTo>
                  <a:pt x="2120" y="13"/>
                </a:lnTo>
                <a:lnTo>
                  <a:pt x="2134" y="9"/>
                </a:lnTo>
                <a:lnTo>
                  <a:pt x="2150" y="7"/>
                </a:lnTo>
                <a:lnTo>
                  <a:pt x="2164" y="4"/>
                </a:lnTo>
                <a:lnTo>
                  <a:pt x="2180" y="4"/>
                </a:lnTo>
                <a:lnTo>
                  <a:pt x="2194" y="4"/>
                </a:lnTo>
                <a:lnTo>
                  <a:pt x="2210" y="5"/>
                </a:lnTo>
                <a:lnTo>
                  <a:pt x="2224" y="8"/>
                </a:lnTo>
                <a:lnTo>
                  <a:pt x="2239" y="12"/>
                </a:lnTo>
                <a:lnTo>
                  <a:pt x="2246" y="21"/>
                </a:lnTo>
                <a:lnTo>
                  <a:pt x="2253" y="30"/>
                </a:lnTo>
                <a:lnTo>
                  <a:pt x="2258" y="39"/>
                </a:lnTo>
                <a:lnTo>
                  <a:pt x="2263" y="48"/>
                </a:lnTo>
                <a:lnTo>
                  <a:pt x="2267" y="57"/>
                </a:lnTo>
                <a:lnTo>
                  <a:pt x="2271" y="66"/>
                </a:lnTo>
                <a:lnTo>
                  <a:pt x="2272" y="76"/>
                </a:lnTo>
                <a:lnTo>
                  <a:pt x="2275" y="85"/>
                </a:lnTo>
                <a:lnTo>
                  <a:pt x="2275" y="94"/>
                </a:lnTo>
                <a:lnTo>
                  <a:pt x="2275" y="102"/>
                </a:lnTo>
                <a:lnTo>
                  <a:pt x="2274" y="111"/>
                </a:lnTo>
                <a:lnTo>
                  <a:pt x="2272" y="119"/>
                </a:lnTo>
                <a:lnTo>
                  <a:pt x="2267" y="135"/>
                </a:lnTo>
                <a:lnTo>
                  <a:pt x="2261" y="151"/>
                </a:lnTo>
                <a:lnTo>
                  <a:pt x="2252" y="167"/>
                </a:lnTo>
                <a:lnTo>
                  <a:pt x="2240" y="181"/>
                </a:lnTo>
                <a:lnTo>
                  <a:pt x="2227" y="195"/>
                </a:lnTo>
                <a:lnTo>
                  <a:pt x="2214" y="208"/>
                </a:lnTo>
                <a:lnTo>
                  <a:pt x="2198" y="221"/>
                </a:lnTo>
                <a:lnTo>
                  <a:pt x="2183" y="233"/>
                </a:lnTo>
                <a:lnTo>
                  <a:pt x="2167" y="243"/>
                </a:lnTo>
                <a:lnTo>
                  <a:pt x="2151" y="254"/>
                </a:lnTo>
                <a:lnTo>
                  <a:pt x="2075" y="262"/>
                </a:lnTo>
                <a:lnTo>
                  <a:pt x="1998" y="268"/>
                </a:lnTo>
                <a:lnTo>
                  <a:pt x="1921" y="272"/>
                </a:lnTo>
                <a:lnTo>
                  <a:pt x="1844" y="275"/>
                </a:lnTo>
                <a:lnTo>
                  <a:pt x="1768" y="277"/>
                </a:lnTo>
                <a:lnTo>
                  <a:pt x="1691" y="277"/>
                </a:lnTo>
                <a:lnTo>
                  <a:pt x="1613" y="279"/>
                </a:lnTo>
                <a:lnTo>
                  <a:pt x="1536" y="279"/>
                </a:lnTo>
                <a:lnTo>
                  <a:pt x="1518" y="288"/>
                </a:lnTo>
                <a:lnTo>
                  <a:pt x="1500" y="297"/>
                </a:lnTo>
                <a:lnTo>
                  <a:pt x="1483" y="307"/>
                </a:lnTo>
                <a:lnTo>
                  <a:pt x="1464" y="318"/>
                </a:lnTo>
                <a:lnTo>
                  <a:pt x="1429" y="320"/>
                </a:lnTo>
                <a:lnTo>
                  <a:pt x="1402" y="321"/>
                </a:lnTo>
                <a:lnTo>
                  <a:pt x="1379" y="323"/>
                </a:lnTo>
                <a:lnTo>
                  <a:pt x="1360" y="325"/>
                </a:lnTo>
                <a:lnTo>
                  <a:pt x="1353" y="329"/>
                </a:lnTo>
                <a:lnTo>
                  <a:pt x="1345" y="333"/>
                </a:lnTo>
                <a:lnTo>
                  <a:pt x="1338" y="338"/>
                </a:lnTo>
                <a:lnTo>
                  <a:pt x="1333" y="345"/>
                </a:lnTo>
                <a:lnTo>
                  <a:pt x="1328" y="354"/>
                </a:lnTo>
                <a:lnTo>
                  <a:pt x="1323" y="364"/>
                </a:lnTo>
                <a:lnTo>
                  <a:pt x="1317" y="377"/>
                </a:lnTo>
                <a:lnTo>
                  <a:pt x="1312" y="392"/>
                </a:lnTo>
                <a:lnTo>
                  <a:pt x="1295" y="400"/>
                </a:lnTo>
                <a:lnTo>
                  <a:pt x="1280" y="407"/>
                </a:lnTo>
                <a:lnTo>
                  <a:pt x="1251" y="410"/>
                </a:lnTo>
                <a:lnTo>
                  <a:pt x="1224" y="415"/>
                </a:lnTo>
                <a:lnTo>
                  <a:pt x="1211" y="418"/>
                </a:lnTo>
                <a:lnTo>
                  <a:pt x="1198" y="422"/>
                </a:lnTo>
                <a:lnTo>
                  <a:pt x="1186" y="426"/>
                </a:lnTo>
                <a:lnTo>
                  <a:pt x="1174" y="429"/>
                </a:lnTo>
                <a:lnTo>
                  <a:pt x="1163" y="436"/>
                </a:lnTo>
                <a:lnTo>
                  <a:pt x="1151" y="441"/>
                </a:lnTo>
                <a:lnTo>
                  <a:pt x="1141" y="448"/>
                </a:lnTo>
                <a:lnTo>
                  <a:pt x="1129" y="455"/>
                </a:lnTo>
                <a:lnTo>
                  <a:pt x="1118" y="463"/>
                </a:lnTo>
                <a:lnTo>
                  <a:pt x="1108" y="474"/>
                </a:lnTo>
                <a:lnTo>
                  <a:pt x="1098" y="483"/>
                </a:lnTo>
                <a:lnTo>
                  <a:pt x="1087" y="494"/>
                </a:lnTo>
                <a:lnTo>
                  <a:pt x="1065" y="504"/>
                </a:lnTo>
                <a:lnTo>
                  <a:pt x="1044" y="513"/>
                </a:lnTo>
                <a:lnTo>
                  <a:pt x="1023" y="523"/>
                </a:lnTo>
                <a:lnTo>
                  <a:pt x="1004" y="535"/>
                </a:lnTo>
                <a:lnTo>
                  <a:pt x="965" y="558"/>
                </a:lnTo>
                <a:lnTo>
                  <a:pt x="927" y="582"/>
                </a:lnTo>
                <a:lnTo>
                  <a:pt x="889" y="606"/>
                </a:lnTo>
                <a:lnTo>
                  <a:pt x="853" y="631"/>
                </a:lnTo>
                <a:lnTo>
                  <a:pt x="814" y="655"/>
                </a:lnTo>
                <a:lnTo>
                  <a:pt x="772" y="677"/>
                </a:lnTo>
                <a:lnTo>
                  <a:pt x="750" y="677"/>
                </a:lnTo>
                <a:lnTo>
                  <a:pt x="729" y="677"/>
                </a:lnTo>
                <a:lnTo>
                  <a:pt x="707" y="678"/>
                </a:lnTo>
                <a:lnTo>
                  <a:pt x="685" y="679"/>
                </a:lnTo>
                <a:lnTo>
                  <a:pt x="680" y="695"/>
                </a:lnTo>
                <a:lnTo>
                  <a:pt x="675" y="710"/>
                </a:lnTo>
                <a:lnTo>
                  <a:pt x="668" y="723"/>
                </a:lnTo>
                <a:lnTo>
                  <a:pt x="662" y="738"/>
                </a:lnTo>
                <a:lnTo>
                  <a:pt x="654" y="751"/>
                </a:lnTo>
                <a:lnTo>
                  <a:pt x="646" y="764"/>
                </a:lnTo>
                <a:lnTo>
                  <a:pt x="637" y="777"/>
                </a:lnTo>
                <a:lnTo>
                  <a:pt x="627" y="790"/>
                </a:lnTo>
                <a:lnTo>
                  <a:pt x="594" y="794"/>
                </a:lnTo>
                <a:lnTo>
                  <a:pt x="567" y="799"/>
                </a:lnTo>
                <a:lnTo>
                  <a:pt x="555" y="803"/>
                </a:lnTo>
                <a:lnTo>
                  <a:pt x="545" y="807"/>
                </a:lnTo>
                <a:lnTo>
                  <a:pt x="536" y="812"/>
                </a:lnTo>
                <a:lnTo>
                  <a:pt x="528" y="817"/>
                </a:lnTo>
                <a:lnTo>
                  <a:pt x="520" y="824"/>
                </a:lnTo>
                <a:lnTo>
                  <a:pt x="512" y="831"/>
                </a:lnTo>
                <a:lnTo>
                  <a:pt x="506" y="839"/>
                </a:lnTo>
                <a:lnTo>
                  <a:pt x="498" y="850"/>
                </a:lnTo>
                <a:lnTo>
                  <a:pt x="485" y="872"/>
                </a:lnTo>
                <a:lnTo>
                  <a:pt x="471" y="900"/>
                </a:lnTo>
                <a:lnTo>
                  <a:pt x="448" y="928"/>
                </a:lnTo>
                <a:lnTo>
                  <a:pt x="428" y="956"/>
                </a:lnTo>
                <a:lnTo>
                  <a:pt x="405" y="985"/>
                </a:lnTo>
                <a:lnTo>
                  <a:pt x="383" y="1014"/>
                </a:lnTo>
                <a:lnTo>
                  <a:pt x="377" y="1041"/>
                </a:lnTo>
                <a:lnTo>
                  <a:pt x="368" y="1064"/>
                </a:lnTo>
                <a:lnTo>
                  <a:pt x="353" y="1098"/>
                </a:lnTo>
                <a:lnTo>
                  <a:pt x="326" y="1154"/>
                </a:lnTo>
                <a:lnTo>
                  <a:pt x="327" y="1197"/>
                </a:lnTo>
                <a:lnTo>
                  <a:pt x="330" y="1241"/>
                </a:lnTo>
                <a:lnTo>
                  <a:pt x="333" y="1287"/>
                </a:lnTo>
                <a:lnTo>
                  <a:pt x="335" y="1331"/>
                </a:lnTo>
                <a:lnTo>
                  <a:pt x="346" y="1347"/>
                </a:lnTo>
                <a:lnTo>
                  <a:pt x="353" y="1363"/>
                </a:lnTo>
                <a:lnTo>
                  <a:pt x="361" y="1379"/>
                </a:lnTo>
                <a:lnTo>
                  <a:pt x="366" y="1396"/>
                </a:lnTo>
                <a:lnTo>
                  <a:pt x="372" y="1414"/>
                </a:lnTo>
                <a:lnTo>
                  <a:pt x="374" y="1431"/>
                </a:lnTo>
                <a:lnTo>
                  <a:pt x="376" y="1451"/>
                </a:lnTo>
                <a:lnTo>
                  <a:pt x="376" y="1469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08" name="Freeform 73"/>
          <p:cNvSpPr>
            <a:spLocks/>
          </p:cNvSpPr>
          <p:nvPr/>
        </p:nvSpPr>
        <p:spPr bwMode="auto">
          <a:xfrm>
            <a:off x="3005138" y="1936750"/>
            <a:ext cx="85725" cy="77788"/>
          </a:xfrm>
          <a:custGeom>
            <a:avLst/>
            <a:gdLst>
              <a:gd name="T0" fmla="*/ 2147483647 w 218"/>
              <a:gd name="T1" fmla="*/ 2147483647 h 197"/>
              <a:gd name="T2" fmla="*/ 2147483647 w 218"/>
              <a:gd name="T3" fmla="*/ 2147483647 h 197"/>
              <a:gd name="T4" fmla="*/ 2147483647 w 218"/>
              <a:gd name="T5" fmla="*/ 2147483647 h 197"/>
              <a:gd name="T6" fmla="*/ 2147483647 w 218"/>
              <a:gd name="T7" fmla="*/ 2147483647 h 197"/>
              <a:gd name="T8" fmla="*/ 2147483647 w 218"/>
              <a:gd name="T9" fmla="*/ 2147483647 h 197"/>
              <a:gd name="T10" fmla="*/ 2147483647 w 218"/>
              <a:gd name="T11" fmla="*/ 2147483647 h 197"/>
              <a:gd name="T12" fmla="*/ 2147483647 w 218"/>
              <a:gd name="T13" fmla="*/ 2147483647 h 197"/>
              <a:gd name="T14" fmla="*/ 2147483647 w 218"/>
              <a:gd name="T15" fmla="*/ 2147483647 h 197"/>
              <a:gd name="T16" fmla="*/ 2147483647 w 218"/>
              <a:gd name="T17" fmla="*/ 2147483647 h 197"/>
              <a:gd name="T18" fmla="*/ 2147483647 w 218"/>
              <a:gd name="T19" fmla="*/ 2147483647 h 197"/>
              <a:gd name="T20" fmla="*/ 0 w 218"/>
              <a:gd name="T21" fmla="*/ 2147483647 h 197"/>
              <a:gd name="T22" fmla="*/ 0 w 218"/>
              <a:gd name="T23" fmla="*/ 2147483647 h 197"/>
              <a:gd name="T24" fmla="*/ 0 w 218"/>
              <a:gd name="T25" fmla="*/ 2147483647 h 197"/>
              <a:gd name="T26" fmla="*/ 2147483647 w 218"/>
              <a:gd name="T27" fmla="*/ 2147483647 h 197"/>
              <a:gd name="T28" fmla="*/ 2147483647 w 218"/>
              <a:gd name="T29" fmla="*/ 2147483647 h 197"/>
              <a:gd name="T30" fmla="*/ 2147483647 w 218"/>
              <a:gd name="T31" fmla="*/ 2147483647 h 197"/>
              <a:gd name="T32" fmla="*/ 2147483647 w 218"/>
              <a:gd name="T33" fmla="*/ 2147483647 h 197"/>
              <a:gd name="T34" fmla="*/ 2147483647 w 218"/>
              <a:gd name="T35" fmla="*/ 2147483647 h 197"/>
              <a:gd name="T36" fmla="*/ 2147483647 w 218"/>
              <a:gd name="T37" fmla="*/ 2147483647 h 197"/>
              <a:gd name="T38" fmla="*/ 2147483647 w 218"/>
              <a:gd name="T39" fmla="*/ 2147483647 h 197"/>
              <a:gd name="T40" fmla="*/ 2147483647 w 218"/>
              <a:gd name="T41" fmla="*/ 2147483647 h 197"/>
              <a:gd name="T42" fmla="*/ 2147483647 w 218"/>
              <a:gd name="T43" fmla="*/ 2147483647 h 197"/>
              <a:gd name="T44" fmla="*/ 2147483647 w 218"/>
              <a:gd name="T45" fmla="*/ 2147483647 h 197"/>
              <a:gd name="T46" fmla="*/ 2147483647 w 218"/>
              <a:gd name="T47" fmla="*/ 2147483647 h 197"/>
              <a:gd name="T48" fmla="*/ 2147483647 w 218"/>
              <a:gd name="T49" fmla="*/ 0 h 197"/>
              <a:gd name="T50" fmla="*/ 2147483647 w 218"/>
              <a:gd name="T51" fmla="*/ 2147483647 h 197"/>
              <a:gd name="T52" fmla="*/ 2147483647 w 218"/>
              <a:gd name="T53" fmla="*/ 2147483647 h 197"/>
              <a:gd name="T54" fmla="*/ 2147483647 w 218"/>
              <a:gd name="T55" fmla="*/ 2147483647 h 197"/>
              <a:gd name="T56" fmla="*/ 2147483647 w 218"/>
              <a:gd name="T57" fmla="*/ 2147483647 h 197"/>
              <a:gd name="T58" fmla="*/ 2147483647 w 218"/>
              <a:gd name="T59" fmla="*/ 2147483647 h 197"/>
              <a:gd name="T60" fmla="*/ 2147483647 w 218"/>
              <a:gd name="T61" fmla="*/ 2147483647 h 197"/>
              <a:gd name="T62" fmla="*/ 2147483647 w 218"/>
              <a:gd name="T63" fmla="*/ 2147483647 h 197"/>
              <a:gd name="T64" fmla="*/ 2147483647 w 218"/>
              <a:gd name="T65" fmla="*/ 2147483647 h 197"/>
              <a:gd name="T66" fmla="*/ 2147483647 w 218"/>
              <a:gd name="T67" fmla="*/ 2147483647 h 197"/>
              <a:gd name="T68" fmla="*/ 2147483647 w 218"/>
              <a:gd name="T69" fmla="*/ 2147483647 h 197"/>
              <a:gd name="T70" fmla="*/ 2147483647 w 218"/>
              <a:gd name="T71" fmla="*/ 2147483647 h 197"/>
              <a:gd name="T72" fmla="*/ 2147483647 w 218"/>
              <a:gd name="T73" fmla="*/ 2147483647 h 197"/>
              <a:gd name="T74" fmla="*/ 2147483647 w 218"/>
              <a:gd name="T75" fmla="*/ 2147483647 h 197"/>
              <a:gd name="T76" fmla="*/ 2147483647 w 218"/>
              <a:gd name="T77" fmla="*/ 2147483647 h 197"/>
              <a:gd name="T78" fmla="*/ 2147483647 w 218"/>
              <a:gd name="T79" fmla="*/ 2147483647 h 197"/>
              <a:gd name="T80" fmla="*/ 2147483647 w 218"/>
              <a:gd name="T81" fmla="*/ 2147483647 h 197"/>
              <a:gd name="T82" fmla="*/ 2147483647 w 218"/>
              <a:gd name="T83" fmla="*/ 2147483647 h 197"/>
              <a:gd name="T84" fmla="*/ 2147483647 w 218"/>
              <a:gd name="T85" fmla="*/ 2147483647 h 197"/>
              <a:gd name="T86" fmla="*/ 2147483647 w 218"/>
              <a:gd name="T87" fmla="*/ 2147483647 h 197"/>
              <a:gd name="T88" fmla="*/ 2147483647 w 218"/>
              <a:gd name="T89" fmla="*/ 2147483647 h 197"/>
              <a:gd name="T90" fmla="*/ 2147483647 w 218"/>
              <a:gd name="T91" fmla="*/ 2147483647 h 197"/>
              <a:gd name="T92" fmla="*/ 2147483647 w 218"/>
              <a:gd name="T93" fmla="*/ 2147483647 h 197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18"/>
              <a:gd name="T142" fmla="*/ 0 h 197"/>
              <a:gd name="T143" fmla="*/ 218 w 218"/>
              <a:gd name="T144" fmla="*/ 197 h 197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18" h="197">
                <a:moveTo>
                  <a:pt x="48" y="197"/>
                </a:moveTo>
                <a:lnTo>
                  <a:pt x="39" y="194"/>
                </a:lnTo>
                <a:lnTo>
                  <a:pt x="30" y="190"/>
                </a:lnTo>
                <a:lnTo>
                  <a:pt x="23" y="185"/>
                </a:lnTo>
                <a:lnTo>
                  <a:pt x="18" y="180"/>
                </a:lnTo>
                <a:lnTo>
                  <a:pt x="13" y="175"/>
                </a:lnTo>
                <a:lnTo>
                  <a:pt x="9" y="168"/>
                </a:lnTo>
                <a:lnTo>
                  <a:pt x="6" y="162"/>
                </a:lnTo>
                <a:lnTo>
                  <a:pt x="4" y="154"/>
                </a:lnTo>
                <a:lnTo>
                  <a:pt x="1" y="138"/>
                </a:lnTo>
                <a:lnTo>
                  <a:pt x="0" y="121"/>
                </a:lnTo>
                <a:lnTo>
                  <a:pt x="0" y="104"/>
                </a:lnTo>
                <a:lnTo>
                  <a:pt x="0" y="88"/>
                </a:lnTo>
                <a:lnTo>
                  <a:pt x="19" y="64"/>
                </a:lnTo>
                <a:lnTo>
                  <a:pt x="36" y="45"/>
                </a:lnTo>
                <a:lnTo>
                  <a:pt x="44" y="37"/>
                </a:lnTo>
                <a:lnTo>
                  <a:pt x="52" y="29"/>
                </a:lnTo>
                <a:lnTo>
                  <a:pt x="60" y="24"/>
                </a:lnTo>
                <a:lnTo>
                  <a:pt x="69" y="17"/>
                </a:lnTo>
                <a:lnTo>
                  <a:pt x="76" y="13"/>
                </a:lnTo>
                <a:lnTo>
                  <a:pt x="86" y="10"/>
                </a:lnTo>
                <a:lnTo>
                  <a:pt x="96" y="7"/>
                </a:lnTo>
                <a:lnTo>
                  <a:pt x="108" y="4"/>
                </a:lnTo>
                <a:lnTo>
                  <a:pt x="132" y="2"/>
                </a:lnTo>
                <a:lnTo>
                  <a:pt x="164" y="0"/>
                </a:lnTo>
                <a:lnTo>
                  <a:pt x="177" y="7"/>
                </a:lnTo>
                <a:lnTo>
                  <a:pt x="187" y="15"/>
                </a:lnTo>
                <a:lnTo>
                  <a:pt x="195" y="24"/>
                </a:lnTo>
                <a:lnTo>
                  <a:pt x="203" y="34"/>
                </a:lnTo>
                <a:lnTo>
                  <a:pt x="208" y="45"/>
                </a:lnTo>
                <a:lnTo>
                  <a:pt x="212" y="58"/>
                </a:lnTo>
                <a:lnTo>
                  <a:pt x="216" y="71"/>
                </a:lnTo>
                <a:lnTo>
                  <a:pt x="217" y="84"/>
                </a:lnTo>
                <a:lnTo>
                  <a:pt x="218" y="111"/>
                </a:lnTo>
                <a:lnTo>
                  <a:pt x="218" y="140"/>
                </a:lnTo>
                <a:lnTo>
                  <a:pt x="217" y="167"/>
                </a:lnTo>
                <a:lnTo>
                  <a:pt x="216" y="192"/>
                </a:lnTo>
                <a:lnTo>
                  <a:pt x="208" y="194"/>
                </a:lnTo>
                <a:lnTo>
                  <a:pt x="203" y="197"/>
                </a:lnTo>
                <a:lnTo>
                  <a:pt x="199" y="185"/>
                </a:lnTo>
                <a:lnTo>
                  <a:pt x="196" y="176"/>
                </a:lnTo>
                <a:lnTo>
                  <a:pt x="160" y="180"/>
                </a:lnTo>
                <a:lnTo>
                  <a:pt x="123" y="186"/>
                </a:lnTo>
                <a:lnTo>
                  <a:pt x="105" y="190"/>
                </a:lnTo>
                <a:lnTo>
                  <a:pt x="87" y="193"/>
                </a:lnTo>
                <a:lnTo>
                  <a:pt x="67" y="196"/>
                </a:lnTo>
                <a:lnTo>
                  <a:pt x="48" y="197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09" name="Freeform 74"/>
          <p:cNvSpPr>
            <a:spLocks/>
          </p:cNvSpPr>
          <p:nvPr/>
        </p:nvSpPr>
        <p:spPr bwMode="auto">
          <a:xfrm>
            <a:off x="4270375" y="1990725"/>
            <a:ext cx="20638" cy="14288"/>
          </a:xfrm>
          <a:custGeom>
            <a:avLst/>
            <a:gdLst>
              <a:gd name="T0" fmla="*/ 2147483647 w 52"/>
              <a:gd name="T1" fmla="*/ 2147483647 h 32"/>
              <a:gd name="T2" fmla="*/ 2147483647 w 52"/>
              <a:gd name="T3" fmla="*/ 2147483647 h 32"/>
              <a:gd name="T4" fmla="*/ 0 w 52"/>
              <a:gd name="T5" fmla="*/ 2147483647 h 32"/>
              <a:gd name="T6" fmla="*/ 2147483647 w 52"/>
              <a:gd name="T7" fmla="*/ 2147483647 h 32"/>
              <a:gd name="T8" fmla="*/ 2147483647 w 52"/>
              <a:gd name="T9" fmla="*/ 2147483647 h 32"/>
              <a:gd name="T10" fmla="*/ 2147483647 w 52"/>
              <a:gd name="T11" fmla="*/ 2147483647 h 32"/>
              <a:gd name="T12" fmla="*/ 2147483647 w 52"/>
              <a:gd name="T13" fmla="*/ 0 h 32"/>
              <a:gd name="T14" fmla="*/ 2147483647 w 52"/>
              <a:gd name="T15" fmla="*/ 2147483647 h 32"/>
              <a:gd name="T16" fmla="*/ 2147483647 w 52"/>
              <a:gd name="T17" fmla="*/ 2147483647 h 32"/>
              <a:gd name="T18" fmla="*/ 2147483647 w 52"/>
              <a:gd name="T19" fmla="*/ 2147483647 h 32"/>
              <a:gd name="T20" fmla="*/ 2147483647 w 52"/>
              <a:gd name="T21" fmla="*/ 2147483647 h 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2"/>
              <a:gd name="T34" fmla="*/ 0 h 32"/>
              <a:gd name="T35" fmla="*/ 52 w 52"/>
              <a:gd name="T36" fmla="*/ 32 h 3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2" h="32">
                <a:moveTo>
                  <a:pt x="18" y="32"/>
                </a:moveTo>
                <a:lnTo>
                  <a:pt x="8" y="18"/>
                </a:lnTo>
                <a:lnTo>
                  <a:pt x="0" y="5"/>
                </a:lnTo>
                <a:lnTo>
                  <a:pt x="13" y="4"/>
                </a:lnTo>
                <a:lnTo>
                  <a:pt x="26" y="2"/>
                </a:lnTo>
                <a:lnTo>
                  <a:pt x="39" y="1"/>
                </a:lnTo>
                <a:lnTo>
                  <a:pt x="52" y="0"/>
                </a:lnTo>
                <a:lnTo>
                  <a:pt x="48" y="11"/>
                </a:lnTo>
                <a:lnTo>
                  <a:pt x="45" y="26"/>
                </a:lnTo>
                <a:lnTo>
                  <a:pt x="31" y="30"/>
                </a:lnTo>
                <a:lnTo>
                  <a:pt x="18" y="32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10" name="Freeform 75"/>
          <p:cNvSpPr>
            <a:spLocks/>
          </p:cNvSpPr>
          <p:nvPr/>
        </p:nvSpPr>
        <p:spPr bwMode="auto">
          <a:xfrm>
            <a:off x="4059238" y="1928813"/>
            <a:ext cx="63500" cy="49212"/>
          </a:xfrm>
          <a:custGeom>
            <a:avLst/>
            <a:gdLst>
              <a:gd name="T0" fmla="*/ 2147483647 w 162"/>
              <a:gd name="T1" fmla="*/ 2147483647 h 124"/>
              <a:gd name="T2" fmla="*/ 2147483647 w 162"/>
              <a:gd name="T3" fmla="*/ 2147483647 h 124"/>
              <a:gd name="T4" fmla="*/ 2147483647 w 162"/>
              <a:gd name="T5" fmla="*/ 2147483647 h 124"/>
              <a:gd name="T6" fmla="*/ 2147483647 w 162"/>
              <a:gd name="T7" fmla="*/ 2147483647 h 124"/>
              <a:gd name="T8" fmla="*/ 2147483647 w 162"/>
              <a:gd name="T9" fmla="*/ 2147483647 h 124"/>
              <a:gd name="T10" fmla="*/ 2147483647 w 162"/>
              <a:gd name="T11" fmla="*/ 2147483647 h 124"/>
              <a:gd name="T12" fmla="*/ 2147483647 w 162"/>
              <a:gd name="T13" fmla="*/ 2147483647 h 124"/>
              <a:gd name="T14" fmla="*/ 0 w 162"/>
              <a:gd name="T15" fmla="*/ 2147483647 h 124"/>
              <a:gd name="T16" fmla="*/ 0 w 162"/>
              <a:gd name="T17" fmla="*/ 2147483647 h 124"/>
              <a:gd name="T18" fmla="*/ 0 w 162"/>
              <a:gd name="T19" fmla="*/ 2147483647 h 124"/>
              <a:gd name="T20" fmla="*/ 2147483647 w 162"/>
              <a:gd name="T21" fmla="*/ 2147483647 h 124"/>
              <a:gd name="T22" fmla="*/ 2147483647 w 162"/>
              <a:gd name="T23" fmla="*/ 2147483647 h 124"/>
              <a:gd name="T24" fmla="*/ 2147483647 w 162"/>
              <a:gd name="T25" fmla="*/ 2147483647 h 124"/>
              <a:gd name="T26" fmla="*/ 2147483647 w 162"/>
              <a:gd name="T27" fmla="*/ 2147483647 h 124"/>
              <a:gd name="T28" fmla="*/ 2147483647 w 162"/>
              <a:gd name="T29" fmla="*/ 2147483647 h 124"/>
              <a:gd name="T30" fmla="*/ 2147483647 w 162"/>
              <a:gd name="T31" fmla="*/ 0 h 124"/>
              <a:gd name="T32" fmla="*/ 2147483647 w 162"/>
              <a:gd name="T33" fmla="*/ 0 h 124"/>
              <a:gd name="T34" fmla="*/ 2147483647 w 162"/>
              <a:gd name="T35" fmla="*/ 2147483647 h 124"/>
              <a:gd name="T36" fmla="*/ 2147483647 w 162"/>
              <a:gd name="T37" fmla="*/ 2147483647 h 124"/>
              <a:gd name="T38" fmla="*/ 2147483647 w 162"/>
              <a:gd name="T39" fmla="*/ 2147483647 h 124"/>
              <a:gd name="T40" fmla="*/ 2147483647 w 162"/>
              <a:gd name="T41" fmla="*/ 2147483647 h 124"/>
              <a:gd name="T42" fmla="*/ 2147483647 w 162"/>
              <a:gd name="T43" fmla="*/ 2147483647 h 124"/>
              <a:gd name="T44" fmla="*/ 2147483647 w 162"/>
              <a:gd name="T45" fmla="*/ 2147483647 h 124"/>
              <a:gd name="T46" fmla="*/ 2147483647 w 162"/>
              <a:gd name="T47" fmla="*/ 2147483647 h 124"/>
              <a:gd name="T48" fmla="*/ 2147483647 w 162"/>
              <a:gd name="T49" fmla="*/ 2147483647 h 124"/>
              <a:gd name="T50" fmla="*/ 2147483647 w 162"/>
              <a:gd name="T51" fmla="*/ 2147483647 h 124"/>
              <a:gd name="T52" fmla="*/ 2147483647 w 162"/>
              <a:gd name="T53" fmla="*/ 2147483647 h 124"/>
              <a:gd name="T54" fmla="*/ 2147483647 w 162"/>
              <a:gd name="T55" fmla="*/ 2147483647 h 124"/>
              <a:gd name="T56" fmla="*/ 2147483647 w 162"/>
              <a:gd name="T57" fmla="*/ 2147483647 h 124"/>
              <a:gd name="T58" fmla="*/ 2147483647 w 162"/>
              <a:gd name="T59" fmla="*/ 2147483647 h 124"/>
              <a:gd name="T60" fmla="*/ 2147483647 w 162"/>
              <a:gd name="T61" fmla="*/ 2147483647 h 124"/>
              <a:gd name="T62" fmla="*/ 2147483647 w 162"/>
              <a:gd name="T63" fmla="*/ 2147483647 h 124"/>
              <a:gd name="T64" fmla="*/ 2147483647 w 162"/>
              <a:gd name="T65" fmla="*/ 2147483647 h 12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62"/>
              <a:gd name="T100" fmla="*/ 0 h 124"/>
              <a:gd name="T101" fmla="*/ 162 w 162"/>
              <a:gd name="T102" fmla="*/ 124 h 12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62" h="124">
                <a:moveTo>
                  <a:pt x="33" y="124"/>
                </a:moveTo>
                <a:lnTo>
                  <a:pt x="21" y="109"/>
                </a:lnTo>
                <a:lnTo>
                  <a:pt x="12" y="95"/>
                </a:lnTo>
                <a:lnTo>
                  <a:pt x="8" y="89"/>
                </a:lnTo>
                <a:lnTo>
                  <a:pt x="6" y="82"/>
                </a:lnTo>
                <a:lnTo>
                  <a:pt x="3" y="74"/>
                </a:lnTo>
                <a:lnTo>
                  <a:pt x="2" y="68"/>
                </a:lnTo>
                <a:lnTo>
                  <a:pt x="0" y="61"/>
                </a:lnTo>
                <a:lnTo>
                  <a:pt x="0" y="54"/>
                </a:lnTo>
                <a:lnTo>
                  <a:pt x="0" y="46"/>
                </a:lnTo>
                <a:lnTo>
                  <a:pt x="3" y="38"/>
                </a:lnTo>
                <a:lnTo>
                  <a:pt x="6" y="30"/>
                </a:lnTo>
                <a:lnTo>
                  <a:pt x="9" y="21"/>
                </a:lnTo>
                <a:lnTo>
                  <a:pt x="13" y="12"/>
                </a:lnTo>
                <a:lnTo>
                  <a:pt x="20" y="2"/>
                </a:lnTo>
                <a:lnTo>
                  <a:pt x="60" y="0"/>
                </a:lnTo>
                <a:lnTo>
                  <a:pt x="93" y="0"/>
                </a:lnTo>
                <a:lnTo>
                  <a:pt x="106" y="2"/>
                </a:lnTo>
                <a:lnTo>
                  <a:pt x="117" y="4"/>
                </a:lnTo>
                <a:lnTo>
                  <a:pt x="128" y="7"/>
                </a:lnTo>
                <a:lnTo>
                  <a:pt x="137" y="12"/>
                </a:lnTo>
                <a:lnTo>
                  <a:pt x="143" y="18"/>
                </a:lnTo>
                <a:lnTo>
                  <a:pt x="149" y="26"/>
                </a:lnTo>
                <a:lnTo>
                  <a:pt x="154" y="35"/>
                </a:lnTo>
                <a:lnTo>
                  <a:pt x="158" y="47"/>
                </a:lnTo>
                <a:lnTo>
                  <a:pt x="160" y="61"/>
                </a:lnTo>
                <a:lnTo>
                  <a:pt x="162" y="77"/>
                </a:lnTo>
                <a:lnTo>
                  <a:pt x="162" y="96"/>
                </a:lnTo>
                <a:lnTo>
                  <a:pt x="162" y="119"/>
                </a:lnTo>
                <a:lnTo>
                  <a:pt x="129" y="120"/>
                </a:lnTo>
                <a:lnTo>
                  <a:pt x="97" y="121"/>
                </a:lnTo>
                <a:lnTo>
                  <a:pt x="65" y="122"/>
                </a:lnTo>
                <a:lnTo>
                  <a:pt x="33" y="124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11" name="Freeform 76"/>
          <p:cNvSpPr>
            <a:spLocks/>
          </p:cNvSpPr>
          <p:nvPr/>
        </p:nvSpPr>
        <p:spPr bwMode="auto">
          <a:xfrm>
            <a:off x="6707188" y="1836738"/>
            <a:ext cx="123825" cy="87312"/>
          </a:xfrm>
          <a:custGeom>
            <a:avLst/>
            <a:gdLst>
              <a:gd name="T0" fmla="*/ 0 w 313"/>
              <a:gd name="T1" fmla="*/ 2147483647 h 221"/>
              <a:gd name="T2" fmla="*/ 2147483647 w 313"/>
              <a:gd name="T3" fmla="*/ 2147483647 h 221"/>
              <a:gd name="T4" fmla="*/ 2147483647 w 313"/>
              <a:gd name="T5" fmla="*/ 2147483647 h 221"/>
              <a:gd name="T6" fmla="*/ 2147483647 w 313"/>
              <a:gd name="T7" fmla="*/ 2147483647 h 221"/>
              <a:gd name="T8" fmla="*/ 2147483647 w 313"/>
              <a:gd name="T9" fmla="*/ 2147483647 h 221"/>
              <a:gd name="T10" fmla="*/ 2147483647 w 313"/>
              <a:gd name="T11" fmla="*/ 2147483647 h 221"/>
              <a:gd name="T12" fmla="*/ 2147483647 w 313"/>
              <a:gd name="T13" fmla="*/ 2147483647 h 221"/>
              <a:gd name="T14" fmla="*/ 2147483647 w 313"/>
              <a:gd name="T15" fmla="*/ 2147483647 h 221"/>
              <a:gd name="T16" fmla="*/ 2147483647 w 313"/>
              <a:gd name="T17" fmla="*/ 2147483647 h 221"/>
              <a:gd name="T18" fmla="*/ 2147483647 w 313"/>
              <a:gd name="T19" fmla="*/ 2147483647 h 221"/>
              <a:gd name="T20" fmla="*/ 2147483647 w 313"/>
              <a:gd name="T21" fmla="*/ 2147483647 h 221"/>
              <a:gd name="T22" fmla="*/ 2147483647 w 313"/>
              <a:gd name="T23" fmla="*/ 2147483647 h 221"/>
              <a:gd name="T24" fmla="*/ 2147483647 w 313"/>
              <a:gd name="T25" fmla="*/ 2147483647 h 221"/>
              <a:gd name="T26" fmla="*/ 2147483647 w 313"/>
              <a:gd name="T27" fmla="*/ 2147483647 h 221"/>
              <a:gd name="T28" fmla="*/ 2147483647 w 313"/>
              <a:gd name="T29" fmla="*/ 2147483647 h 221"/>
              <a:gd name="T30" fmla="*/ 2147483647 w 313"/>
              <a:gd name="T31" fmla="*/ 2147483647 h 221"/>
              <a:gd name="T32" fmla="*/ 2147483647 w 313"/>
              <a:gd name="T33" fmla="*/ 2147483647 h 221"/>
              <a:gd name="T34" fmla="*/ 2147483647 w 313"/>
              <a:gd name="T35" fmla="*/ 0 h 221"/>
              <a:gd name="T36" fmla="*/ 2147483647 w 313"/>
              <a:gd name="T37" fmla="*/ 0 h 221"/>
              <a:gd name="T38" fmla="*/ 2147483647 w 313"/>
              <a:gd name="T39" fmla="*/ 0 h 221"/>
              <a:gd name="T40" fmla="*/ 2147483647 w 313"/>
              <a:gd name="T41" fmla="*/ 2147483647 h 221"/>
              <a:gd name="T42" fmla="*/ 2147483647 w 313"/>
              <a:gd name="T43" fmla="*/ 2147483647 h 221"/>
              <a:gd name="T44" fmla="*/ 2147483647 w 313"/>
              <a:gd name="T45" fmla="*/ 2147483647 h 221"/>
              <a:gd name="T46" fmla="*/ 2147483647 w 313"/>
              <a:gd name="T47" fmla="*/ 2147483647 h 221"/>
              <a:gd name="T48" fmla="*/ 2147483647 w 313"/>
              <a:gd name="T49" fmla="*/ 2147483647 h 221"/>
              <a:gd name="T50" fmla="*/ 2147483647 w 313"/>
              <a:gd name="T51" fmla="*/ 2147483647 h 221"/>
              <a:gd name="T52" fmla="*/ 2147483647 w 313"/>
              <a:gd name="T53" fmla="*/ 2147483647 h 221"/>
              <a:gd name="T54" fmla="*/ 2147483647 w 313"/>
              <a:gd name="T55" fmla="*/ 2147483647 h 221"/>
              <a:gd name="T56" fmla="*/ 2147483647 w 313"/>
              <a:gd name="T57" fmla="*/ 2147483647 h 221"/>
              <a:gd name="T58" fmla="*/ 2147483647 w 313"/>
              <a:gd name="T59" fmla="*/ 2147483647 h 221"/>
              <a:gd name="T60" fmla="*/ 2147483647 w 313"/>
              <a:gd name="T61" fmla="*/ 2147483647 h 221"/>
              <a:gd name="T62" fmla="*/ 2147483647 w 313"/>
              <a:gd name="T63" fmla="*/ 2147483647 h 221"/>
              <a:gd name="T64" fmla="*/ 2147483647 w 313"/>
              <a:gd name="T65" fmla="*/ 2147483647 h 221"/>
              <a:gd name="T66" fmla="*/ 2147483647 w 313"/>
              <a:gd name="T67" fmla="*/ 2147483647 h 221"/>
              <a:gd name="T68" fmla="*/ 2147483647 w 313"/>
              <a:gd name="T69" fmla="*/ 2147483647 h 221"/>
              <a:gd name="T70" fmla="*/ 2147483647 w 313"/>
              <a:gd name="T71" fmla="*/ 2147483647 h 221"/>
              <a:gd name="T72" fmla="*/ 2147483647 w 313"/>
              <a:gd name="T73" fmla="*/ 2147483647 h 221"/>
              <a:gd name="T74" fmla="*/ 2147483647 w 313"/>
              <a:gd name="T75" fmla="*/ 2147483647 h 221"/>
              <a:gd name="T76" fmla="*/ 2147483647 w 313"/>
              <a:gd name="T77" fmla="*/ 2147483647 h 221"/>
              <a:gd name="T78" fmla="*/ 2147483647 w 313"/>
              <a:gd name="T79" fmla="*/ 2147483647 h 221"/>
              <a:gd name="T80" fmla="*/ 2147483647 w 313"/>
              <a:gd name="T81" fmla="*/ 2147483647 h 221"/>
              <a:gd name="T82" fmla="*/ 2147483647 w 313"/>
              <a:gd name="T83" fmla="*/ 2147483647 h 221"/>
              <a:gd name="T84" fmla="*/ 2147483647 w 313"/>
              <a:gd name="T85" fmla="*/ 2147483647 h 221"/>
              <a:gd name="T86" fmla="*/ 2147483647 w 313"/>
              <a:gd name="T87" fmla="*/ 2147483647 h 221"/>
              <a:gd name="T88" fmla="*/ 2147483647 w 313"/>
              <a:gd name="T89" fmla="*/ 2147483647 h 221"/>
              <a:gd name="T90" fmla="*/ 2147483647 w 313"/>
              <a:gd name="T91" fmla="*/ 2147483647 h 221"/>
              <a:gd name="T92" fmla="*/ 2147483647 w 313"/>
              <a:gd name="T93" fmla="*/ 2147483647 h 221"/>
              <a:gd name="T94" fmla="*/ 2147483647 w 313"/>
              <a:gd name="T95" fmla="*/ 2147483647 h 221"/>
              <a:gd name="T96" fmla="*/ 0 w 313"/>
              <a:gd name="T97" fmla="*/ 2147483647 h 2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13"/>
              <a:gd name="T148" fmla="*/ 0 h 221"/>
              <a:gd name="T149" fmla="*/ 313 w 313"/>
              <a:gd name="T150" fmla="*/ 221 h 22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13" h="221">
                <a:moveTo>
                  <a:pt x="0" y="221"/>
                </a:moveTo>
                <a:lnTo>
                  <a:pt x="10" y="201"/>
                </a:lnTo>
                <a:lnTo>
                  <a:pt x="17" y="182"/>
                </a:lnTo>
                <a:lnTo>
                  <a:pt x="26" y="162"/>
                </a:lnTo>
                <a:lnTo>
                  <a:pt x="36" y="144"/>
                </a:lnTo>
                <a:lnTo>
                  <a:pt x="38" y="118"/>
                </a:lnTo>
                <a:lnTo>
                  <a:pt x="42" y="93"/>
                </a:lnTo>
                <a:lnTo>
                  <a:pt x="46" y="69"/>
                </a:lnTo>
                <a:lnTo>
                  <a:pt x="51" y="44"/>
                </a:lnTo>
                <a:lnTo>
                  <a:pt x="59" y="35"/>
                </a:lnTo>
                <a:lnTo>
                  <a:pt x="68" y="27"/>
                </a:lnTo>
                <a:lnTo>
                  <a:pt x="77" y="20"/>
                </a:lnTo>
                <a:lnTo>
                  <a:pt x="86" y="14"/>
                </a:lnTo>
                <a:lnTo>
                  <a:pt x="95" y="10"/>
                </a:lnTo>
                <a:lnTo>
                  <a:pt x="105" y="6"/>
                </a:lnTo>
                <a:lnTo>
                  <a:pt x="115" y="2"/>
                </a:lnTo>
                <a:lnTo>
                  <a:pt x="124" y="1"/>
                </a:lnTo>
                <a:lnTo>
                  <a:pt x="133" y="0"/>
                </a:lnTo>
                <a:lnTo>
                  <a:pt x="144" y="0"/>
                </a:lnTo>
                <a:lnTo>
                  <a:pt x="153" y="0"/>
                </a:lnTo>
                <a:lnTo>
                  <a:pt x="162" y="1"/>
                </a:lnTo>
                <a:lnTo>
                  <a:pt x="171" y="2"/>
                </a:lnTo>
                <a:lnTo>
                  <a:pt x="180" y="5"/>
                </a:lnTo>
                <a:lnTo>
                  <a:pt x="189" y="9"/>
                </a:lnTo>
                <a:lnTo>
                  <a:pt x="198" y="13"/>
                </a:lnTo>
                <a:lnTo>
                  <a:pt x="216" y="22"/>
                </a:lnTo>
                <a:lnTo>
                  <a:pt x="233" y="33"/>
                </a:lnTo>
                <a:lnTo>
                  <a:pt x="250" y="48"/>
                </a:lnTo>
                <a:lnTo>
                  <a:pt x="265" y="63"/>
                </a:lnTo>
                <a:lnTo>
                  <a:pt x="279" y="79"/>
                </a:lnTo>
                <a:lnTo>
                  <a:pt x="292" y="97"/>
                </a:lnTo>
                <a:lnTo>
                  <a:pt x="302" y="115"/>
                </a:lnTo>
                <a:lnTo>
                  <a:pt x="313" y="134"/>
                </a:lnTo>
                <a:lnTo>
                  <a:pt x="298" y="147"/>
                </a:lnTo>
                <a:lnTo>
                  <a:pt x="284" y="158"/>
                </a:lnTo>
                <a:lnTo>
                  <a:pt x="270" y="166"/>
                </a:lnTo>
                <a:lnTo>
                  <a:pt x="254" y="173"/>
                </a:lnTo>
                <a:lnTo>
                  <a:pt x="240" y="178"/>
                </a:lnTo>
                <a:lnTo>
                  <a:pt x="224" y="182"/>
                </a:lnTo>
                <a:lnTo>
                  <a:pt x="209" y="184"/>
                </a:lnTo>
                <a:lnTo>
                  <a:pt x="193" y="184"/>
                </a:lnTo>
                <a:lnTo>
                  <a:pt x="160" y="186"/>
                </a:lnTo>
                <a:lnTo>
                  <a:pt x="127" y="184"/>
                </a:lnTo>
                <a:lnTo>
                  <a:pt x="90" y="182"/>
                </a:lnTo>
                <a:lnTo>
                  <a:pt x="52" y="182"/>
                </a:lnTo>
                <a:lnTo>
                  <a:pt x="45" y="197"/>
                </a:lnTo>
                <a:lnTo>
                  <a:pt x="39" y="216"/>
                </a:lnTo>
                <a:lnTo>
                  <a:pt x="19" y="218"/>
                </a:lnTo>
                <a:lnTo>
                  <a:pt x="0" y="221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12" name="Freeform 77"/>
          <p:cNvSpPr>
            <a:spLocks/>
          </p:cNvSpPr>
          <p:nvPr/>
        </p:nvSpPr>
        <p:spPr bwMode="auto">
          <a:xfrm>
            <a:off x="3324225" y="1830388"/>
            <a:ext cx="19050" cy="49212"/>
          </a:xfrm>
          <a:custGeom>
            <a:avLst/>
            <a:gdLst>
              <a:gd name="T0" fmla="*/ 2147483647 w 48"/>
              <a:gd name="T1" fmla="*/ 2147483647 h 122"/>
              <a:gd name="T2" fmla="*/ 2147483647 w 48"/>
              <a:gd name="T3" fmla="*/ 2147483647 h 122"/>
              <a:gd name="T4" fmla="*/ 2147483647 w 48"/>
              <a:gd name="T5" fmla="*/ 2147483647 h 122"/>
              <a:gd name="T6" fmla="*/ 2147483647 w 48"/>
              <a:gd name="T7" fmla="*/ 2147483647 h 122"/>
              <a:gd name="T8" fmla="*/ 2147483647 w 48"/>
              <a:gd name="T9" fmla="*/ 2147483647 h 122"/>
              <a:gd name="T10" fmla="*/ 2147483647 w 48"/>
              <a:gd name="T11" fmla="*/ 2147483647 h 122"/>
              <a:gd name="T12" fmla="*/ 2147483647 w 48"/>
              <a:gd name="T13" fmla="*/ 2147483647 h 122"/>
              <a:gd name="T14" fmla="*/ 2147483647 w 48"/>
              <a:gd name="T15" fmla="*/ 2147483647 h 122"/>
              <a:gd name="T16" fmla="*/ 2147483647 w 48"/>
              <a:gd name="T17" fmla="*/ 2147483647 h 122"/>
              <a:gd name="T18" fmla="*/ 2147483647 w 48"/>
              <a:gd name="T19" fmla="*/ 2147483647 h 122"/>
              <a:gd name="T20" fmla="*/ 0 w 48"/>
              <a:gd name="T21" fmla="*/ 2147483647 h 122"/>
              <a:gd name="T22" fmla="*/ 0 w 48"/>
              <a:gd name="T23" fmla="*/ 2147483647 h 122"/>
              <a:gd name="T24" fmla="*/ 0 w 48"/>
              <a:gd name="T25" fmla="*/ 2147483647 h 122"/>
              <a:gd name="T26" fmla="*/ 2147483647 w 48"/>
              <a:gd name="T27" fmla="*/ 0 h 122"/>
              <a:gd name="T28" fmla="*/ 2147483647 w 48"/>
              <a:gd name="T29" fmla="*/ 0 h 122"/>
              <a:gd name="T30" fmla="*/ 2147483647 w 48"/>
              <a:gd name="T31" fmla="*/ 2147483647 h 122"/>
              <a:gd name="T32" fmla="*/ 2147483647 w 48"/>
              <a:gd name="T33" fmla="*/ 2147483647 h 122"/>
              <a:gd name="T34" fmla="*/ 2147483647 w 48"/>
              <a:gd name="T35" fmla="*/ 2147483647 h 122"/>
              <a:gd name="T36" fmla="*/ 2147483647 w 48"/>
              <a:gd name="T37" fmla="*/ 2147483647 h 122"/>
              <a:gd name="T38" fmla="*/ 2147483647 w 48"/>
              <a:gd name="T39" fmla="*/ 2147483647 h 122"/>
              <a:gd name="T40" fmla="*/ 2147483647 w 48"/>
              <a:gd name="T41" fmla="*/ 2147483647 h 122"/>
              <a:gd name="T42" fmla="*/ 2147483647 w 48"/>
              <a:gd name="T43" fmla="*/ 2147483647 h 122"/>
              <a:gd name="T44" fmla="*/ 2147483647 w 48"/>
              <a:gd name="T45" fmla="*/ 2147483647 h 122"/>
              <a:gd name="T46" fmla="*/ 2147483647 w 48"/>
              <a:gd name="T47" fmla="*/ 2147483647 h 122"/>
              <a:gd name="T48" fmla="*/ 2147483647 w 48"/>
              <a:gd name="T49" fmla="*/ 2147483647 h 122"/>
              <a:gd name="T50" fmla="*/ 2147483647 w 48"/>
              <a:gd name="T51" fmla="*/ 2147483647 h 122"/>
              <a:gd name="T52" fmla="*/ 2147483647 w 48"/>
              <a:gd name="T53" fmla="*/ 2147483647 h 122"/>
              <a:gd name="T54" fmla="*/ 2147483647 w 48"/>
              <a:gd name="T55" fmla="*/ 2147483647 h 122"/>
              <a:gd name="T56" fmla="*/ 2147483647 w 48"/>
              <a:gd name="T57" fmla="*/ 2147483647 h 12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48"/>
              <a:gd name="T88" fmla="*/ 0 h 122"/>
              <a:gd name="T89" fmla="*/ 48 w 48"/>
              <a:gd name="T90" fmla="*/ 122 h 122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48" h="122">
                <a:moveTo>
                  <a:pt x="14" y="122"/>
                </a:moveTo>
                <a:lnTo>
                  <a:pt x="13" y="104"/>
                </a:lnTo>
                <a:lnTo>
                  <a:pt x="13" y="88"/>
                </a:lnTo>
                <a:lnTo>
                  <a:pt x="14" y="80"/>
                </a:lnTo>
                <a:lnTo>
                  <a:pt x="15" y="73"/>
                </a:lnTo>
                <a:lnTo>
                  <a:pt x="18" y="65"/>
                </a:lnTo>
                <a:lnTo>
                  <a:pt x="23" y="56"/>
                </a:lnTo>
                <a:lnTo>
                  <a:pt x="18" y="45"/>
                </a:lnTo>
                <a:lnTo>
                  <a:pt x="13" y="40"/>
                </a:lnTo>
                <a:lnTo>
                  <a:pt x="9" y="36"/>
                </a:lnTo>
                <a:lnTo>
                  <a:pt x="0" y="34"/>
                </a:lnTo>
                <a:lnTo>
                  <a:pt x="0" y="17"/>
                </a:lnTo>
                <a:lnTo>
                  <a:pt x="0" y="1"/>
                </a:lnTo>
                <a:lnTo>
                  <a:pt x="18" y="0"/>
                </a:lnTo>
                <a:lnTo>
                  <a:pt x="35" y="0"/>
                </a:lnTo>
                <a:lnTo>
                  <a:pt x="39" y="6"/>
                </a:lnTo>
                <a:lnTo>
                  <a:pt x="43" y="13"/>
                </a:lnTo>
                <a:lnTo>
                  <a:pt x="45" y="21"/>
                </a:lnTo>
                <a:lnTo>
                  <a:pt x="47" y="30"/>
                </a:lnTo>
                <a:lnTo>
                  <a:pt x="48" y="37"/>
                </a:lnTo>
                <a:lnTo>
                  <a:pt x="48" y="47"/>
                </a:lnTo>
                <a:lnTo>
                  <a:pt x="47" y="56"/>
                </a:lnTo>
                <a:lnTo>
                  <a:pt x="45" y="65"/>
                </a:lnTo>
                <a:lnTo>
                  <a:pt x="40" y="82"/>
                </a:lnTo>
                <a:lnTo>
                  <a:pt x="33" y="99"/>
                </a:lnTo>
                <a:lnTo>
                  <a:pt x="28" y="105"/>
                </a:lnTo>
                <a:lnTo>
                  <a:pt x="24" y="112"/>
                </a:lnTo>
                <a:lnTo>
                  <a:pt x="19" y="118"/>
                </a:lnTo>
                <a:lnTo>
                  <a:pt x="14" y="122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13" name="Freeform 78"/>
          <p:cNvSpPr>
            <a:spLocks/>
          </p:cNvSpPr>
          <p:nvPr/>
        </p:nvSpPr>
        <p:spPr bwMode="auto">
          <a:xfrm>
            <a:off x="6669088" y="1804988"/>
            <a:ext cx="34925" cy="50800"/>
          </a:xfrm>
          <a:custGeom>
            <a:avLst/>
            <a:gdLst>
              <a:gd name="T0" fmla="*/ 2147483647 w 90"/>
              <a:gd name="T1" fmla="*/ 2147483647 h 128"/>
              <a:gd name="T2" fmla="*/ 2147483647 w 90"/>
              <a:gd name="T3" fmla="*/ 2147483647 h 128"/>
              <a:gd name="T4" fmla="*/ 2147483647 w 90"/>
              <a:gd name="T5" fmla="*/ 2147483647 h 128"/>
              <a:gd name="T6" fmla="*/ 2147483647 w 90"/>
              <a:gd name="T7" fmla="*/ 2147483647 h 128"/>
              <a:gd name="T8" fmla="*/ 0 w 90"/>
              <a:gd name="T9" fmla="*/ 2147483647 h 128"/>
              <a:gd name="T10" fmla="*/ 0 w 90"/>
              <a:gd name="T11" fmla="*/ 2147483647 h 128"/>
              <a:gd name="T12" fmla="*/ 0 w 90"/>
              <a:gd name="T13" fmla="*/ 2147483647 h 128"/>
              <a:gd name="T14" fmla="*/ 0 w 90"/>
              <a:gd name="T15" fmla="*/ 2147483647 h 128"/>
              <a:gd name="T16" fmla="*/ 0 w 90"/>
              <a:gd name="T17" fmla="*/ 2147483647 h 128"/>
              <a:gd name="T18" fmla="*/ 2147483647 w 90"/>
              <a:gd name="T19" fmla="*/ 2147483647 h 128"/>
              <a:gd name="T20" fmla="*/ 2147483647 w 90"/>
              <a:gd name="T21" fmla="*/ 2147483647 h 128"/>
              <a:gd name="T22" fmla="*/ 2147483647 w 90"/>
              <a:gd name="T23" fmla="*/ 2147483647 h 128"/>
              <a:gd name="T24" fmla="*/ 2147483647 w 90"/>
              <a:gd name="T25" fmla="*/ 0 h 128"/>
              <a:gd name="T26" fmla="*/ 2147483647 w 90"/>
              <a:gd name="T27" fmla="*/ 2147483647 h 128"/>
              <a:gd name="T28" fmla="*/ 2147483647 w 90"/>
              <a:gd name="T29" fmla="*/ 2147483647 h 128"/>
              <a:gd name="T30" fmla="*/ 2147483647 w 90"/>
              <a:gd name="T31" fmla="*/ 2147483647 h 128"/>
              <a:gd name="T32" fmla="*/ 2147483647 w 90"/>
              <a:gd name="T33" fmla="*/ 2147483647 h 128"/>
              <a:gd name="T34" fmla="*/ 2147483647 w 90"/>
              <a:gd name="T35" fmla="*/ 2147483647 h 128"/>
              <a:gd name="T36" fmla="*/ 2147483647 w 90"/>
              <a:gd name="T37" fmla="*/ 2147483647 h 128"/>
              <a:gd name="T38" fmla="*/ 2147483647 w 90"/>
              <a:gd name="T39" fmla="*/ 2147483647 h 128"/>
              <a:gd name="T40" fmla="*/ 2147483647 w 90"/>
              <a:gd name="T41" fmla="*/ 2147483647 h 128"/>
              <a:gd name="T42" fmla="*/ 2147483647 w 90"/>
              <a:gd name="T43" fmla="*/ 2147483647 h 128"/>
              <a:gd name="T44" fmla="*/ 2147483647 w 90"/>
              <a:gd name="T45" fmla="*/ 2147483647 h 128"/>
              <a:gd name="T46" fmla="*/ 2147483647 w 90"/>
              <a:gd name="T47" fmla="*/ 2147483647 h 128"/>
              <a:gd name="T48" fmla="*/ 2147483647 w 90"/>
              <a:gd name="T49" fmla="*/ 2147483647 h 128"/>
              <a:gd name="T50" fmla="*/ 2147483647 w 90"/>
              <a:gd name="T51" fmla="*/ 2147483647 h 128"/>
              <a:gd name="T52" fmla="*/ 2147483647 w 90"/>
              <a:gd name="T53" fmla="*/ 2147483647 h 128"/>
              <a:gd name="T54" fmla="*/ 2147483647 w 90"/>
              <a:gd name="T55" fmla="*/ 2147483647 h 128"/>
              <a:gd name="T56" fmla="*/ 2147483647 w 90"/>
              <a:gd name="T57" fmla="*/ 2147483647 h 128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90"/>
              <a:gd name="T88" fmla="*/ 0 h 128"/>
              <a:gd name="T89" fmla="*/ 90 w 90"/>
              <a:gd name="T90" fmla="*/ 128 h 128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90" h="128">
                <a:moveTo>
                  <a:pt x="68" y="128"/>
                </a:moveTo>
                <a:lnTo>
                  <a:pt x="49" y="115"/>
                </a:lnTo>
                <a:lnTo>
                  <a:pt x="32" y="102"/>
                </a:lnTo>
                <a:lnTo>
                  <a:pt x="15" y="90"/>
                </a:lnTo>
                <a:lnTo>
                  <a:pt x="0" y="78"/>
                </a:lnTo>
                <a:lnTo>
                  <a:pt x="0" y="68"/>
                </a:lnTo>
                <a:lnTo>
                  <a:pt x="0" y="58"/>
                </a:lnTo>
                <a:lnTo>
                  <a:pt x="0" y="47"/>
                </a:lnTo>
                <a:lnTo>
                  <a:pt x="0" y="37"/>
                </a:lnTo>
                <a:lnTo>
                  <a:pt x="19" y="24"/>
                </a:lnTo>
                <a:lnTo>
                  <a:pt x="31" y="16"/>
                </a:lnTo>
                <a:lnTo>
                  <a:pt x="36" y="9"/>
                </a:lnTo>
                <a:lnTo>
                  <a:pt x="40" y="0"/>
                </a:lnTo>
                <a:lnTo>
                  <a:pt x="51" y="3"/>
                </a:lnTo>
                <a:lnTo>
                  <a:pt x="61" y="7"/>
                </a:lnTo>
                <a:lnTo>
                  <a:pt x="69" y="11"/>
                </a:lnTo>
                <a:lnTo>
                  <a:pt x="75" y="17"/>
                </a:lnTo>
                <a:lnTo>
                  <a:pt x="81" y="25"/>
                </a:lnTo>
                <a:lnTo>
                  <a:pt x="84" y="33"/>
                </a:lnTo>
                <a:lnTo>
                  <a:pt x="88" y="42"/>
                </a:lnTo>
                <a:lnTo>
                  <a:pt x="90" y="51"/>
                </a:lnTo>
                <a:lnTo>
                  <a:pt x="90" y="61"/>
                </a:lnTo>
                <a:lnTo>
                  <a:pt x="90" y="72"/>
                </a:lnTo>
                <a:lnTo>
                  <a:pt x="88" y="81"/>
                </a:lnTo>
                <a:lnTo>
                  <a:pt x="86" y="91"/>
                </a:lnTo>
                <a:lnTo>
                  <a:pt x="82" y="102"/>
                </a:lnTo>
                <a:lnTo>
                  <a:pt x="78" y="111"/>
                </a:lnTo>
                <a:lnTo>
                  <a:pt x="73" y="120"/>
                </a:lnTo>
                <a:lnTo>
                  <a:pt x="68" y="128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14" name="Freeform 79"/>
          <p:cNvSpPr>
            <a:spLocks/>
          </p:cNvSpPr>
          <p:nvPr/>
        </p:nvSpPr>
        <p:spPr bwMode="auto">
          <a:xfrm>
            <a:off x="6488113" y="1565275"/>
            <a:ext cx="269875" cy="219075"/>
          </a:xfrm>
          <a:custGeom>
            <a:avLst/>
            <a:gdLst>
              <a:gd name="T0" fmla="*/ 2147483647 w 676"/>
              <a:gd name="T1" fmla="*/ 2147483647 h 553"/>
              <a:gd name="T2" fmla="*/ 2147483647 w 676"/>
              <a:gd name="T3" fmla="*/ 2147483647 h 553"/>
              <a:gd name="T4" fmla="*/ 2147483647 w 676"/>
              <a:gd name="T5" fmla="*/ 2147483647 h 553"/>
              <a:gd name="T6" fmla="*/ 2147483647 w 676"/>
              <a:gd name="T7" fmla="*/ 2147483647 h 553"/>
              <a:gd name="T8" fmla="*/ 2147483647 w 676"/>
              <a:gd name="T9" fmla="*/ 2147483647 h 553"/>
              <a:gd name="T10" fmla="*/ 2147483647 w 676"/>
              <a:gd name="T11" fmla="*/ 2147483647 h 553"/>
              <a:gd name="T12" fmla="*/ 2147483647 w 676"/>
              <a:gd name="T13" fmla="*/ 2147483647 h 553"/>
              <a:gd name="T14" fmla="*/ 2147483647 w 676"/>
              <a:gd name="T15" fmla="*/ 2147483647 h 553"/>
              <a:gd name="T16" fmla="*/ 2147483647 w 676"/>
              <a:gd name="T17" fmla="*/ 2147483647 h 553"/>
              <a:gd name="T18" fmla="*/ 0 w 676"/>
              <a:gd name="T19" fmla="*/ 2147483647 h 553"/>
              <a:gd name="T20" fmla="*/ 2147483647 w 676"/>
              <a:gd name="T21" fmla="*/ 2147483647 h 553"/>
              <a:gd name="T22" fmla="*/ 2147483647 w 676"/>
              <a:gd name="T23" fmla="*/ 2147483647 h 553"/>
              <a:gd name="T24" fmla="*/ 2147483647 w 676"/>
              <a:gd name="T25" fmla="*/ 2147483647 h 553"/>
              <a:gd name="T26" fmla="*/ 2147483647 w 676"/>
              <a:gd name="T27" fmla="*/ 2147483647 h 553"/>
              <a:gd name="T28" fmla="*/ 2147483647 w 676"/>
              <a:gd name="T29" fmla="*/ 2147483647 h 553"/>
              <a:gd name="T30" fmla="*/ 2147483647 w 676"/>
              <a:gd name="T31" fmla="*/ 2147483647 h 553"/>
              <a:gd name="T32" fmla="*/ 2147483647 w 676"/>
              <a:gd name="T33" fmla="*/ 2147483647 h 553"/>
              <a:gd name="T34" fmla="*/ 2147483647 w 676"/>
              <a:gd name="T35" fmla="*/ 2147483647 h 553"/>
              <a:gd name="T36" fmla="*/ 2147483647 w 676"/>
              <a:gd name="T37" fmla="*/ 2147483647 h 553"/>
              <a:gd name="T38" fmla="*/ 2147483647 w 676"/>
              <a:gd name="T39" fmla="*/ 2147483647 h 553"/>
              <a:gd name="T40" fmla="*/ 2147483647 w 676"/>
              <a:gd name="T41" fmla="*/ 2147483647 h 553"/>
              <a:gd name="T42" fmla="*/ 2147483647 w 676"/>
              <a:gd name="T43" fmla="*/ 2147483647 h 553"/>
              <a:gd name="T44" fmla="*/ 2147483647 w 676"/>
              <a:gd name="T45" fmla="*/ 2147483647 h 553"/>
              <a:gd name="T46" fmla="*/ 2147483647 w 676"/>
              <a:gd name="T47" fmla="*/ 2147483647 h 553"/>
              <a:gd name="T48" fmla="*/ 2147483647 w 676"/>
              <a:gd name="T49" fmla="*/ 2147483647 h 553"/>
              <a:gd name="T50" fmla="*/ 2147483647 w 676"/>
              <a:gd name="T51" fmla="*/ 2147483647 h 553"/>
              <a:gd name="T52" fmla="*/ 2147483647 w 676"/>
              <a:gd name="T53" fmla="*/ 2147483647 h 553"/>
              <a:gd name="T54" fmla="*/ 2147483647 w 676"/>
              <a:gd name="T55" fmla="*/ 2147483647 h 553"/>
              <a:gd name="T56" fmla="*/ 2147483647 w 676"/>
              <a:gd name="T57" fmla="*/ 2147483647 h 553"/>
              <a:gd name="T58" fmla="*/ 2147483647 w 676"/>
              <a:gd name="T59" fmla="*/ 2147483647 h 553"/>
              <a:gd name="T60" fmla="*/ 2147483647 w 676"/>
              <a:gd name="T61" fmla="*/ 2147483647 h 553"/>
              <a:gd name="T62" fmla="*/ 2147483647 w 676"/>
              <a:gd name="T63" fmla="*/ 2147483647 h 553"/>
              <a:gd name="T64" fmla="*/ 2147483647 w 676"/>
              <a:gd name="T65" fmla="*/ 2147483647 h 553"/>
              <a:gd name="T66" fmla="*/ 2147483647 w 676"/>
              <a:gd name="T67" fmla="*/ 2147483647 h 553"/>
              <a:gd name="T68" fmla="*/ 2147483647 w 676"/>
              <a:gd name="T69" fmla="*/ 2147483647 h 553"/>
              <a:gd name="T70" fmla="*/ 2147483647 w 676"/>
              <a:gd name="T71" fmla="*/ 2147483647 h 553"/>
              <a:gd name="T72" fmla="*/ 2147483647 w 676"/>
              <a:gd name="T73" fmla="*/ 2147483647 h 553"/>
              <a:gd name="T74" fmla="*/ 2147483647 w 676"/>
              <a:gd name="T75" fmla="*/ 2147483647 h 553"/>
              <a:gd name="T76" fmla="*/ 2147483647 w 676"/>
              <a:gd name="T77" fmla="*/ 2147483647 h 553"/>
              <a:gd name="T78" fmla="*/ 2147483647 w 676"/>
              <a:gd name="T79" fmla="*/ 2147483647 h 553"/>
              <a:gd name="T80" fmla="*/ 2147483647 w 676"/>
              <a:gd name="T81" fmla="*/ 2147483647 h 553"/>
              <a:gd name="T82" fmla="*/ 2147483647 w 676"/>
              <a:gd name="T83" fmla="*/ 2147483647 h 553"/>
              <a:gd name="T84" fmla="*/ 2147483647 w 676"/>
              <a:gd name="T85" fmla="*/ 2147483647 h 553"/>
              <a:gd name="T86" fmla="*/ 2147483647 w 676"/>
              <a:gd name="T87" fmla="*/ 2147483647 h 553"/>
              <a:gd name="T88" fmla="*/ 2147483647 w 676"/>
              <a:gd name="T89" fmla="*/ 2147483647 h 553"/>
              <a:gd name="T90" fmla="*/ 2147483647 w 676"/>
              <a:gd name="T91" fmla="*/ 2147483647 h 553"/>
              <a:gd name="T92" fmla="*/ 2147483647 w 676"/>
              <a:gd name="T93" fmla="*/ 2147483647 h 553"/>
              <a:gd name="T94" fmla="*/ 2147483647 w 676"/>
              <a:gd name="T95" fmla="*/ 2147483647 h 553"/>
              <a:gd name="T96" fmla="*/ 2147483647 w 676"/>
              <a:gd name="T97" fmla="*/ 2147483647 h 553"/>
              <a:gd name="T98" fmla="*/ 2147483647 w 676"/>
              <a:gd name="T99" fmla="*/ 2147483647 h 553"/>
              <a:gd name="T100" fmla="*/ 2147483647 w 676"/>
              <a:gd name="T101" fmla="*/ 2147483647 h 553"/>
              <a:gd name="T102" fmla="*/ 2147483647 w 676"/>
              <a:gd name="T103" fmla="*/ 2147483647 h 553"/>
              <a:gd name="T104" fmla="*/ 2147483647 w 676"/>
              <a:gd name="T105" fmla="*/ 2147483647 h 553"/>
              <a:gd name="T106" fmla="*/ 2147483647 w 676"/>
              <a:gd name="T107" fmla="*/ 2147483647 h 553"/>
              <a:gd name="T108" fmla="*/ 2147483647 w 676"/>
              <a:gd name="T109" fmla="*/ 2147483647 h 55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676"/>
              <a:gd name="T166" fmla="*/ 0 h 553"/>
              <a:gd name="T167" fmla="*/ 676 w 676"/>
              <a:gd name="T168" fmla="*/ 553 h 553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676" h="553">
                <a:moveTo>
                  <a:pt x="290" y="553"/>
                </a:moveTo>
                <a:lnTo>
                  <a:pt x="278" y="544"/>
                </a:lnTo>
                <a:lnTo>
                  <a:pt x="267" y="538"/>
                </a:lnTo>
                <a:lnTo>
                  <a:pt x="256" y="532"/>
                </a:lnTo>
                <a:lnTo>
                  <a:pt x="246" y="529"/>
                </a:lnTo>
                <a:lnTo>
                  <a:pt x="234" y="526"/>
                </a:lnTo>
                <a:lnTo>
                  <a:pt x="222" y="526"/>
                </a:lnTo>
                <a:lnTo>
                  <a:pt x="209" y="525"/>
                </a:lnTo>
                <a:lnTo>
                  <a:pt x="194" y="525"/>
                </a:lnTo>
                <a:lnTo>
                  <a:pt x="182" y="512"/>
                </a:lnTo>
                <a:lnTo>
                  <a:pt x="169" y="500"/>
                </a:lnTo>
                <a:lnTo>
                  <a:pt x="157" y="490"/>
                </a:lnTo>
                <a:lnTo>
                  <a:pt x="146" y="480"/>
                </a:lnTo>
                <a:lnTo>
                  <a:pt x="123" y="463"/>
                </a:lnTo>
                <a:lnTo>
                  <a:pt x="103" y="449"/>
                </a:lnTo>
                <a:lnTo>
                  <a:pt x="92" y="441"/>
                </a:lnTo>
                <a:lnTo>
                  <a:pt x="83" y="432"/>
                </a:lnTo>
                <a:lnTo>
                  <a:pt x="75" y="422"/>
                </a:lnTo>
                <a:lnTo>
                  <a:pt x="67" y="411"/>
                </a:lnTo>
                <a:lnTo>
                  <a:pt x="61" y="398"/>
                </a:lnTo>
                <a:lnTo>
                  <a:pt x="56" y="384"/>
                </a:lnTo>
                <a:lnTo>
                  <a:pt x="51" y="367"/>
                </a:lnTo>
                <a:lnTo>
                  <a:pt x="48" y="348"/>
                </a:lnTo>
                <a:lnTo>
                  <a:pt x="32" y="327"/>
                </a:lnTo>
                <a:lnTo>
                  <a:pt x="21" y="305"/>
                </a:lnTo>
                <a:lnTo>
                  <a:pt x="13" y="284"/>
                </a:lnTo>
                <a:lnTo>
                  <a:pt x="6" y="263"/>
                </a:lnTo>
                <a:lnTo>
                  <a:pt x="2" y="241"/>
                </a:lnTo>
                <a:lnTo>
                  <a:pt x="0" y="218"/>
                </a:lnTo>
                <a:lnTo>
                  <a:pt x="0" y="193"/>
                </a:lnTo>
                <a:lnTo>
                  <a:pt x="0" y="166"/>
                </a:lnTo>
                <a:lnTo>
                  <a:pt x="14" y="142"/>
                </a:lnTo>
                <a:lnTo>
                  <a:pt x="28" y="120"/>
                </a:lnTo>
                <a:lnTo>
                  <a:pt x="43" y="98"/>
                </a:lnTo>
                <a:lnTo>
                  <a:pt x="57" y="77"/>
                </a:lnTo>
                <a:lnTo>
                  <a:pt x="79" y="76"/>
                </a:lnTo>
                <a:lnTo>
                  <a:pt x="97" y="76"/>
                </a:lnTo>
                <a:lnTo>
                  <a:pt x="116" y="77"/>
                </a:lnTo>
                <a:lnTo>
                  <a:pt x="131" y="80"/>
                </a:lnTo>
                <a:lnTo>
                  <a:pt x="165" y="86"/>
                </a:lnTo>
                <a:lnTo>
                  <a:pt x="205" y="94"/>
                </a:lnTo>
                <a:lnTo>
                  <a:pt x="225" y="115"/>
                </a:lnTo>
                <a:lnTo>
                  <a:pt x="250" y="137"/>
                </a:lnTo>
                <a:lnTo>
                  <a:pt x="263" y="147"/>
                </a:lnTo>
                <a:lnTo>
                  <a:pt x="276" y="154"/>
                </a:lnTo>
                <a:lnTo>
                  <a:pt x="283" y="156"/>
                </a:lnTo>
                <a:lnTo>
                  <a:pt x="290" y="158"/>
                </a:lnTo>
                <a:lnTo>
                  <a:pt x="296" y="159"/>
                </a:lnTo>
                <a:lnTo>
                  <a:pt x="303" y="158"/>
                </a:lnTo>
                <a:lnTo>
                  <a:pt x="303" y="142"/>
                </a:lnTo>
                <a:lnTo>
                  <a:pt x="302" y="127"/>
                </a:lnTo>
                <a:lnTo>
                  <a:pt x="302" y="110"/>
                </a:lnTo>
                <a:lnTo>
                  <a:pt x="302" y="94"/>
                </a:lnTo>
                <a:lnTo>
                  <a:pt x="290" y="86"/>
                </a:lnTo>
                <a:lnTo>
                  <a:pt x="278" y="75"/>
                </a:lnTo>
                <a:lnTo>
                  <a:pt x="273" y="68"/>
                </a:lnTo>
                <a:lnTo>
                  <a:pt x="269" y="62"/>
                </a:lnTo>
                <a:lnTo>
                  <a:pt x="268" y="54"/>
                </a:lnTo>
                <a:lnTo>
                  <a:pt x="269" y="46"/>
                </a:lnTo>
                <a:lnTo>
                  <a:pt x="281" y="43"/>
                </a:lnTo>
                <a:lnTo>
                  <a:pt x="293" y="41"/>
                </a:lnTo>
                <a:lnTo>
                  <a:pt x="303" y="38"/>
                </a:lnTo>
                <a:lnTo>
                  <a:pt x="315" y="34"/>
                </a:lnTo>
                <a:lnTo>
                  <a:pt x="312" y="17"/>
                </a:lnTo>
                <a:lnTo>
                  <a:pt x="309" y="0"/>
                </a:lnTo>
                <a:lnTo>
                  <a:pt x="329" y="2"/>
                </a:lnTo>
                <a:lnTo>
                  <a:pt x="347" y="6"/>
                </a:lnTo>
                <a:lnTo>
                  <a:pt x="367" y="11"/>
                </a:lnTo>
                <a:lnTo>
                  <a:pt x="385" y="17"/>
                </a:lnTo>
                <a:lnTo>
                  <a:pt x="403" y="22"/>
                </a:lnTo>
                <a:lnTo>
                  <a:pt x="423" y="26"/>
                </a:lnTo>
                <a:lnTo>
                  <a:pt x="432" y="28"/>
                </a:lnTo>
                <a:lnTo>
                  <a:pt x="441" y="29"/>
                </a:lnTo>
                <a:lnTo>
                  <a:pt x="450" y="28"/>
                </a:lnTo>
                <a:lnTo>
                  <a:pt x="459" y="26"/>
                </a:lnTo>
                <a:lnTo>
                  <a:pt x="471" y="20"/>
                </a:lnTo>
                <a:lnTo>
                  <a:pt x="482" y="15"/>
                </a:lnTo>
                <a:lnTo>
                  <a:pt x="493" y="11"/>
                </a:lnTo>
                <a:lnTo>
                  <a:pt x="505" y="7"/>
                </a:lnTo>
                <a:lnTo>
                  <a:pt x="515" y="6"/>
                </a:lnTo>
                <a:lnTo>
                  <a:pt x="525" y="4"/>
                </a:lnTo>
                <a:lnTo>
                  <a:pt x="536" y="4"/>
                </a:lnTo>
                <a:lnTo>
                  <a:pt x="546" y="4"/>
                </a:lnTo>
                <a:lnTo>
                  <a:pt x="590" y="12"/>
                </a:lnTo>
                <a:lnTo>
                  <a:pt x="642" y="21"/>
                </a:lnTo>
                <a:lnTo>
                  <a:pt x="646" y="45"/>
                </a:lnTo>
                <a:lnTo>
                  <a:pt x="650" y="67"/>
                </a:lnTo>
                <a:lnTo>
                  <a:pt x="656" y="90"/>
                </a:lnTo>
                <a:lnTo>
                  <a:pt x="659" y="114"/>
                </a:lnTo>
                <a:lnTo>
                  <a:pt x="665" y="121"/>
                </a:lnTo>
                <a:lnTo>
                  <a:pt x="669" y="128"/>
                </a:lnTo>
                <a:lnTo>
                  <a:pt x="672" y="136"/>
                </a:lnTo>
                <a:lnTo>
                  <a:pt x="675" y="142"/>
                </a:lnTo>
                <a:lnTo>
                  <a:pt x="676" y="149"/>
                </a:lnTo>
                <a:lnTo>
                  <a:pt x="676" y="154"/>
                </a:lnTo>
                <a:lnTo>
                  <a:pt x="676" y="160"/>
                </a:lnTo>
                <a:lnTo>
                  <a:pt x="676" y="167"/>
                </a:lnTo>
                <a:lnTo>
                  <a:pt x="674" y="179"/>
                </a:lnTo>
                <a:lnTo>
                  <a:pt x="669" y="192"/>
                </a:lnTo>
                <a:lnTo>
                  <a:pt x="662" y="206"/>
                </a:lnTo>
                <a:lnTo>
                  <a:pt x="656" y="222"/>
                </a:lnTo>
                <a:lnTo>
                  <a:pt x="641" y="224"/>
                </a:lnTo>
                <a:lnTo>
                  <a:pt x="628" y="225"/>
                </a:lnTo>
                <a:lnTo>
                  <a:pt x="615" y="227"/>
                </a:lnTo>
                <a:lnTo>
                  <a:pt x="603" y="228"/>
                </a:lnTo>
                <a:lnTo>
                  <a:pt x="593" y="227"/>
                </a:lnTo>
                <a:lnTo>
                  <a:pt x="584" y="225"/>
                </a:lnTo>
                <a:lnTo>
                  <a:pt x="574" y="224"/>
                </a:lnTo>
                <a:lnTo>
                  <a:pt x="564" y="222"/>
                </a:lnTo>
                <a:lnTo>
                  <a:pt x="557" y="218"/>
                </a:lnTo>
                <a:lnTo>
                  <a:pt x="548" y="212"/>
                </a:lnTo>
                <a:lnTo>
                  <a:pt x="540" y="207"/>
                </a:lnTo>
                <a:lnTo>
                  <a:pt x="531" y="202"/>
                </a:lnTo>
                <a:lnTo>
                  <a:pt x="512" y="188"/>
                </a:lnTo>
                <a:lnTo>
                  <a:pt x="492" y="169"/>
                </a:lnTo>
                <a:lnTo>
                  <a:pt x="490" y="143"/>
                </a:lnTo>
                <a:lnTo>
                  <a:pt x="486" y="117"/>
                </a:lnTo>
                <a:lnTo>
                  <a:pt x="484" y="106"/>
                </a:lnTo>
                <a:lnTo>
                  <a:pt x="480" y="94"/>
                </a:lnTo>
                <a:lnTo>
                  <a:pt x="475" y="82"/>
                </a:lnTo>
                <a:lnTo>
                  <a:pt x="469" y="71"/>
                </a:lnTo>
                <a:lnTo>
                  <a:pt x="450" y="71"/>
                </a:lnTo>
                <a:lnTo>
                  <a:pt x="432" y="71"/>
                </a:lnTo>
                <a:lnTo>
                  <a:pt x="421" y="88"/>
                </a:lnTo>
                <a:lnTo>
                  <a:pt x="415" y="104"/>
                </a:lnTo>
                <a:lnTo>
                  <a:pt x="412" y="112"/>
                </a:lnTo>
                <a:lnTo>
                  <a:pt x="411" y="120"/>
                </a:lnTo>
                <a:lnTo>
                  <a:pt x="410" y="127"/>
                </a:lnTo>
                <a:lnTo>
                  <a:pt x="410" y="134"/>
                </a:lnTo>
                <a:lnTo>
                  <a:pt x="411" y="149"/>
                </a:lnTo>
                <a:lnTo>
                  <a:pt x="415" y="162"/>
                </a:lnTo>
                <a:lnTo>
                  <a:pt x="420" y="175"/>
                </a:lnTo>
                <a:lnTo>
                  <a:pt x="428" y="188"/>
                </a:lnTo>
                <a:lnTo>
                  <a:pt x="437" y="199"/>
                </a:lnTo>
                <a:lnTo>
                  <a:pt x="447" y="211"/>
                </a:lnTo>
                <a:lnTo>
                  <a:pt x="459" y="223"/>
                </a:lnTo>
                <a:lnTo>
                  <a:pt x="472" y="233"/>
                </a:lnTo>
                <a:lnTo>
                  <a:pt x="499" y="254"/>
                </a:lnTo>
                <a:lnTo>
                  <a:pt x="527" y="275"/>
                </a:lnTo>
                <a:lnTo>
                  <a:pt x="548" y="277"/>
                </a:lnTo>
                <a:lnTo>
                  <a:pt x="568" y="281"/>
                </a:lnTo>
                <a:lnTo>
                  <a:pt x="589" y="284"/>
                </a:lnTo>
                <a:lnTo>
                  <a:pt x="611" y="288"/>
                </a:lnTo>
                <a:lnTo>
                  <a:pt x="610" y="306"/>
                </a:lnTo>
                <a:lnTo>
                  <a:pt x="610" y="323"/>
                </a:lnTo>
                <a:lnTo>
                  <a:pt x="593" y="330"/>
                </a:lnTo>
                <a:lnTo>
                  <a:pt x="583" y="335"/>
                </a:lnTo>
                <a:lnTo>
                  <a:pt x="575" y="340"/>
                </a:lnTo>
                <a:lnTo>
                  <a:pt x="567" y="348"/>
                </a:lnTo>
                <a:lnTo>
                  <a:pt x="548" y="350"/>
                </a:lnTo>
                <a:lnTo>
                  <a:pt x="529" y="353"/>
                </a:lnTo>
                <a:lnTo>
                  <a:pt x="512" y="358"/>
                </a:lnTo>
                <a:lnTo>
                  <a:pt x="497" y="363"/>
                </a:lnTo>
                <a:lnTo>
                  <a:pt x="466" y="376"/>
                </a:lnTo>
                <a:lnTo>
                  <a:pt x="437" y="391"/>
                </a:lnTo>
                <a:lnTo>
                  <a:pt x="408" y="406"/>
                </a:lnTo>
                <a:lnTo>
                  <a:pt x="378" y="419"/>
                </a:lnTo>
                <a:lnTo>
                  <a:pt x="363" y="426"/>
                </a:lnTo>
                <a:lnTo>
                  <a:pt x="347" y="430"/>
                </a:lnTo>
                <a:lnTo>
                  <a:pt x="330" y="434"/>
                </a:lnTo>
                <a:lnTo>
                  <a:pt x="313" y="436"/>
                </a:lnTo>
                <a:lnTo>
                  <a:pt x="307" y="465"/>
                </a:lnTo>
                <a:lnTo>
                  <a:pt x="302" y="495"/>
                </a:lnTo>
                <a:lnTo>
                  <a:pt x="296" y="523"/>
                </a:lnTo>
                <a:lnTo>
                  <a:pt x="290" y="553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15" name="Freeform 80"/>
          <p:cNvSpPr>
            <a:spLocks/>
          </p:cNvSpPr>
          <p:nvPr/>
        </p:nvSpPr>
        <p:spPr bwMode="auto">
          <a:xfrm>
            <a:off x="6438900" y="1676400"/>
            <a:ext cx="20638" cy="53975"/>
          </a:xfrm>
          <a:custGeom>
            <a:avLst/>
            <a:gdLst>
              <a:gd name="T0" fmla="*/ 2147483647 w 52"/>
              <a:gd name="T1" fmla="*/ 2147483647 h 135"/>
              <a:gd name="T2" fmla="*/ 2147483647 w 52"/>
              <a:gd name="T3" fmla="*/ 2147483647 h 135"/>
              <a:gd name="T4" fmla="*/ 2147483647 w 52"/>
              <a:gd name="T5" fmla="*/ 2147483647 h 135"/>
              <a:gd name="T6" fmla="*/ 2147483647 w 52"/>
              <a:gd name="T7" fmla="*/ 2147483647 h 135"/>
              <a:gd name="T8" fmla="*/ 2147483647 w 52"/>
              <a:gd name="T9" fmla="*/ 2147483647 h 135"/>
              <a:gd name="T10" fmla="*/ 2147483647 w 52"/>
              <a:gd name="T11" fmla="*/ 2147483647 h 135"/>
              <a:gd name="T12" fmla="*/ 2147483647 w 52"/>
              <a:gd name="T13" fmla="*/ 2147483647 h 135"/>
              <a:gd name="T14" fmla="*/ 2147483647 w 52"/>
              <a:gd name="T15" fmla="*/ 2147483647 h 135"/>
              <a:gd name="T16" fmla="*/ 2147483647 w 52"/>
              <a:gd name="T17" fmla="*/ 2147483647 h 135"/>
              <a:gd name="T18" fmla="*/ 0 w 52"/>
              <a:gd name="T19" fmla="*/ 2147483647 h 135"/>
              <a:gd name="T20" fmla="*/ 0 w 52"/>
              <a:gd name="T21" fmla="*/ 0 h 135"/>
              <a:gd name="T22" fmla="*/ 2147483647 w 52"/>
              <a:gd name="T23" fmla="*/ 2147483647 h 135"/>
              <a:gd name="T24" fmla="*/ 2147483647 w 52"/>
              <a:gd name="T25" fmla="*/ 2147483647 h 135"/>
              <a:gd name="T26" fmla="*/ 2147483647 w 52"/>
              <a:gd name="T27" fmla="*/ 2147483647 h 135"/>
              <a:gd name="T28" fmla="*/ 2147483647 w 52"/>
              <a:gd name="T29" fmla="*/ 2147483647 h 135"/>
              <a:gd name="T30" fmla="*/ 2147483647 w 52"/>
              <a:gd name="T31" fmla="*/ 2147483647 h 135"/>
              <a:gd name="T32" fmla="*/ 2147483647 w 52"/>
              <a:gd name="T33" fmla="*/ 2147483647 h 135"/>
              <a:gd name="T34" fmla="*/ 2147483647 w 52"/>
              <a:gd name="T35" fmla="*/ 2147483647 h 135"/>
              <a:gd name="T36" fmla="*/ 2147483647 w 52"/>
              <a:gd name="T37" fmla="*/ 2147483647 h 135"/>
              <a:gd name="T38" fmla="*/ 2147483647 w 52"/>
              <a:gd name="T39" fmla="*/ 2147483647 h 135"/>
              <a:gd name="T40" fmla="*/ 2147483647 w 52"/>
              <a:gd name="T41" fmla="*/ 2147483647 h 135"/>
              <a:gd name="T42" fmla="*/ 2147483647 w 52"/>
              <a:gd name="T43" fmla="*/ 2147483647 h 135"/>
              <a:gd name="T44" fmla="*/ 2147483647 w 52"/>
              <a:gd name="T45" fmla="*/ 2147483647 h 135"/>
              <a:gd name="T46" fmla="*/ 2147483647 w 52"/>
              <a:gd name="T47" fmla="*/ 2147483647 h 135"/>
              <a:gd name="T48" fmla="*/ 2147483647 w 52"/>
              <a:gd name="T49" fmla="*/ 2147483647 h 135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52"/>
              <a:gd name="T76" fmla="*/ 0 h 135"/>
              <a:gd name="T77" fmla="*/ 52 w 52"/>
              <a:gd name="T78" fmla="*/ 135 h 135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52" h="135">
                <a:moveTo>
                  <a:pt x="33" y="135"/>
                </a:moveTo>
                <a:lnTo>
                  <a:pt x="28" y="129"/>
                </a:lnTo>
                <a:lnTo>
                  <a:pt x="22" y="121"/>
                </a:lnTo>
                <a:lnTo>
                  <a:pt x="19" y="114"/>
                </a:lnTo>
                <a:lnTo>
                  <a:pt x="15" y="106"/>
                </a:lnTo>
                <a:lnTo>
                  <a:pt x="8" y="90"/>
                </a:lnTo>
                <a:lnTo>
                  <a:pt x="4" y="71"/>
                </a:lnTo>
                <a:lnTo>
                  <a:pt x="3" y="53"/>
                </a:lnTo>
                <a:lnTo>
                  <a:pt x="2" y="35"/>
                </a:lnTo>
                <a:lnTo>
                  <a:pt x="0" y="17"/>
                </a:lnTo>
                <a:lnTo>
                  <a:pt x="0" y="0"/>
                </a:lnTo>
                <a:lnTo>
                  <a:pt x="12" y="4"/>
                </a:lnTo>
                <a:lnTo>
                  <a:pt x="21" y="8"/>
                </a:lnTo>
                <a:lnTo>
                  <a:pt x="29" y="14"/>
                </a:lnTo>
                <a:lnTo>
                  <a:pt x="35" y="21"/>
                </a:lnTo>
                <a:lnTo>
                  <a:pt x="41" y="27"/>
                </a:lnTo>
                <a:lnTo>
                  <a:pt x="45" y="35"/>
                </a:lnTo>
                <a:lnTo>
                  <a:pt x="47" y="44"/>
                </a:lnTo>
                <a:lnTo>
                  <a:pt x="50" y="53"/>
                </a:lnTo>
                <a:lnTo>
                  <a:pt x="52" y="73"/>
                </a:lnTo>
                <a:lnTo>
                  <a:pt x="52" y="93"/>
                </a:lnTo>
                <a:lnTo>
                  <a:pt x="52" y="114"/>
                </a:lnTo>
                <a:lnTo>
                  <a:pt x="52" y="135"/>
                </a:lnTo>
                <a:lnTo>
                  <a:pt x="42" y="135"/>
                </a:lnTo>
                <a:lnTo>
                  <a:pt x="33" y="135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16" name="Freeform 81"/>
          <p:cNvSpPr>
            <a:spLocks/>
          </p:cNvSpPr>
          <p:nvPr/>
        </p:nvSpPr>
        <p:spPr bwMode="auto">
          <a:xfrm>
            <a:off x="7837488" y="1663700"/>
            <a:ext cx="63500" cy="38100"/>
          </a:xfrm>
          <a:custGeom>
            <a:avLst/>
            <a:gdLst>
              <a:gd name="T0" fmla="*/ 0 w 161"/>
              <a:gd name="T1" fmla="*/ 2147483647 h 97"/>
              <a:gd name="T2" fmla="*/ 2147483647 w 161"/>
              <a:gd name="T3" fmla="*/ 2147483647 h 97"/>
              <a:gd name="T4" fmla="*/ 2147483647 w 161"/>
              <a:gd name="T5" fmla="*/ 2147483647 h 97"/>
              <a:gd name="T6" fmla="*/ 2147483647 w 161"/>
              <a:gd name="T7" fmla="*/ 2147483647 h 97"/>
              <a:gd name="T8" fmla="*/ 2147483647 w 161"/>
              <a:gd name="T9" fmla="*/ 2147483647 h 97"/>
              <a:gd name="T10" fmla="*/ 2147483647 w 161"/>
              <a:gd name="T11" fmla="*/ 2147483647 h 97"/>
              <a:gd name="T12" fmla="*/ 2147483647 w 161"/>
              <a:gd name="T13" fmla="*/ 2147483647 h 97"/>
              <a:gd name="T14" fmla="*/ 2147483647 w 161"/>
              <a:gd name="T15" fmla="*/ 2147483647 h 97"/>
              <a:gd name="T16" fmla="*/ 2147483647 w 161"/>
              <a:gd name="T17" fmla="*/ 2147483647 h 97"/>
              <a:gd name="T18" fmla="*/ 2147483647 w 161"/>
              <a:gd name="T19" fmla="*/ 2147483647 h 97"/>
              <a:gd name="T20" fmla="*/ 2147483647 w 161"/>
              <a:gd name="T21" fmla="*/ 2147483647 h 97"/>
              <a:gd name="T22" fmla="*/ 2147483647 w 161"/>
              <a:gd name="T23" fmla="*/ 2147483647 h 97"/>
              <a:gd name="T24" fmla="*/ 2147483647 w 161"/>
              <a:gd name="T25" fmla="*/ 2147483647 h 97"/>
              <a:gd name="T26" fmla="*/ 2147483647 w 161"/>
              <a:gd name="T27" fmla="*/ 2147483647 h 97"/>
              <a:gd name="T28" fmla="*/ 2147483647 w 161"/>
              <a:gd name="T29" fmla="*/ 0 h 97"/>
              <a:gd name="T30" fmla="*/ 2147483647 w 161"/>
              <a:gd name="T31" fmla="*/ 2147483647 h 97"/>
              <a:gd name="T32" fmla="*/ 2147483647 w 161"/>
              <a:gd name="T33" fmla="*/ 2147483647 h 97"/>
              <a:gd name="T34" fmla="*/ 2147483647 w 161"/>
              <a:gd name="T35" fmla="*/ 2147483647 h 97"/>
              <a:gd name="T36" fmla="*/ 2147483647 w 161"/>
              <a:gd name="T37" fmla="*/ 2147483647 h 97"/>
              <a:gd name="T38" fmla="*/ 2147483647 w 161"/>
              <a:gd name="T39" fmla="*/ 2147483647 h 97"/>
              <a:gd name="T40" fmla="*/ 2147483647 w 161"/>
              <a:gd name="T41" fmla="*/ 2147483647 h 97"/>
              <a:gd name="T42" fmla="*/ 2147483647 w 161"/>
              <a:gd name="T43" fmla="*/ 2147483647 h 97"/>
              <a:gd name="T44" fmla="*/ 2147483647 w 161"/>
              <a:gd name="T45" fmla="*/ 2147483647 h 97"/>
              <a:gd name="T46" fmla="*/ 2147483647 w 161"/>
              <a:gd name="T47" fmla="*/ 2147483647 h 97"/>
              <a:gd name="T48" fmla="*/ 2147483647 w 161"/>
              <a:gd name="T49" fmla="*/ 2147483647 h 97"/>
              <a:gd name="T50" fmla="*/ 2147483647 w 161"/>
              <a:gd name="T51" fmla="*/ 2147483647 h 97"/>
              <a:gd name="T52" fmla="*/ 2147483647 w 161"/>
              <a:gd name="T53" fmla="*/ 2147483647 h 97"/>
              <a:gd name="T54" fmla="*/ 2147483647 w 161"/>
              <a:gd name="T55" fmla="*/ 2147483647 h 97"/>
              <a:gd name="T56" fmla="*/ 0 w 161"/>
              <a:gd name="T57" fmla="*/ 2147483647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61"/>
              <a:gd name="T88" fmla="*/ 0 h 97"/>
              <a:gd name="T89" fmla="*/ 161 w 161"/>
              <a:gd name="T90" fmla="*/ 97 h 97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61" h="97">
                <a:moveTo>
                  <a:pt x="0" y="97"/>
                </a:moveTo>
                <a:lnTo>
                  <a:pt x="1" y="81"/>
                </a:lnTo>
                <a:lnTo>
                  <a:pt x="4" y="68"/>
                </a:lnTo>
                <a:lnTo>
                  <a:pt x="7" y="56"/>
                </a:lnTo>
                <a:lnTo>
                  <a:pt x="12" y="46"/>
                </a:lnTo>
                <a:lnTo>
                  <a:pt x="18" y="37"/>
                </a:lnTo>
                <a:lnTo>
                  <a:pt x="26" y="30"/>
                </a:lnTo>
                <a:lnTo>
                  <a:pt x="34" y="24"/>
                </a:lnTo>
                <a:lnTo>
                  <a:pt x="44" y="18"/>
                </a:lnTo>
                <a:lnTo>
                  <a:pt x="55" y="13"/>
                </a:lnTo>
                <a:lnTo>
                  <a:pt x="66" y="9"/>
                </a:lnTo>
                <a:lnTo>
                  <a:pt x="78" y="7"/>
                </a:lnTo>
                <a:lnTo>
                  <a:pt x="91" y="5"/>
                </a:lnTo>
                <a:lnTo>
                  <a:pt x="118" y="2"/>
                </a:lnTo>
                <a:lnTo>
                  <a:pt x="148" y="0"/>
                </a:lnTo>
                <a:lnTo>
                  <a:pt x="155" y="25"/>
                </a:lnTo>
                <a:lnTo>
                  <a:pt x="160" y="51"/>
                </a:lnTo>
                <a:lnTo>
                  <a:pt x="161" y="57"/>
                </a:lnTo>
                <a:lnTo>
                  <a:pt x="160" y="63"/>
                </a:lnTo>
                <a:lnTo>
                  <a:pt x="160" y="69"/>
                </a:lnTo>
                <a:lnTo>
                  <a:pt x="159" y="74"/>
                </a:lnTo>
                <a:lnTo>
                  <a:pt x="155" y="80"/>
                </a:lnTo>
                <a:lnTo>
                  <a:pt x="152" y="85"/>
                </a:lnTo>
                <a:lnTo>
                  <a:pt x="147" y="89"/>
                </a:lnTo>
                <a:lnTo>
                  <a:pt x="141" y="93"/>
                </a:lnTo>
                <a:lnTo>
                  <a:pt x="105" y="93"/>
                </a:lnTo>
                <a:lnTo>
                  <a:pt x="70" y="94"/>
                </a:lnTo>
                <a:lnTo>
                  <a:pt x="35" y="95"/>
                </a:lnTo>
                <a:lnTo>
                  <a:pt x="0" y="97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17" name="Freeform 82"/>
          <p:cNvSpPr>
            <a:spLocks/>
          </p:cNvSpPr>
          <p:nvPr/>
        </p:nvSpPr>
        <p:spPr bwMode="auto">
          <a:xfrm>
            <a:off x="6794500" y="1541463"/>
            <a:ext cx="168275" cy="80962"/>
          </a:xfrm>
          <a:custGeom>
            <a:avLst/>
            <a:gdLst>
              <a:gd name="T0" fmla="*/ 2147483647 w 423"/>
              <a:gd name="T1" fmla="*/ 2147483647 h 203"/>
              <a:gd name="T2" fmla="*/ 2147483647 w 423"/>
              <a:gd name="T3" fmla="*/ 2147483647 h 203"/>
              <a:gd name="T4" fmla="*/ 2147483647 w 423"/>
              <a:gd name="T5" fmla="*/ 2147483647 h 203"/>
              <a:gd name="T6" fmla="*/ 2147483647 w 423"/>
              <a:gd name="T7" fmla="*/ 2147483647 h 203"/>
              <a:gd name="T8" fmla="*/ 2147483647 w 423"/>
              <a:gd name="T9" fmla="*/ 2147483647 h 203"/>
              <a:gd name="T10" fmla="*/ 2147483647 w 423"/>
              <a:gd name="T11" fmla="*/ 2147483647 h 203"/>
              <a:gd name="T12" fmla="*/ 2147483647 w 423"/>
              <a:gd name="T13" fmla="*/ 2147483647 h 203"/>
              <a:gd name="T14" fmla="*/ 2147483647 w 423"/>
              <a:gd name="T15" fmla="*/ 2147483647 h 203"/>
              <a:gd name="T16" fmla="*/ 2147483647 w 423"/>
              <a:gd name="T17" fmla="*/ 2147483647 h 203"/>
              <a:gd name="T18" fmla="*/ 2147483647 w 423"/>
              <a:gd name="T19" fmla="*/ 2147483647 h 203"/>
              <a:gd name="T20" fmla="*/ 2147483647 w 423"/>
              <a:gd name="T21" fmla="*/ 2147483647 h 203"/>
              <a:gd name="T22" fmla="*/ 2147483647 w 423"/>
              <a:gd name="T23" fmla="*/ 2147483647 h 203"/>
              <a:gd name="T24" fmla="*/ 2147483647 w 423"/>
              <a:gd name="T25" fmla="*/ 2147483647 h 203"/>
              <a:gd name="T26" fmla="*/ 2147483647 w 423"/>
              <a:gd name="T27" fmla="*/ 2147483647 h 203"/>
              <a:gd name="T28" fmla="*/ 2147483647 w 423"/>
              <a:gd name="T29" fmla="*/ 2147483647 h 203"/>
              <a:gd name="T30" fmla="*/ 2147483647 w 423"/>
              <a:gd name="T31" fmla="*/ 2147483647 h 203"/>
              <a:gd name="T32" fmla="*/ 2147483647 w 423"/>
              <a:gd name="T33" fmla="*/ 2147483647 h 203"/>
              <a:gd name="T34" fmla="*/ 2147483647 w 423"/>
              <a:gd name="T35" fmla="*/ 2147483647 h 203"/>
              <a:gd name="T36" fmla="*/ 2147483647 w 423"/>
              <a:gd name="T37" fmla="*/ 2147483647 h 203"/>
              <a:gd name="T38" fmla="*/ 2147483647 w 423"/>
              <a:gd name="T39" fmla="*/ 2147483647 h 203"/>
              <a:gd name="T40" fmla="*/ 2147483647 w 423"/>
              <a:gd name="T41" fmla="*/ 2147483647 h 203"/>
              <a:gd name="T42" fmla="*/ 2147483647 w 423"/>
              <a:gd name="T43" fmla="*/ 2147483647 h 203"/>
              <a:gd name="T44" fmla="*/ 2147483647 w 423"/>
              <a:gd name="T45" fmla="*/ 2147483647 h 203"/>
              <a:gd name="T46" fmla="*/ 2147483647 w 423"/>
              <a:gd name="T47" fmla="*/ 2147483647 h 203"/>
              <a:gd name="T48" fmla="*/ 2147483647 w 423"/>
              <a:gd name="T49" fmla="*/ 2147483647 h 203"/>
              <a:gd name="T50" fmla="*/ 2147483647 w 423"/>
              <a:gd name="T51" fmla="*/ 2147483647 h 203"/>
              <a:gd name="T52" fmla="*/ 2147483647 w 423"/>
              <a:gd name="T53" fmla="*/ 2147483647 h 203"/>
              <a:gd name="T54" fmla="*/ 2147483647 w 423"/>
              <a:gd name="T55" fmla="*/ 0 h 203"/>
              <a:gd name="T56" fmla="*/ 2147483647 w 423"/>
              <a:gd name="T57" fmla="*/ 2147483647 h 203"/>
              <a:gd name="T58" fmla="*/ 2147483647 w 423"/>
              <a:gd name="T59" fmla="*/ 2147483647 h 203"/>
              <a:gd name="T60" fmla="*/ 2147483647 w 423"/>
              <a:gd name="T61" fmla="*/ 2147483647 h 203"/>
              <a:gd name="T62" fmla="*/ 2147483647 w 423"/>
              <a:gd name="T63" fmla="*/ 2147483647 h 203"/>
              <a:gd name="T64" fmla="*/ 2147483647 w 423"/>
              <a:gd name="T65" fmla="*/ 2147483647 h 203"/>
              <a:gd name="T66" fmla="*/ 2147483647 w 423"/>
              <a:gd name="T67" fmla="*/ 2147483647 h 203"/>
              <a:gd name="T68" fmla="*/ 2147483647 w 423"/>
              <a:gd name="T69" fmla="*/ 2147483647 h 203"/>
              <a:gd name="T70" fmla="*/ 2147483647 w 423"/>
              <a:gd name="T71" fmla="*/ 2147483647 h 203"/>
              <a:gd name="T72" fmla="*/ 2147483647 w 423"/>
              <a:gd name="T73" fmla="*/ 2147483647 h 203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423"/>
              <a:gd name="T112" fmla="*/ 0 h 203"/>
              <a:gd name="T113" fmla="*/ 423 w 423"/>
              <a:gd name="T114" fmla="*/ 203 h 203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423" h="203">
                <a:moveTo>
                  <a:pt x="250" y="203"/>
                </a:moveTo>
                <a:lnTo>
                  <a:pt x="238" y="194"/>
                </a:lnTo>
                <a:lnTo>
                  <a:pt x="227" y="188"/>
                </a:lnTo>
                <a:lnTo>
                  <a:pt x="216" y="185"/>
                </a:lnTo>
                <a:lnTo>
                  <a:pt x="205" y="183"/>
                </a:lnTo>
                <a:lnTo>
                  <a:pt x="192" y="182"/>
                </a:lnTo>
                <a:lnTo>
                  <a:pt x="180" y="182"/>
                </a:lnTo>
                <a:lnTo>
                  <a:pt x="167" y="183"/>
                </a:lnTo>
                <a:lnTo>
                  <a:pt x="154" y="185"/>
                </a:lnTo>
                <a:lnTo>
                  <a:pt x="113" y="173"/>
                </a:lnTo>
                <a:lnTo>
                  <a:pt x="82" y="162"/>
                </a:lnTo>
                <a:lnTo>
                  <a:pt x="68" y="159"/>
                </a:lnTo>
                <a:lnTo>
                  <a:pt x="56" y="153"/>
                </a:lnTo>
                <a:lnTo>
                  <a:pt x="46" y="148"/>
                </a:lnTo>
                <a:lnTo>
                  <a:pt x="37" y="143"/>
                </a:lnTo>
                <a:lnTo>
                  <a:pt x="29" y="135"/>
                </a:lnTo>
                <a:lnTo>
                  <a:pt x="22" y="127"/>
                </a:lnTo>
                <a:lnTo>
                  <a:pt x="17" y="118"/>
                </a:lnTo>
                <a:lnTo>
                  <a:pt x="12" y="108"/>
                </a:lnTo>
                <a:lnTo>
                  <a:pt x="8" y="95"/>
                </a:lnTo>
                <a:lnTo>
                  <a:pt x="5" y="79"/>
                </a:lnTo>
                <a:lnTo>
                  <a:pt x="2" y="61"/>
                </a:lnTo>
                <a:lnTo>
                  <a:pt x="0" y="40"/>
                </a:lnTo>
                <a:lnTo>
                  <a:pt x="12" y="45"/>
                </a:lnTo>
                <a:lnTo>
                  <a:pt x="22" y="52"/>
                </a:lnTo>
                <a:lnTo>
                  <a:pt x="32" y="60"/>
                </a:lnTo>
                <a:lnTo>
                  <a:pt x="38" y="66"/>
                </a:lnTo>
                <a:lnTo>
                  <a:pt x="47" y="73"/>
                </a:lnTo>
                <a:lnTo>
                  <a:pt x="56" y="77"/>
                </a:lnTo>
                <a:lnTo>
                  <a:pt x="63" y="79"/>
                </a:lnTo>
                <a:lnTo>
                  <a:pt x="69" y="79"/>
                </a:lnTo>
                <a:lnTo>
                  <a:pt x="76" y="79"/>
                </a:lnTo>
                <a:lnTo>
                  <a:pt x="85" y="79"/>
                </a:lnTo>
                <a:lnTo>
                  <a:pt x="89" y="69"/>
                </a:lnTo>
                <a:lnTo>
                  <a:pt x="94" y="58"/>
                </a:lnTo>
                <a:lnTo>
                  <a:pt x="100" y="49"/>
                </a:lnTo>
                <a:lnTo>
                  <a:pt x="106" y="39"/>
                </a:lnTo>
                <a:lnTo>
                  <a:pt x="117" y="36"/>
                </a:lnTo>
                <a:lnTo>
                  <a:pt x="129" y="34"/>
                </a:lnTo>
                <a:lnTo>
                  <a:pt x="140" y="32"/>
                </a:lnTo>
                <a:lnTo>
                  <a:pt x="149" y="32"/>
                </a:lnTo>
                <a:lnTo>
                  <a:pt x="164" y="32"/>
                </a:lnTo>
                <a:lnTo>
                  <a:pt x="179" y="35"/>
                </a:lnTo>
                <a:lnTo>
                  <a:pt x="193" y="39"/>
                </a:lnTo>
                <a:lnTo>
                  <a:pt x="208" y="43"/>
                </a:lnTo>
                <a:lnTo>
                  <a:pt x="225" y="45"/>
                </a:lnTo>
                <a:lnTo>
                  <a:pt x="246" y="47"/>
                </a:lnTo>
                <a:lnTo>
                  <a:pt x="257" y="38"/>
                </a:lnTo>
                <a:lnTo>
                  <a:pt x="266" y="28"/>
                </a:lnTo>
                <a:lnTo>
                  <a:pt x="276" y="22"/>
                </a:lnTo>
                <a:lnTo>
                  <a:pt x="287" y="17"/>
                </a:lnTo>
                <a:lnTo>
                  <a:pt x="296" y="12"/>
                </a:lnTo>
                <a:lnTo>
                  <a:pt x="306" y="8"/>
                </a:lnTo>
                <a:lnTo>
                  <a:pt x="316" y="5"/>
                </a:lnTo>
                <a:lnTo>
                  <a:pt x="327" y="2"/>
                </a:lnTo>
                <a:lnTo>
                  <a:pt x="349" y="0"/>
                </a:lnTo>
                <a:lnTo>
                  <a:pt x="372" y="0"/>
                </a:lnTo>
                <a:lnTo>
                  <a:pt x="397" y="1"/>
                </a:lnTo>
                <a:lnTo>
                  <a:pt x="423" y="2"/>
                </a:lnTo>
                <a:lnTo>
                  <a:pt x="422" y="23"/>
                </a:lnTo>
                <a:lnTo>
                  <a:pt x="421" y="44"/>
                </a:lnTo>
                <a:lnTo>
                  <a:pt x="419" y="65"/>
                </a:lnTo>
                <a:lnTo>
                  <a:pt x="418" y="87"/>
                </a:lnTo>
                <a:lnTo>
                  <a:pt x="404" y="95"/>
                </a:lnTo>
                <a:lnTo>
                  <a:pt x="394" y="103"/>
                </a:lnTo>
                <a:lnTo>
                  <a:pt x="388" y="110"/>
                </a:lnTo>
                <a:lnTo>
                  <a:pt x="383" y="118"/>
                </a:lnTo>
                <a:lnTo>
                  <a:pt x="375" y="138"/>
                </a:lnTo>
                <a:lnTo>
                  <a:pt x="366" y="164"/>
                </a:lnTo>
                <a:lnTo>
                  <a:pt x="323" y="179"/>
                </a:lnTo>
                <a:lnTo>
                  <a:pt x="293" y="190"/>
                </a:lnTo>
                <a:lnTo>
                  <a:pt x="281" y="195"/>
                </a:lnTo>
                <a:lnTo>
                  <a:pt x="271" y="198"/>
                </a:lnTo>
                <a:lnTo>
                  <a:pt x="260" y="200"/>
                </a:lnTo>
                <a:lnTo>
                  <a:pt x="250" y="203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18" name="Freeform 83"/>
          <p:cNvSpPr>
            <a:spLocks/>
          </p:cNvSpPr>
          <p:nvPr/>
        </p:nvSpPr>
        <p:spPr bwMode="auto">
          <a:xfrm>
            <a:off x="5221288" y="1335088"/>
            <a:ext cx="177800" cy="211137"/>
          </a:xfrm>
          <a:custGeom>
            <a:avLst/>
            <a:gdLst>
              <a:gd name="T0" fmla="*/ 2147483647 w 445"/>
              <a:gd name="T1" fmla="*/ 2147483647 h 531"/>
              <a:gd name="T2" fmla="*/ 2147483647 w 445"/>
              <a:gd name="T3" fmla="*/ 2147483647 h 531"/>
              <a:gd name="T4" fmla="*/ 0 w 445"/>
              <a:gd name="T5" fmla="*/ 2147483647 h 531"/>
              <a:gd name="T6" fmla="*/ 2147483647 w 445"/>
              <a:gd name="T7" fmla="*/ 2147483647 h 531"/>
              <a:gd name="T8" fmla="*/ 2147483647 w 445"/>
              <a:gd name="T9" fmla="*/ 2147483647 h 531"/>
              <a:gd name="T10" fmla="*/ 2147483647 w 445"/>
              <a:gd name="T11" fmla="*/ 2147483647 h 531"/>
              <a:gd name="T12" fmla="*/ 2147483647 w 445"/>
              <a:gd name="T13" fmla="*/ 2147483647 h 531"/>
              <a:gd name="T14" fmla="*/ 2147483647 w 445"/>
              <a:gd name="T15" fmla="*/ 2147483647 h 531"/>
              <a:gd name="T16" fmla="*/ 2147483647 w 445"/>
              <a:gd name="T17" fmla="*/ 2147483647 h 531"/>
              <a:gd name="T18" fmla="*/ 2147483647 w 445"/>
              <a:gd name="T19" fmla="*/ 2147483647 h 531"/>
              <a:gd name="T20" fmla="*/ 2147483647 w 445"/>
              <a:gd name="T21" fmla="*/ 2147483647 h 531"/>
              <a:gd name="T22" fmla="*/ 2147483647 w 445"/>
              <a:gd name="T23" fmla="*/ 2147483647 h 531"/>
              <a:gd name="T24" fmla="*/ 2147483647 w 445"/>
              <a:gd name="T25" fmla="*/ 2147483647 h 531"/>
              <a:gd name="T26" fmla="*/ 2147483647 w 445"/>
              <a:gd name="T27" fmla="*/ 2147483647 h 531"/>
              <a:gd name="T28" fmla="*/ 2147483647 w 445"/>
              <a:gd name="T29" fmla="*/ 2147483647 h 531"/>
              <a:gd name="T30" fmla="*/ 2147483647 w 445"/>
              <a:gd name="T31" fmla="*/ 2147483647 h 531"/>
              <a:gd name="T32" fmla="*/ 2147483647 w 445"/>
              <a:gd name="T33" fmla="*/ 2147483647 h 531"/>
              <a:gd name="T34" fmla="*/ 2147483647 w 445"/>
              <a:gd name="T35" fmla="*/ 2147483647 h 531"/>
              <a:gd name="T36" fmla="*/ 2147483647 w 445"/>
              <a:gd name="T37" fmla="*/ 0 h 531"/>
              <a:gd name="T38" fmla="*/ 2147483647 w 445"/>
              <a:gd name="T39" fmla="*/ 2147483647 h 531"/>
              <a:gd name="T40" fmla="*/ 2147483647 w 445"/>
              <a:gd name="T41" fmla="*/ 2147483647 h 531"/>
              <a:gd name="T42" fmla="*/ 2147483647 w 445"/>
              <a:gd name="T43" fmla="*/ 2147483647 h 531"/>
              <a:gd name="T44" fmla="*/ 2147483647 w 445"/>
              <a:gd name="T45" fmla="*/ 2147483647 h 531"/>
              <a:gd name="T46" fmla="*/ 2147483647 w 445"/>
              <a:gd name="T47" fmla="*/ 2147483647 h 531"/>
              <a:gd name="T48" fmla="*/ 2147483647 w 445"/>
              <a:gd name="T49" fmla="*/ 2147483647 h 531"/>
              <a:gd name="T50" fmla="*/ 2147483647 w 445"/>
              <a:gd name="T51" fmla="*/ 2147483647 h 531"/>
              <a:gd name="T52" fmla="*/ 2147483647 w 445"/>
              <a:gd name="T53" fmla="*/ 2147483647 h 531"/>
              <a:gd name="T54" fmla="*/ 2147483647 w 445"/>
              <a:gd name="T55" fmla="*/ 2147483647 h 531"/>
              <a:gd name="T56" fmla="*/ 2147483647 w 445"/>
              <a:gd name="T57" fmla="*/ 2147483647 h 531"/>
              <a:gd name="T58" fmla="*/ 2147483647 w 445"/>
              <a:gd name="T59" fmla="*/ 2147483647 h 531"/>
              <a:gd name="T60" fmla="*/ 2147483647 w 445"/>
              <a:gd name="T61" fmla="*/ 2147483647 h 531"/>
              <a:gd name="T62" fmla="*/ 2147483647 w 445"/>
              <a:gd name="T63" fmla="*/ 2147483647 h 531"/>
              <a:gd name="T64" fmla="*/ 2147483647 w 445"/>
              <a:gd name="T65" fmla="*/ 2147483647 h 531"/>
              <a:gd name="T66" fmla="*/ 2147483647 w 445"/>
              <a:gd name="T67" fmla="*/ 2147483647 h 531"/>
              <a:gd name="T68" fmla="*/ 2147483647 w 445"/>
              <a:gd name="T69" fmla="*/ 2147483647 h 531"/>
              <a:gd name="T70" fmla="*/ 2147483647 w 445"/>
              <a:gd name="T71" fmla="*/ 2147483647 h 531"/>
              <a:gd name="T72" fmla="*/ 2147483647 w 445"/>
              <a:gd name="T73" fmla="*/ 2147483647 h 531"/>
              <a:gd name="T74" fmla="*/ 2147483647 w 445"/>
              <a:gd name="T75" fmla="*/ 2147483647 h 531"/>
              <a:gd name="T76" fmla="*/ 2147483647 w 445"/>
              <a:gd name="T77" fmla="*/ 2147483647 h 531"/>
              <a:gd name="T78" fmla="*/ 2147483647 w 445"/>
              <a:gd name="T79" fmla="*/ 2147483647 h 531"/>
              <a:gd name="T80" fmla="*/ 2147483647 w 445"/>
              <a:gd name="T81" fmla="*/ 2147483647 h 531"/>
              <a:gd name="T82" fmla="*/ 2147483647 w 445"/>
              <a:gd name="T83" fmla="*/ 2147483647 h 531"/>
              <a:gd name="T84" fmla="*/ 2147483647 w 445"/>
              <a:gd name="T85" fmla="*/ 2147483647 h 531"/>
              <a:gd name="T86" fmla="*/ 2147483647 w 445"/>
              <a:gd name="T87" fmla="*/ 2147483647 h 531"/>
              <a:gd name="T88" fmla="*/ 2147483647 w 445"/>
              <a:gd name="T89" fmla="*/ 2147483647 h 531"/>
              <a:gd name="T90" fmla="*/ 2147483647 w 445"/>
              <a:gd name="T91" fmla="*/ 2147483647 h 531"/>
              <a:gd name="T92" fmla="*/ 2147483647 w 445"/>
              <a:gd name="T93" fmla="*/ 2147483647 h 531"/>
              <a:gd name="T94" fmla="*/ 2147483647 w 445"/>
              <a:gd name="T95" fmla="*/ 2147483647 h 531"/>
              <a:gd name="T96" fmla="*/ 2147483647 w 445"/>
              <a:gd name="T97" fmla="*/ 2147483647 h 531"/>
              <a:gd name="T98" fmla="*/ 2147483647 w 445"/>
              <a:gd name="T99" fmla="*/ 2147483647 h 531"/>
              <a:gd name="T100" fmla="*/ 2147483647 w 445"/>
              <a:gd name="T101" fmla="*/ 2147483647 h 531"/>
              <a:gd name="T102" fmla="*/ 2147483647 w 445"/>
              <a:gd name="T103" fmla="*/ 2147483647 h 531"/>
              <a:gd name="T104" fmla="*/ 2147483647 w 445"/>
              <a:gd name="T105" fmla="*/ 2147483647 h 531"/>
              <a:gd name="T106" fmla="*/ 2147483647 w 445"/>
              <a:gd name="T107" fmla="*/ 2147483647 h 531"/>
              <a:gd name="T108" fmla="*/ 2147483647 w 445"/>
              <a:gd name="T109" fmla="*/ 2147483647 h 531"/>
              <a:gd name="T110" fmla="*/ 2147483647 w 445"/>
              <a:gd name="T111" fmla="*/ 2147483647 h 531"/>
              <a:gd name="T112" fmla="*/ 2147483647 w 445"/>
              <a:gd name="T113" fmla="*/ 2147483647 h 531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45"/>
              <a:gd name="T172" fmla="*/ 0 h 531"/>
              <a:gd name="T173" fmla="*/ 445 w 445"/>
              <a:gd name="T174" fmla="*/ 531 h 531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45" h="531">
                <a:moveTo>
                  <a:pt x="13" y="531"/>
                </a:moveTo>
                <a:lnTo>
                  <a:pt x="9" y="529"/>
                </a:lnTo>
                <a:lnTo>
                  <a:pt x="7" y="525"/>
                </a:lnTo>
                <a:lnTo>
                  <a:pt x="4" y="521"/>
                </a:lnTo>
                <a:lnTo>
                  <a:pt x="1" y="517"/>
                </a:lnTo>
                <a:lnTo>
                  <a:pt x="0" y="505"/>
                </a:lnTo>
                <a:lnTo>
                  <a:pt x="0" y="492"/>
                </a:lnTo>
                <a:lnTo>
                  <a:pt x="3" y="478"/>
                </a:lnTo>
                <a:lnTo>
                  <a:pt x="7" y="461"/>
                </a:lnTo>
                <a:lnTo>
                  <a:pt x="12" y="444"/>
                </a:lnTo>
                <a:lnTo>
                  <a:pt x="18" y="427"/>
                </a:lnTo>
                <a:lnTo>
                  <a:pt x="34" y="393"/>
                </a:lnTo>
                <a:lnTo>
                  <a:pt x="50" y="361"/>
                </a:lnTo>
                <a:lnTo>
                  <a:pt x="64" y="336"/>
                </a:lnTo>
                <a:lnTo>
                  <a:pt x="74" y="319"/>
                </a:lnTo>
                <a:lnTo>
                  <a:pt x="78" y="300"/>
                </a:lnTo>
                <a:lnTo>
                  <a:pt x="82" y="280"/>
                </a:lnTo>
                <a:lnTo>
                  <a:pt x="86" y="261"/>
                </a:lnTo>
                <a:lnTo>
                  <a:pt x="90" y="242"/>
                </a:lnTo>
                <a:lnTo>
                  <a:pt x="102" y="240"/>
                </a:lnTo>
                <a:lnTo>
                  <a:pt x="113" y="237"/>
                </a:lnTo>
                <a:lnTo>
                  <a:pt x="125" y="236"/>
                </a:lnTo>
                <a:lnTo>
                  <a:pt x="137" y="235"/>
                </a:lnTo>
                <a:lnTo>
                  <a:pt x="139" y="202"/>
                </a:lnTo>
                <a:lnTo>
                  <a:pt x="143" y="171"/>
                </a:lnTo>
                <a:lnTo>
                  <a:pt x="148" y="134"/>
                </a:lnTo>
                <a:lnTo>
                  <a:pt x="152" y="81"/>
                </a:lnTo>
                <a:lnTo>
                  <a:pt x="161" y="55"/>
                </a:lnTo>
                <a:lnTo>
                  <a:pt x="171" y="36"/>
                </a:lnTo>
                <a:lnTo>
                  <a:pt x="176" y="28"/>
                </a:lnTo>
                <a:lnTo>
                  <a:pt x="181" y="21"/>
                </a:lnTo>
                <a:lnTo>
                  <a:pt x="186" y="16"/>
                </a:lnTo>
                <a:lnTo>
                  <a:pt x="191" y="12"/>
                </a:lnTo>
                <a:lnTo>
                  <a:pt x="198" y="8"/>
                </a:lnTo>
                <a:lnTo>
                  <a:pt x="204" y="6"/>
                </a:lnTo>
                <a:lnTo>
                  <a:pt x="212" y="3"/>
                </a:lnTo>
                <a:lnTo>
                  <a:pt x="220" y="2"/>
                </a:lnTo>
                <a:lnTo>
                  <a:pt x="240" y="0"/>
                </a:lnTo>
                <a:lnTo>
                  <a:pt x="263" y="0"/>
                </a:lnTo>
                <a:lnTo>
                  <a:pt x="268" y="8"/>
                </a:lnTo>
                <a:lnTo>
                  <a:pt x="271" y="17"/>
                </a:lnTo>
                <a:lnTo>
                  <a:pt x="272" y="28"/>
                </a:lnTo>
                <a:lnTo>
                  <a:pt x="271" y="39"/>
                </a:lnTo>
                <a:lnTo>
                  <a:pt x="267" y="66"/>
                </a:lnTo>
                <a:lnTo>
                  <a:pt x="259" y="94"/>
                </a:lnTo>
                <a:lnTo>
                  <a:pt x="250" y="123"/>
                </a:lnTo>
                <a:lnTo>
                  <a:pt x="242" y="153"/>
                </a:lnTo>
                <a:lnTo>
                  <a:pt x="240" y="166"/>
                </a:lnTo>
                <a:lnTo>
                  <a:pt x="237" y="180"/>
                </a:lnTo>
                <a:lnTo>
                  <a:pt x="236" y="192"/>
                </a:lnTo>
                <a:lnTo>
                  <a:pt x="237" y="203"/>
                </a:lnTo>
                <a:lnTo>
                  <a:pt x="242" y="203"/>
                </a:lnTo>
                <a:lnTo>
                  <a:pt x="247" y="202"/>
                </a:lnTo>
                <a:lnTo>
                  <a:pt x="253" y="200"/>
                </a:lnTo>
                <a:lnTo>
                  <a:pt x="256" y="197"/>
                </a:lnTo>
                <a:lnTo>
                  <a:pt x="263" y="188"/>
                </a:lnTo>
                <a:lnTo>
                  <a:pt x="268" y="177"/>
                </a:lnTo>
                <a:lnTo>
                  <a:pt x="272" y="166"/>
                </a:lnTo>
                <a:lnTo>
                  <a:pt x="275" y="154"/>
                </a:lnTo>
                <a:lnTo>
                  <a:pt x="276" y="144"/>
                </a:lnTo>
                <a:lnTo>
                  <a:pt x="277" y="133"/>
                </a:lnTo>
                <a:lnTo>
                  <a:pt x="290" y="125"/>
                </a:lnTo>
                <a:lnTo>
                  <a:pt x="302" y="119"/>
                </a:lnTo>
                <a:lnTo>
                  <a:pt x="307" y="115"/>
                </a:lnTo>
                <a:lnTo>
                  <a:pt x="312" y="110"/>
                </a:lnTo>
                <a:lnTo>
                  <a:pt x="316" y="103"/>
                </a:lnTo>
                <a:lnTo>
                  <a:pt x="321" y="97"/>
                </a:lnTo>
                <a:lnTo>
                  <a:pt x="333" y="111"/>
                </a:lnTo>
                <a:lnTo>
                  <a:pt x="342" y="124"/>
                </a:lnTo>
                <a:lnTo>
                  <a:pt x="350" y="134"/>
                </a:lnTo>
                <a:lnTo>
                  <a:pt x="355" y="145"/>
                </a:lnTo>
                <a:lnTo>
                  <a:pt x="359" y="155"/>
                </a:lnTo>
                <a:lnTo>
                  <a:pt x="362" y="168"/>
                </a:lnTo>
                <a:lnTo>
                  <a:pt x="363" y="185"/>
                </a:lnTo>
                <a:lnTo>
                  <a:pt x="366" y="206"/>
                </a:lnTo>
                <a:lnTo>
                  <a:pt x="374" y="211"/>
                </a:lnTo>
                <a:lnTo>
                  <a:pt x="384" y="215"/>
                </a:lnTo>
                <a:lnTo>
                  <a:pt x="394" y="218"/>
                </a:lnTo>
                <a:lnTo>
                  <a:pt x="405" y="222"/>
                </a:lnTo>
                <a:lnTo>
                  <a:pt x="424" y="227"/>
                </a:lnTo>
                <a:lnTo>
                  <a:pt x="439" y="233"/>
                </a:lnTo>
                <a:lnTo>
                  <a:pt x="442" y="249"/>
                </a:lnTo>
                <a:lnTo>
                  <a:pt x="444" y="265"/>
                </a:lnTo>
                <a:lnTo>
                  <a:pt x="445" y="279"/>
                </a:lnTo>
                <a:lnTo>
                  <a:pt x="445" y="293"/>
                </a:lnTo>
                <a:lnTo>
                  <a:pt x="444" y="306"/>
                </a:lnTo>
                <a:lnTo>
                  <a:pt x="441" y="318"/>
                </a:lnTo>
                <a:lnTo>
                  <a:pt x="437" y="330"/>
                </a:lnTo>
                <a:lnTo>
                  <a:pt x="432" y="340"/>
                </a:lnTo>
                <a:lnTo>
                  <a:pt x="426" y="349"/>
                </a:lnTo>
                <a:lnTo>
                  <a:pt x="419" y="358"/>
                </a:lnTo>
                <a:lnTo>
                  <a:pt x="413" y="367"/>
                </a:lnTo>
                <a:lnTo>
                  <a:pt x="403" y="375"/>
                </a:lnTo>
                <a:lnTo>
                  <a:pt x="394" y="383"/>
                </a:lnTo>
                <a:lnTo>
                  <a:pt x="385" y="389"/>
                </a:lnTo>
                <a:lnTo>
                  <a:pt x="375" y="396"/>
                </a:lnTo>
                <a:lnTo>
                  <a:pt x="363" y="401"/>
                </a:lnTo>
                <a:lnTo>
                  <a:pt x="340" y="412"/>
                </a:lnTo>
                <a:lnTo>
                  <a:pt x="315" y="419"/>
                </a:lnTo>
                <a:lnTo>
                  <a:pt x="289" y="426"/>
                </a:lnTo>
                <a:lnTo>
                  <a:pt x="262" y="431"/>
                </a:lnTo>
                <a:lnTo>
                  <a:pt x="207" y="438"/>
                </a:lnTo>
                <a:lnTo>
                  <a:pt x="155" y="443"/>
                </a:lnTo>
                <a:lnTo>
                  <a:pt x="146" y="447"/>
                </a:lnTo>
                <a:lnTo>
                  <a:pt x="135" y="453"/>
                </a:lnTo>
                <a:lnTo>
                  <a:pt x="126" y="458"/>
                </a:lnTo>
                <a:lnTo>
                  <a:pt x="117" y="465"/>
                </a:lnTo>
                <a:lnTo>
                  <a:pt x="100" y="478"/>
                </a:lnTo>
                <a:lnTo>
                  <a:pt x="83" y="492"/>
                </a:lnTo>
                <a:lnTo>
                  <a:pt x="68" y="505"/>
                </a:lnTo>
                <a:lnTo>
                  <a:pt x="51" y="517"/>
                </a:lnTo>
                <a:lnTo>
                  <a:pt x="42" y="522"/>
                </a:lnTo>
                <a:lnTo>
                  <a:pt x="33" y="526"/>
                </a:lnTo>
                <a:lnTo>
                  <a:pt x="24" y="529"/>
                </a:lnTo>
                <a:lnTo>
                  <a:pt x="13" y="531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19" name="Freeform 84"/>
          <p:cNvSpPr>
            <a:spLocks/>
          </p:cNvSpPr>
          <p:nvPr/>
        </p:nvSpPr>
        <p:spPr bwMode="auto">
          <a:xfrm>
            <a:off x="5067300" y="1201738"/>
            <a:ext cx="176213" cy="214312"/>
          </a:xfrm>
          <a:custGeom>
            <a:avLst/>
            <a:gdLst>
              <a:gd name="T0" fmla="*/ 2147483647 w 443"/>
              <a:gd name="T1" fmla="*/ 2147483647 h 541"/>
              <a:gd name="T2" fmla="*/ 2147483647 w 443"/>
              <a:gd name="T3" fmla="*/ 2147483647 h 541"/>
              <a:gd name="T4" fmla="*/ 2147483647 w 443"/>
              <a:gd name="T5" fmla="*/ 2147483647 h 541"/>
              <a:gd name="T6" fmla="*/ 2147483647 w 443"/>
              <a:gd name="T7" fmla="*/ 2147483647 h 541"/>
              <a:gd name="T8" fmla="*/ 2147483647 w 443"/>
              <a:gd name="T9" fmla="*/ 2147483647 h 541"/>
              <a:gd name="T10" fmla="*/ 2147483647 w 443"/>
              <a:gd name="T11" fmla="*/ 2147483647 h 541"/>
              <a:gd name="T12" fmla="*/ 2147483647 w 443"/>
              <a:gd name="T13" fmla="*/ 2147483647 h 541"/>
              <a:gd name="T14" fmla="*/ 2147483647 w 443"/>
              <a:gd name="T15" fmla="*/ 2147483647 h 541"/>
              <a:gd name="T16" fmla="*/ 2147483647 w 443"/>
              <a:gd name="T17" fmla="*/ 2147483647 h 541"/>
              <a:gd name="T18" fmla="*/ 2147483647 w 443"/>
              <a:gd name="T19" fmla="*/ 2147483647 h 541"/>
              <a:gd name="T20" fmla="*/ 2147483647 w 443"/>
              <a:gd name="T21" fmla="*/ 2147483647 h 541"/>
              <a:gd name="T22" fmla="*/ 2147483647 w 443"/>
              <a:gd name="T23" fmla="*/ 2147483647 h 541"/>
              <a:gd name="T24" fmla="*/ 2147483647 w 443"/>
              <a:gd name="T25" fmla="*/ 2147483647 h 541"/>
              <a:gd name="T26" fmla="*/ 2147483647 w 443"/>
              <a:gd name="T27" fmla="*/ 2147483647 h 541"/>
              <a:gd name="T28" fmla="*/ 0 w 443"/>
              <a:gd name="T29" fmla="*/ 2147483647 h 541"/>
              <a:gd name="T30" fmla="*/ 2147483647 w 443"/>
              <a:gd name="T31" fmla="*/ 2147483647 h 541"/>
              <a:gd name="T32" fmla="*/ 2147483647 w 443"/>
              <a:gd name="T33" fmla="*/ 2147483647 h 541"/>
              <a:gd name="T34" fmla="*/ 2147483647 w 443"/>
              <a:gd name="T35" fmla="*/ 2147483647 h 541"/>
              <a:gd name="T36" fmla="*/ 2147483647 w 443"/>
              <a:gd name="T37" fmla="*/ 2147483647 h 541"/>
              <a:gd name="T38" fmla="*/ 2147483647 w 443"/>
              <a:gd name="T39" fmla="*/ 2147483647 h 541"/>
              <a:gd name="T40" fmla="*/ 2147483647 w 443"/>
              <a:gd name="T41" fmla="*/ 2147483647 h 541"/>
              <a:gd name="T42" fmla="*/ 2147483647 w 443"/>
              <a:gd name="T43" fmla="*/ 2147483647 h 541"/>
              <a:gd name="T44" fmla="*/ 2147483647 w 443"/>
              <a:gd name="T45" fmla="*/ 0 h 541"/>
              <a:gd name="T46" fmla="*/ 2147483647 w 443"/>
              <a:gd name="T47" fmla="*/ 2147483647 h 541"/>
              <a:gd name="T48" fmla="*/ 2147483647 w 443"/>
              <a:gd name="T49" fmla="*/ 2147483647 h 541"/>
              <a:gd name="T50" fmla="*/ 2147483647 w 443"/>
              <a:gd name="T51" fmla="*/ 2147483647 h 541"/>
              <a:gd name="T52" fmla="*/ 2147483647 w 443"/>
              <a:gd name="T53" fmla="*/ 2147483647 h 541"/>
              <a:gd name="T54" fmla="*/ 2147483647 w 443"/>
              <a:gd name="T55" fmla="*/ 2147483647 h 541"/>
              <a:gd name="T56" fmla="*/ 2147483647 w 443"/>
              <a:gd name="T57" fmla="*/ 2147483647 h 541"/>
              <a:gd name="T58" fmla="*/ 2147483647 w 443"/>
              <a:gd name="T59" fmla="*/ 2147483647 h 541"/>
              <a:gd name="T60" fmla="*/ 2147483647 w 443"/>
              <a:gd name="T61" fmla="*/ 2147483647 h 541"/>
              <a:gd name="T62" fmla="*/ 2147483647 w 443"/>
              <a:gd name="T63" fmla="*/ 2147483647 h 541"/>
              <a:gd name="T64" fmla="*/ 2147483647 w 443"/>
              <a:gd name="T65" fmla="*/ 2147483647 h 541"/>
              <a:gd name="T66" fmla="*/ 2147483647 w 443"/>
              <a:gd name="T67" fmla="*/ 2147483647 h 541"/>
              <a:gd name="T68" fmla="*/ 2147483647 w 443"/>
              <a:gd name="T69" fmla="*/ 2147483647 h 541"/>
              <a:gd name="T70" fmla="*/ 2147483647 w 443"/>
              <a:gd name="T71" fmla="*/ 2147483647 h 541"/>
              <a:gd name="T72" fmla="*/ 2147483647 w 443"/>
              <a:gd name="T73" fmla="*/ 2147483647 h 541"/>
              <a:gd name="T74" fmla="*/ 2147483647 w 443"/>
              <a:gd name="T75" fmla="*/ 2147483647 h 541"/>
              <a:gd name="T76" fmla="*/ 2147483647 w 443"/>
              <a:gd name="T77" fmla="*/ 2147483647 h 541"/>
              <a:gd name="T78" fmla="*/ 2147483647 w 443"/>
              <a:gd name="T79" fmla="*/ 2147483647 h 541"/>
              <a:gd name="T80" fmla="*/ 2147483647 w 443"/>
              <a:gd name="T81" fmla="*/ 2147483647 h 541"/>
              <a:gd name="T82" fmla="*/ 2147483647 w 443"/>
              <a:gd name="T83" fmla="*/ 2147483647 h 541"/>
              <a:gd name="T84" fmla="*/ 2147483647 w 443"/>
              <a:gd name="T85" fmla="*/ 2147483647 h 54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443"/>
              <a:gd name="T130" fmla="*/ 0 h 541"/>
              <a:gd name="T131" fmla="*/ 443 w 443"/>
              <a:gd name="T132" fmla="*/ 541 h 541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443" h="541">
                <a:moveTo>
                  <a:pt x="326" y="541"/>
                </a:moveTo>
                <a:lnTo>
                  <a:pt x="320" y="538"/>
                </a:lnTo>
                <a:lnTo>
                  <a:pt x="311" y="534"/>
                </a:lnTo>
                <a:lnTo>
                  <a:pt x="300" y="528"/>
                </a:lnTo>
                <a:lnTo>
                  <a:pt x="287" y="524"/>
                </a:lnTo>
                <a:lnTo>
                  <a:pt x="274" y="519"/>
                </a:lnTo>
                <a:lnTo>
                  <a:pt x="263" y="514"/>
                </a:lnTo>
                <a:lnTo>
                  <a:pt x="251" y="509"/>
                </a:lnTo>
                <a:lnTo>
                  <a:pt x="242" y="504"/>
                </a:lnTo>
                <a:lnTo>
                  <a:pt x="235" y="495"/>
                </a:lnTo>
                <a:lnTo>
                  <a:pt x="229" y="487"/>
                </a:lnTo>
                <a:lnTo>
                  <a:pt x="221" y="479"/>
                </a:lnTo>
                <a:lnTo>
                  <a:pt x="215" y="474"/>
                </a:lnTo>
                <a:lnTo>
                  <a:pt x="200" y="463"/>
                </a:lnTo>
                <a:lnTo>
                  <a:pt x="186" y="456"/>
                </a:lnTo>
                <a:lnTo>
                  <a:pt x="172" y="446"/>
                </a:lnTo>
                <a:lnTo>
                  <a:pt x="159" y="439"/>
                </a:lnTo>
                <a:lnTo>
                  <a:pt x="152" y="433"/>
                </a:lnTo>
                <a:lnTo>
                  <a:pt x="146" y="428"/>
                </a:lnTo>
                <a:lnTo>
                  <a:pt x="139" y="422"/>
                </a:lnTo>
                <a:lnTo>
                  <a:pt x="134" y="415"/>
                </a:lnTo>
                <a:lnTo>
                  <a:pt x="117" y="413"/>
                </a:lnTo>
                <a:lnTo>
                  <a:pt x="100" y="410"/>
                </a:lnTo>
                <a:lnTo>
                  <a:pt x="83" y="407"/>
                </a:lnTo>
                <a:lnTo>
                  <a:pt x="66" y="405"/>
                </a:lnTo>
                <a:lnTo>
                  <a:pt x="69" y="396"/>
                </a:lnTo>
                <a:lnTo>
                  <a:pt x="69" y="387"/>
                </a:lnTo>
                <a:lnTo>
                  <a:pt x="69" y="379"/>
                </a:lnTo>
                <a:lnTo>
                  <a:pt x="68" y="372"/>
                </a:lnTo>
                <a:lnTo>
                  <a:pt x="66" y="366"/>
                </a:lnTo>
                <a:lnTo>
                  <a:pt x="62" y="358"/>
                </a:lnTo>
                <a:lnTo>
                  <a:pt x="58" y="350"/>
                </a:lnTo>
                <a:lnTo>
                  <a:pt x="53" y="342"/>
                </a:lnTo>
                <a:lnTo>
                  <a:pt x="52" y="320"/>
                </a:lnTo>
                <a:lnTo>
                  <a:pt x="51" y="298"/>
                </a:lnTo>
                <a:lnTo>
                  <a:pt x="49" y="277"/>
                </a:lnTo>
                <a:lnTo>
                  <a:pt x="49" y="255"/>
                </a:lnTo>
                <a:lnTo>
                  <a:pt x="43" y="253"/>
                </a:lnTo>
                <a:lnTo>
                  <a:pt x="36" y="246"/>
                </a:lnTo>
                <a:lnTo>
                  <a:pt x="30" y="240"/>
                </a:lnTo>
                <a:lnTo>
                  <a:pt x="25" y="232"/>
                </a:lnTo>
                <a:lnTo>
                  <a:pt x="18" y="223"/>
                </a:lnTo>
                <a:lnTo>
                  <a:pt x="13" y="215"/>
                </a:lnTo>
                <a:lnTo>
                  <a:pt x="6" y="207"/>
                </a:lnTo>
                <a:lnTo>
                  <a:pt x="0" y="202"/>
                </a:lnTo>
                <a:lnTo>
                  <a:pt x="8" y="190"/>
                </a:lnTo>
                <a:lnTo>
                  <a:pt x="17" y="178"/>
                </a:lnTo>
                <a:lnTo>
                  <a:pt x="26" y="168"/>
                </a:lnTo>
                <a:lnTo>
                  <a:pt x="36" y="159"/>
                </a:lnTo>
                <a:lnTo>
                  <a:pt x="47" y="150"/>
                </a:lnTo>
                <a:lnTo>
                  <a:pt x="58" y="142"/>
                </a:lnTo>
                <a:lnTo>
                  <a:pt x="70" y="136"/>
                </a:lnTo>
                <a:lnTo>
                  <a:pt x="84" y="130"/>
                </a:lnTo>
                <a:lnTo>
                  <a:pt x="84" y="112"/>
                </a:lnTo>
                <a:lnTo>
                  <a:pt x="84" y="95"/>
                </a:lnTo>
                <a:lnTo>
                  <a:pt x="84" y="80"/>
                </a:lnTo>
                <a:lnTo>
                  <a:pt x="87" y="65"/>
                </a:lnTo>
                <a:lnTo>
                  <a:pt x="90" y="59"/>
                </a:lnTo>
                <a:lnTo>
                  <a:pt x="92" y="52"/>
                </a:lnTo>
                <a:lnTo>
                  <a:pt x="96" y="46"/>
                </a:lnTo>
                <a:lnTo>
                  <a:pt x="100" y="39"/>
                </a:lnTo>
                <a:lnTo>
                  <a:pt x="105" y="34"/>
                </a:lnTo>
                <a:lnTo>
                  <a:pt x="112" y="29"/>
                </a:lnTo>
                <a:lnTo>
                  <a:pt x="120" y="24"/>
                </a:lnTo>
                <a:lnTo>
                  <a:pt x="129" y="18"/>
                </a:lnTo>
                <a:lnTo>
                  <a:pt x="172" y="12"/>
                </a:lnTo>
                <a:lnTo>
                  <a:pt x="221" y="3"/>
                </a:lnTo>
                <a:lnTo>
                  <a:pt x="234" y="2"/>
                </a:lnTo>
                <a:lnTo>
                  <a:pt x="247" y="0"/>
                </a:lnTo>
                <a:lnTo>
                  <a:pt x="259" y="0"/>
                </a:lnTo>
                <a:lnTo>
                  <a:pt x="270" y="0"/>
                </a:lnTo>
                <a:lnTo>
                  <a:pt x="281" y="2"/>
                </a:lnTo>
                <a:lnTo>
                  <a:pt x="291" y="4"/>
                </a:lnTo>
                <a:lnTo>
                  <a:pt x="300" y="8"/>
                </a:lnTo>
                <a:lnTo>
                  <a:pt x="309" y="13"/>
                </a:lnTo>
                <a:lnTo>
                  <a:pt x="309" y="33"/>
                </a:lnTo>
                <a:lnTo>
                  <a:pt x="309" y="52"/>
                </a:lnTo>
                <a:lnTo>
                  <a:pt x="309" y="72"/>
                </a:lnTo>
                <a:lnTo>
                  <a:pt x="311" y="91"/>
                </a:lnTo>
                <a:lnTo>
                  <a:pt x="300" y="102"/>
                </a:lnTo>
                <a:lnTo>
                  <a:pt x="291" y="111"/>
                </a:lnTo>
                <a:lnTo>
                  <a:pt x="286" y="120"/>
                </a:lnTo>
                <a:lnTo>
                  <a:pt x="281" y="130"/>
                </a:lnTo>
                <a:lnTo>
                  <a:pt x="274" y="154"/>
                </a:lnTo>
                <a:lnTo>
                  <a:pt x="269" y="182"/>
                </a:lnTo>
                <a:lnTo>
                  <a:pt x="285" y="169"/>
                </a:lnTo>
                <a:lnTo>
                  <a:pt x="300" y="156"/>
                </a:lnTo>
                <a:lnTo>
                  <a:pt x="315" y="142"/>
                </a:lnTo>
                <a:lnTo>
                  <a:pt x="329" y="128"/>
                </a:lnTo>
                <a:lnTo>
                  <a:pt x="342" y="112"/>
                </a:lnTo>
                <a:lnTo>
                  <a:pt x="354" y="95"/>
                </a:lnTo>
                <a:lnTo>
                  <a:pt x="365" y="78"/>
                </a:lnTo>
                <a:lnTo>
                  <a:pt x="376" y="59"/>
                </a:lnTo>
                <a:lnTo>
                  <a:pt x="394" y="59"/>
                </a:lnTo>
                <a:lnTo>
                  <a:pt x="412" y="59"/>
                </a:lnTo>
                <a:lnTo>
                  <a:pt x="421" y="73"/>
                </a:lnTo>
                <a:lnTo>
                  <a:pt x="429" y="90"/>
                </a:lnTo>
                <a:lnTo>
                  <a:pt x="436" y="106"/>
                </a:lnTo>
                <a:lnTo>
                  <a:pt x="440" y="124"/>
                </a:lnTo>
                <a:lnTo>
                  <a:pt x="442" y="142"/>
                </a:lnTo>
                <a:lnTo>
                  <a:pt x="443" y="162"/>
                </a:lnTo>
                <a:lnTo>
                  <a:pt x="443" y="181"/>
                </a:lnTo>
                <a:lnTo>
                  <a:pt x="443" y="202"/>
                </a:lnTo>
                <a:lnTo>
                  <a:pt x="441" y="221"/>
                </a:lnTo>
                <a:lnTo>
                  <a:pt x="438" y="241"/>
                </a:lnTo>
                <a:lnTo>
                  <a:pt x="434" y="260"/>
                </a:lnTo>
                <a:lnTo>
                  <a:pt x="430" y="280"/>
                </a:lnTo>
                <a:lnTo>
                  <a:pt x="421" y="315"/>
                </a:lnTo>
                <a:lnTo>
                  <a:pt x="411" y="348"/>
                </a:lnTo>
                <a:lnTo>
                  <a:pt x="403" y="348"/>
                </a:lnTo>
                <a:lnTo>
                  <a:pt x="395" y="348"/>
                </a:lnTo>
                <a:lnTo>
                  <a:pt x="397" y="363"/>
                </a:lnTo>
                <a:lnTo>
                  <a:pt x="398" y="377"/>
                </a:lnTo>
                <a:lnTo>
                  <a:pt x="401" y="389"/>
                </a:lnTo>
                <a:lnTo>
                  <a:pt x="404" y="400"/>
                </a:lnTo>
                <a:lnTo>
                  <a:pt x="412" y="417"/>
                </a:lnTo>
                <a:lnTo>
                  <a:pt x="419" y="431"/>
                </a:lnTo>
                <a:lnTo>
                  <a:pt x="420" y="439"/>
                </a:lnTo>
                <a:lnTo>
                  <a:pt x="421" y="446"/>
                </a:lnTo>
                <a:lnTo>
                  <a:pt x="420" y="454"/>
                </a:lnTo>
                <a:lnTo>
                  <a:pt x="419" y="463"/>
                </a:lnTo>
                <a:lnTo>
                  <a:pt x="414" y="474"/>
                </a:lnTo>
                <a:lnTo>
                  <a:pt x="407" y="487"/>
                </a:lnTo>
                <a:lnTo>
                  <a:pt x="398" y="501"/>
                </a:lnTo>
                <a:lnTo>
                  <a:pt x="386" y="517"/>
                </a:lnTo>
                <a:lnTo>
                  <a:pt x="371" y="523"/>
                </a:lnTo>
                <a:lnTo>
                  <a:pt x="355" y="528"/>
                </a:lnTo>
                <a:lnTo>
                  <a:pt x="341" y="535"/>
                </a:lnTo>
                <a:lnTo>
                  <a:pt x="326" y="541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20" name="Freeform 85"/>
          <p:cNvSpPr>
            <a:spLocks/>
          </p:cNvSpPr>
          <p:nvPr/>
        </p:nvSpPr>
        <p:spPr bwMode="auto">
          <a:xfrm>
            <a:off x="8045450" y="1130300"/>
            <a:ext cx="101600" cy="149225"/>
          </a:xfrm>
          <a:custGeom>
            <a:avLst/>
            <a:gdLst>
              <a:gd name="T0" fmla="*/ 2147483647 w 255"/>
              <a:gd name="T1" fmla="*/ 2147483647 h 374"/>
              <a:gd name="T2" fmla="*/ 2147483647 w 255"/>
              <a:gd name="T3" fmla="*/ 2147483647 h 374"/>
              <a:gd name="T4" fmla="*/ 2147483647 w 255"/>
              <a:gd name="T5" fmla="*/ 2147483647 h 374"/>
              <a:gd name="T6" fmla="*/ 2147483647 w 255"/>
              <a:gd name="T7" fmla="*/ 2147483647 h 374"/>
              <a:gd name="T8" fmla="*/ 2147483647 w 255"/>
              <a:gd name="T9" fmla="*/ 2147483647 h 374"/>
              <a:gd name="T10" fmla="*/ 2147483647 w 255"/>
              <a:gd name="T11" fmla="*/ 2147483647 h 374"/>
              <a:gd name="T12" fmla="*/ 2147483647 w 255"/>
              <a:gd name="T13" fmla="*/ 2147483647 h 374"/>
              <a:gd name="T14" fmla="*/ 2147483647 w 255"/>
              <a:gd name="T15" fmla="*/ 2147483647 h 374"/>
              <a:gd name="T16" fmla="*/ 2147483647 w 255"/>
              <a:gd name="T17" fmla="*/ 2147483647 h 374"/>
              <a:gd name="T18" fmla="*/ 2147483647 w 255"/>
              <a:gd name="T19" fmla="*/ 2147483647 h 374"/>
              <a:gd name="T20" fmla="*/ 0 w 255"/>
              <a:gd name="T21" fmla="*/ 2147483647 h 374"/>
              <a:gd name="T22" fmla="*/ 2147483647 w 255"/>
              <a:gd name="T23" fmla="*/ 2147483647 h 374"/>
              <a:gd name="T24" fmla="*/ 2147483647 w 255"/>
              <a:gd name="T25" fmla="*/ 2147483647 h 374"/>
              <a:gd name="T26" fmla="*/ 2147483647 w 255"/>
              <a:gd name="T27" fmla="*/ 2147483647 h 374"/>
              <a:gd name="T28" fmla="*/ 2147483647 w 255"/>
              <a:gd name="T29" fmla="*/ 2147483647 h 374"/>
              <a:gd name="T30" fmla="*/ 2147483647 w 255"/>
              <a:gd name="T31" fmla="*/ 2147483647 h 374"/>
              <a:gd name="T32" fmla="*/ 2147483647 w 255"/>
              <a:gd name="T33" fmla="*/ 2147483647 h 374"/>
              <a:gd name="T34" fmla="*/ 2147483647 w 255"/>
              <a:gd name="T35" fmla="*/ 2147483647 h 374"/>
              <a:gd name="T36" fmla="*/ 2147483647 w 255"/>
              <a:gd name="T37" fmla="*/ 2147483647 h 374"/>
              <a:gd name="T38" fmla="*/ 2147483647 w 255"/>
              <a:gd name="T39" fmla="*/ 2147483647 h 374"/>
              <a:gd name="T40" fmla="*/ 2147483647 w 255"/>
              <a:gd name="T41" fmla="*/ 2147483647 h 374"/>
              <a:gd name="T42" fmla="*/ 2147483647 w 255"/>
              <a:gd name="T43" fmla="*/ 2147483647 h 374"/>
              <a:gd name="T44" fmla="*/ 2147483647 w 255"/>
              <a:gd name="T45" fmla="*/ 2147483647 h 374"/>
              <a:gd name="T46" fmla="*/ 2147483647 w 255"/>
              <a:gd name="T47" fmla="*/ 2147483647 h 374"/>
              <a:gd name="T48" fmla="*/ 2147483647 w 255"/>
              <a:gd name="T49" fmla="*/ 2147483647 h 374"/>
              <a:gd name="T50" fmla="*/ 2147483647 w 255"/>
              <a:gd name="T51" fmla="*/ 2147483647 h 374"/>
              <a:gd name="T52" fmla="*/ 2147483647 w 255"/>
              <a:gd name="T53" fmla="*/ 2147483647 h 374"/>
              <a:gd name="T54" fmla="*/ 2147483647 w 255"/>
              <a:gd name="T55" fmla="*/ 2147483647 h 374"/>
              <a:gd name="T56" fmla="*/ 2147483647 w 255"/>
              <a:gd name="T57" fmla="*/ 2147483647 h 374"/>
              <a:gd name="T58" fmla="*/ 2147483647 w 255"/>
              <a:gd name="T59" fmla="*/ 2147483647 h 374"/>
              <a:gd name="T60" fmla="*/ 2147483647 w 255"/>
              <a:gd name="T61" fmla="*/ 0 h 374"/>
              <a:gd name="T62" fmla="*/ 2147483647 w 255"/>
              <a:gd name="T63" fmla="*/ 2147483647 h 374"/>
              <a:gd name="T64" fmla="*/ 2147483647 w 255"/>
              <a:gd name="T65" fmla="*/ 2147483647 h 374"/>
              <a:gd name="T66" fmla="*/ 2147483647 w 255"/>
              <a:gd name="T67" fmla="*/ 2147483647 h 374"/>
              <a:gd name="T68" fmla="*/ 2147483647 w 255"/>
              <a:gd name="T69" fmla="*/ 2147483647 h 374"/>
              <a:gd name="T70" fmla="*/ 2147483647 w 255"/>
              <a:gd name="T71" fmla="*/ 2147483647 h 374"/>
              <a:gd name="T72" fmla="*/ 2147483647 w 255"/>
              <a:gd name="T73" fmla="*/ 2147483647 h 374"/>
              <a:gd name="T74" fmla="*/ 2147483647 w 255"/>
              <a:gd name="T75" fmla="*/ 2147483647 h 374"/>
              <a:gd name="T76" fmla="*/ 2147483647 w 255"/>
              <a:gd name="T77" fmla="*/ 2147483647 h 374"/>
              <a:gd name="T78" fmla="*/ 2147483647 w 255"/>
              <a:gd name="T79" fmla="*/ 2147483647 h 374"/>
              <a:gd name="T80" fmla="*/ 2147483647 w 255"/>
              <a:gd name="T81" fmla="*/ 2147483647 h 374"/>
              <a:gd name="T82" fmla="*/ 2147483647 w 255"/>
              <a:gd name="T83" fmla="*/ 2147483647 h 374"/>
              <a:gd name="T84" fmla="*/ 2147483647 w 255"/>
              <a:gd name="T85" fmla="*/ 2147483647 h 374"/>
              <a:gd name="T86" fmla="*/ 2147483647 w 255"/>
              <a:gd name="T87" fmla="*/ 2147483647 h 374"/>
              <a:gd name="T88" fmla="*/ 2147483647 w 255"/>
              <a:gd name="T89" fmla="*/ 2147483647 h 374"/>
              <a:gd name="T90" fmla="*/ 2147483647 w 255"/>
              <a:gd name="T91" fmla="*/ 2147483647 h 374"/>
              <a:gd name="T92" fmla="*/ 2147483647 w 255"/>
              <a:gd name="T93" fmla="*/ 2147483647 h 374"/>
              <a:gd name="T94" fmla="*/ 2147483647 w 255"/>
              <a:gd name="T95" fmla="*/ 2147483647 h 374"/>
              <a:gd name="T96" fmla="*/ 2147483647 w 255"/>
              <a:gd name="T97" fmla="*/ 2147483647 h 374"/>
              <a:gd name="T98" fmla="*/ 2147483647 w 255"/>
              <a:gd name="T99" fmla="*/ 2147483647 h 374"/>
              <a:gd name="T100" fmla="*/ 2147483647 w 255"/>
              <a:gd name="T101" fmla="*/ 2147483647 h 374"/>
              <a:gd name="T102" fmla="*/ 2147483647 w 255"/>
              <a:gd name="T103" fmla="*/ 2147483647 h 374"/>
              <a:gd name="T104" fmla="*/ 2147483647 w 255"/>
              <a:gd name="T105" fmla="*/ 2147483647 h 374"/>
              <a:gd name="T106" fmla="*/ 2147483647 w 255"/>
              <a:gd name="T107" fmla="*/ 2147483647 h 374"/>
              <a:gd name="T108" fmla="*/ 2147483647 w 255"/>
              <a:gd name="T109" fmla="*/ 2147483647 h 374"/>
              <a:gd name="T110" fmla="*/ 2147483647 w 255"/>
              <a:gd name="T111" fmla="*/ 2147483647 h 374"/>
              <a:gd name="T112" fmla="*/ 2147483647 w 255"/>
              <a:gd name="T113" fmla="*/ 2147483647 h 374"/>
              <a:gd name="T114" fmla="*/ 2147483647 w 255"/>
              <a:gd name="T115" fmla="*/ 2147483647 h 374"/>
              <a:gd name="T116" fmla="*/ 2147483647 w 255"/>
              <a:gd name="T117" fmla="*/ 2147483647 h 374"/>
              <a:gd name="T118" fmla="*/ 2147483647 w 255"/>
              <a:gd name="T119" fmla="*/ 2147483647 h 374"/>
              <a:gd name="T120" fmla="*/ 2147483647 w 255"/>
              <a:gd name="T121" fmla="*/ 2147483647 h 37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55"/>
              <a:gd name="T184" fmla="*/ 0 h 374"/>
              <a:gd name="T185" fmla="*/ 255 w 255"/>
              <a:gd name="T186" fmla="*/ 374 h 37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55" h="374">
                <a:moveTo>
                  <a:pt x="72" y="374"/>
                </a:moveTo>
                <a:lnTo>
                  <a:pt x="60" y="363"/>
                </a:lnTo>
                <a:lnTo>
                  <a:pt x="48" y="348"/>
                </a:lnTo>
                <a:lnTo>
                  <a:pt x="38" y="331"/>
                </a:lnTo>
                <a:lnTo>
                  <a:pt x="29" y="313"/>
                </a:lnTo>
                <a:lnTo>
                  <a:pt x="20" y="292"/>
                </a:lnTo>
                <a:lnTo>
                  <a:pt x="13" y="272"/>
                </a:lnTo>
                <a:lnTo>
                  <a:pt x="8" y="249"/>
                </a:lnTo>
                <a:lnTo>
                  <a:pt x="4" y="227"/>
                </a:lnTo>
                <a:lnTo>
                  <a:pt x="2" y="205"/>
                </a:lnTo>
                <a:lnTo>
                  <a:pt x="0" y="183"/>
                </a:lnTo>
                <a:lnTo>
                  <a:pt x="2" y="162"/>
                </a:lnTo>
                <a:lnTo>
                  <a:pt x="6" y="143"/>
                </a:lnTo>
                <a:lnTo>
                  <a:pt x="8" y="132"/>
                </a:lnTo>
                <a:lnTo>
                  <a:pt x="11" y="123"/>
                </a:lnTo>
                <a:lnTo>
                  <a:pt x="15" y="115"/>
                </a:lnTo>
                <a:lnTo>
                  <a:pt x="19" y="106"/>
                </a:lnTo>
                <a:lnTo>
                  <a:pt x="24" y="100"/>
                </a:lnTo>
                <a:lnTo>
                  <a:pt x="29" y="92"/>
                </a:lnTo>
                <a:lnTo>
                  <a:pt x="35" y="86"/>
                </a:lnTo>
                <a:lnTo>
                  <a:pt x="42" y="80"/>
                </a:lnTo>
                <a:lnTo>
                  <a:pt x="50" y="63"/>
                </a:lnTo>
                <a:lnTo>
                  <a:pt x="59" y="48"/>
                </a:lnTo>
                <a:lnTo>
                  <a:pt x="68" y="35"/>
                </a:lnTo>
                <a:lnTo>
                  <a:pt x="78" y="24"/>
                </a:lnTo>
                <a:lnTo>
                  <a:pt x="89" y="17"/>
                </a:lnTo>
                <a:lnTo>
                  <a:pt x="100" y="10"/>
                </a:lnTo>
                <a:lnTo>
                  <a:pt x="112" y="6"/>
                </a:lnTo>
                <a:lnTo>
                  <a:pt x="124" y="2"/>
                </a:lnTo>
                <a:lnTo>
                  <a:pt x="138" y="1"/>
                </a:lnTo>
                <a:lnTo>
                  <a:pt x="151" y="0"/>
                </a:lnTo>
                <a:lnTo>
                  <a:pt x="167" y="1"/>
                </a:lnTo>
                <a:lnTo>
                  <a:pt x="182" y="1"/>
                </a:lnTo>
                <a:lnTo>
                  <a:pt x="216" y="4"/>
                </a:lnTo>
                <a:lnTo>
                  <a:pt x="253" y="8"/>
                </a:lnTo>
                <a:lnTo>
                  <a:pt x="253" y="21"/>
                </a:lnTo>
                <a:lnTo>
                  <a:pt x="254" y="34"/>
                </a:lnTo>
                <a:lnTo>
                  <a:pt x="254" y="47"/>
                </a:lnTo>
                <a:lnTo>
                  <a:pt x="255" y="60"/>
                </a:lnTo>
                <a:lnTo>
                  <a:pt x="236" y="117"/>
                </a:lnTo>
                <a:lnTo>
                  <a:pt x="218" y="168"/>
                </a:lnTo>
                <a:lnTo>
                  <a:pt x="212" y="179"/>
                </a:lnTo>
                <a:lnTo>
                  <a:pt x="206" y="191"/>
                </a:lnTo>
                <a:lnTo>
                  <a:pt x="199" y="201"/>
                </a:lnTo>
                <a:lnTo>
                  <a:pt x="192" y="213"/>
                </a:lnTo>
                <a:lnTo>
                  <a:pt x="182" y="222"/>
                </a:lnTo>
                <a:lnTo>
                  <a:pt x="172" y="233"/>
                </a:lnTo>
                <a:lnTo>
                  <a:pt x="160" y="242"/>
                </a:lnTo>
                <a:lnTo>
                  <a:pt x="147" y="249"/>
                </a:lnTo>
                <a:lnTo>
                  <a:pt x="143" y="273"/>
                </a:lnTo>
                <a:lnTo>
                  <a:pt x="141" y="295"/>
                </a:lnTo>
                <a:lnTo>
                  <a:pt x="137" y="316"/>
                </a:lnTo>
                <a:lnTo>
                  <a:pt x="130" y="333"/>
                </a:lnTo>
                <a:lnTo>
                  <a:pt x="128" y="341"/>
                </a:lnTo>
                <a:lnTo>
                  <a:pt x="123" y="348"/>
                </a:lnTo>
                <a:lnTo>
                  <a:pt x="117" y="355"/>
                </a:lnTo>
                <a:lnTo>
                  <a:pt x="111" y="360"/>
                </a:lnTo>
                <a:lnTo>
                  <a:pt x="103" y="365"/>
                </a:lnTo>
                <a:lnTo>
                  <a:pt x="94" y="369"/>
                </a:lnTo>
                <a:lnTo>
                  <a:pt x="85" y="373"/>
                </a:lnTo>
                <a:lnTo>
                  <a:pt x="72" y="374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21" name="Freeform 86"/>
          <p:cNvSpPr>
            <a:spLocks/>
          </p:cNvSpPr>
          <p:nvPr/>
        </p:nvSpPr>
        <p:spPr bwMode="auto">
          <a:xfrm>
            <a:off x="5011738" y="1198563"/>
            <a:ext cx="58737" cy="60325"/>
          </a:xfrm>
          <a:custGeom>
            <a:avLst/>
            <a:gdLst>
              <a:gd name="T0" fmla="*/ 2147483647 w 149"/>
              <a:gd name="T1" fmla="*/ 2147483647 h 149"/>
              <a:gd name="T2" fmla="*/ 2147483647 w 149"/>
              <a:gd name="T3" fmla="*/ 2147483647 h 149"/>
              <a:gd name="T4" fmla="*/ 2147483647 w 149"/>
              <a:gd name="T5" fmla="*/ 2147483647 h 149"/>
              <a:gd name="T6" fmla="*/ 2147483647 w 149"/>
              <a:gd name="T7" fmla="*/ 2147483647 h 149"/>
              <a:gd name="T8" fmla="*/ 2147483647 w 149"/>
              <a:gd name="T9" fmla="*/ 2147483647 h 149"/>
              <a:gd name="T10" fmla="*/ 2147483647 w 149"/>
              <a:gd name="T11" fmla="*/ 2147483647 h 149"/>
              <a:gd name="T12" fmla="*/ 2147483647 w 149"/>
              <a:gd name="T13" fmla="*/ 2147483647 h 149"/>
              <a:gd name="T14" fmla="*/ 2147483647 w 149"/>
              <a:gd name="T15" fmla="*/ 2147483647 h 149"/>
              <a:gd name="T16" fmla="*/ 2147483647 w 149"/>
              <a:gd name="T17" fmla="*/ 2147483647 h 149"/>
              <a:gd name="T18" fmla="*/ 2147483647 w 149"/>
              <a:gd name="T19" fmla="*/ 2147483647 h 149"/>
              <a:gd name="T20" fmla="*/ 2147483647 w 149"/>
              <a:gd name="T21" fmla="*/ 2147483647 h 149"/>
              <a:gd name="T22" fmla="*/ 2147483647 w 149"/>
              <a:gd name="T23" fmla="*/ 2147483647 h 149"/>
              <a:gd name="T24" fmla="*/ 0 w 149"/>
              <a:gd name="T25" fmla="*/ 2147483647 h 149"/>
              <a:gd name="T26" fmla="*/ 2147483647 w 149"/>
              <a:gd name="T27" fmla="*/ 2147483647 h 149"/>
              <a:gd name="T28" fmla="*/ 2147483647 w 149"/>
              <a:gd name="T29" fmla="*/ 0 h 149"/>
              <a:gd name="T30" fmla="*/ 2147483647 w 149"/>
              <a:gd name="T31" fmla="*/ 2147483647 h 149"/>
              <a:gd name="T32" fmla="*/ 2147483647 w 149"/>
              <a:gd name="T33" fmla="*/ 2147483647 h 149"/>
              <a:gd name="T34" fmla="*/ 2147483647 w 149"/>
              <a:gd name="T35" fmla="*/ 2147483647 h 149"/>
              <a:gd name="T36" fmla="*/ 2147483647 w 149"/>
              <a:gd name="T37" fmla="*/ 2147483647 h 149"/>
              <a:gd name="T38" fmla="*/ 2147483647 w 149"/>
              <a:gd name="T39" fmla="*/ 2147483647 h 149"/>
              <a:gd name="T40" fmla="*/ 2147483647 w 149"/>
              <a:gd name="T41" fmla="*/ 2147483647 h 149"/>
              <a:gd name="T42" fmla="*/ 2147483647 w 149"/>
              <a:gd name="T43" fmla="*/ 2147483647 h 149"/>
              <a:gd name="T44" fmla="*/ 2147483647 w 149"/>
              <a:gd name="T45" fmla="*/ 2147483647 h 149"/>
              <a:gd name="T46" fmla="*/ 2147483647 w 149"/>
              <a:gd name="T47" fmla="*/ 2147483647 h 149"/>
              <a:gd name="T48" fmla="*/ 2147483647 w 149"/>
              <a:gd name="T49" fmla="*/ 2147483647 h 149"/>
              <a:gd name="T50" fmla="*/ 2147483647 w 149"/>
              <a:gd name="T51" fmla="*/ 2147483647 h 149"/>
              <a:gd name="T52" fmla="*/ 2147483647 w 149"/>
              <a:gd name="T53" fmla="*/ 2147483647 h 149"/>
              <a:gd name="T54" fmla="*/ 2147483647 w 149"/>
              <a:gd name="T55" fmla="*/ 2147483647 h 149"/>
              <a:gd name="T56" fmla="*/ 2147483647 w 149"/>
              <a:gd name="T57" fmla="*/ 2147483647 h 149"/>
              <a:gd name="T58" fmla="*/ 2147483647 w 149"/>
              <a:gd name="T59" fmla="*/ 2147483647 h 149"/>
              <a:gd name="T60" fmla="*/ 2147483647 w 149"/>
              <a:gd name="T61" fmla="*/ 2147483647 h 149"/>
              <a:gd name="T62" fmla="*/ 2147483647 w 149"/>
              <a:gd name="T63" fmla="*/ 2147483647 h 149"/>
              <a:gd name="T64" fmla="*/ 2147483647 w 149"/>
              <a:gd name="T65" fmla="*/ 2147483647 h 149"/>
              <a:gd name="T66" fmla="*/ 2147483647 w 149"/>
              <a:gd name="T67" fmla="*/ 2147483647 h 149"/>
              <a:gd name="T68" fmla="*/ 2147483647 w 149"/>
              <a:gd name="T69" fmla="*/ 2147483647 h 149"/>
              <a:gd name="T70" fmla="*/ 2147483647 w 149"/>
              <a:gd name="T71" fmla="*/ 2147483647 h 149"/>
              <a:gd name="T72" fmla="*/ 2147483647 w 149"/>
              <a:gd name="T73" fmla="*/ 2147483647 h 149"/>
              <a:gd name="T74" fmla="*/ 2147483647 w 149"/>
              <a:gd name="T75" fmla="*/ 2147483647 h 149"/>
              <a:gd name="T76" fmla="*/ 2147483647 w 149"/>
              <a:gd name="T77" fmla="*/ 2147483647 h 149"/>
              <a:gd name="T78" fmla="*/ 2147483647 w 149"/>
              <a:gd name="T79" fmla="*/ 2147483647 h 149"/>
              <a:gd name="T80" fmla="*/ 2147483647 w 149"/>
              <a:gd name="T81" fmla="*/ 2147483647 h 149"/>
              <a:gd name="T82" fmla="*/ 2147483647 w 149"/>
              <a:gd name="T83" fmla="*/ 2147483647 h 149"/>
              <a:gd name="T84" fmla="*/ 2147483647 w 149"/>
              <a:gd name="T85" fmla="*/ 2147483647 h 149"/>
              <a:gd name="T86" fmla="*/ 2147483647 w 149"/>
              <a:gd name="T87" fmla="*/ 2147483647 h 149"/>
              <a:gd name="T88" fmla="*/ 2147483647 w 149"/>
              <a:gd name="T89" fmla="*/ 2147483647 h 149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49"/>
              <a:gd name="T136" fmla="*/ 0 h 149"/>
              <a:gd name="T137" fmla="*/ 149 w 149"/>
              <a:gd name="T138" fmla="*/ 149 h 149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49" h="149">
                <a:moveTo>
                  <a:pt x="65" y="149"/>
                </a:moveTo>
                <a:lnTo>
                  <a:pt x="64" y="139"/>
                </a:lnTo>
                <a:lnTo>
                  <a:pt x="64" y="129"/>
                </a:lnTo>
                <a:lnTo>
                  <a:pt x="63" y="118"/>
                </a:lnTo>
                <a:lnTo>
                  <a:pt x="63" y="108"/>
                </a:lnTo>
                <a:lnTo>
                  <a:pt x="48" y="96"/>
                </a:lnTo>
                <a:lnTo>
                  <a:pt x="38" y="89"/>
                </a:lnTo>
                <a:lnTo>
                  <a:pt x="26" y="84"/>
                </a:lnTo>
                <a:lnTo>
                  <a:pt x="8" y="79"/>
                </a:lnTo>
                <a:lnTo>
                  <a:pt x="6" y="58"/>
                </a:lnTo>
                <a:lnTo>
                  <a:pt x="3" y="40"/>
                </a:lnTo>
                <a:lnTo>
                  <a:pt x="2" y="21"/>
                </a:lnTo>
                <a:lnTo>
                  <a:pt x="0" y="2"/>
                </a:lnTo>
                <a:lnTo>
                  <a:pt x="12" y="1"/>
                </a:lnTo>
                <a:lnTo>
                  <a:pt x="25" y="0"/>
                </a:lnTo>
                <a:lnTo>
                  <a:pt x="37" y="1"/>
                </a:lnTo>
                <a:lnTo>
                  <a:pt x="47" y="2"/>
                </a:lnTo>
                <a:lnTo>
                  <a:pt x="59" y="4"/>
                </a:lnTo>
                <a:lnTo>
                  <a:pt x="69" y="6"/>
                </a:lnTo>
                <a:lnTo>
                  <a:pt x="80" y="10"/>
                </a:lnTo>
                <a:lnTo>
                  <a:pt x="89" y="14"/>
                </a:lnTo>
                <a:lnTo>
                  <a:pt x="98" y="19"/>
                </a:lnTo>
                <a:lnTo>
                  <a:pt x="106" y="23"/>
                </a:lnTo>
                <a:lnTo>
                  <a:pt x="114" y="30"/>
                </a:lnTo>
                <a:lnTo>
                  <a:pt x="121" y="35"/>
                </a:lnTo>
                <a:lnTo>
                  <a:pt x="127" y="41"/>
                </a:lnTo>
                <a:lnTo>
                  <a:pt x="133" y="48"/>
                </a:lnTo>
                <a:lnTo>
                  <a:pt x="137" y="54"/>
                </a:lnTo>
                <a:lnTo>
                  <a:pt x="142" y="61"/>
                </a:lnTo>
                <a:lnTo>
                  <a:pt x="145" y="69"/>
                </a:lnTo>
                <a:lnTo>
                  <a:pt x="147" y="75"/>
                </a:lnTo>
                <a:lnTo>
                  <a:pt x="149" y="83"/>
                </a:lnTo>
                <a:lnTo>
                  <a:pt x="149" y="89"/>
                </a:lnTo>
                <a:lnTo>
                  <a:pt x="147" y="96"/>
                </a:lnTo>
                <a:lnTo>
                  <a:pt x="146" y="103"/>
                </a:lnTo>
                <a:lnTo>
                  <a:pt x="143" y="109"/>
                </a:lnTo>
                <a:lnTo>
                  <a:pt x="140" y="116"/>
                </a:lnTo>
                <a:lnTo>
                  <a:pt x="134" y="122"/>
                </a:lnTo>
                <a:lnTo>
                  <a:pt x="129" y="127"/>
                </a:lnTo>
                <a:lnTo>
                  <a:pt x="121" y="132"/>
                </a:lnTo>
                <a:lnTo>
                  <a:pt x="112" y="138"/>
                </a:lnTo>
                <a:lnTo>
                  <a:pt x="103" y="142"/>
                </a:lnTo>
                <a:lnTo>
                  <a:pt x="91" y="145"/>
                </a:lnTo>
                <a:lnTo>
                  <a:pt x="80" y="148"/>
                </a:lnTo>
                <a:lnTo>
                  <a:pt x="65" y="149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22" name="Freeform 87"/>
          <p:cNvSpPr>
            <a:spLocks/>
          </p:cNvSpPr>
          <p:nvPr/>
        </p:nvSpPr>
        <p:spPr bwMode="auto">
          <a:xfrm>
            <a:off x="5030788" y="1127125"/>
            <a:ext cx="150812" cy="77788"/>
          </a:xfrm>
          <a:custGeom>
            <a:avLst/>
            <a:gdLst>
              <a:gd name="T0" fmla="*/ 2147483647 w 380"/>
              <a:gd name="T1" fmla="*/ 2147483647 h 197"/>
              <a:gd name="T2" fmla="*/ 2147483647 w 380"/>
              <a:gd name="T3" fmla="*/ 2147483647 h 197"/>
              <a:gd name="T4" fmla="*/ 2147483647 w 380"/>
              <a:gd name="T5" fmla="*/ 2147483647 h 197"/>
              <a:gd name="T6" fmla="*/ 2147483647 w 380"/>
              <a:gd name="T7" fmla="*/ 2147483647 h 197"/>
              <a:gd name="T8" fmla="*/ 2147483647 w 380"/>
              <a:gd name="T9" fmla="*/ 2147483647 h 197"/>
              <a:gd name="T10" fmla="*/ 2147483647 w 380"/>
              <a:gd name="T11" fmla="*/ 2147483647 h 197"/>
              <a:gd name="T12" fmla="*/ 2147483647 w 380"/>
              <a:gd name="T13" fmla="*/ 2147483647 h 197"/>
              <a:gd name="T14" fmla="*/ 2147483647 w 380"/>
              <a:gd name="T15" fmla="*/ 2147483647 h 197"/>
              <a:gd name="T16" fmla="*/ 2147483647 w 380"/>
              <a:gd name="T17" fmla="*/ 2147483647 h 197"/>
              <a:gd name="T18" fmla="*/ 2147483647 w 380"/>
              <a:gd name="T19" fmla="*/ 2147483647 h 197"/>
              <a:gd name="T20" fmla="*/ 2147483647 w 380"/>
              <a:gd name="T21" fmla="*/ 2147483647 h 197"/>
              <a:gd name="T22" fmla="*/ 2147483647 w 380"/>
              <a:gd name="T23" fmla="*/ 2147483647 h 197"/>
              <a:gd name="T24" fmla="*/ 2147483647 w 380"/>
              <a:gd name="T25" fmla="*/ 2147483647 h 197"/>
              <a:gd name="T26" fmla="*/ 2147483647 w 380"/>
              <a:gd name="T27" fmla="*/ 2147483647 h 197"/>
              <a:gd name="T28" fmla="*/ 0 w 380"/>
              <a:gd name="T29" fmla="*/ 2147483647 h 197"/>
              <a:gd name="T30" fmla="*/ 2147483647 w 380"/>
              <a:gd name="T31" fmla="*/ 2147483647 h 197"/>
              <a:gd name="T32" fmla="*/ 2147483647 w 380"/>
              <a:gd name="T33" fmla="*/ 2147483647 h 197"/>
              <a:gd name="T34" fmla="*/ 2147483647 w 380"/>
              <a:gd name="T35" fmla="*/ 2147483647 h 197"/>
              <a:gd name="T36" fmla="*/ 2147483647 w 380"/>
              <a:gd name="T37" fmla="*/ 2147483647 h 197"/>
              <a:gd name="T38" fmla="*/ 2147483647 w 380"/>
              <a:gd name="T39" fmla="*/ 2147483647 h 197"/>
              <a:gd name="T40" fmla="*/ 2147483647 w 380"/>
              <a:gd name="T41" fmla="*/ 2147483647 h 197"/>
              <a:gd name="T42" fmla="*/ 2147483647 w 380"/>
              <a:gd name="T43" fmla="*/ 2147483647 h 197"/>
              <a:gd name="T44" fmla="*/ 2147483647 w 380"/>
              <a:gd name="T45" fmla="*/ 2147483647 h 197"/>
              <a:gd name="T46" fmla="*/ 2147483647 w 380"/>
              <a:gd name="T47" fmla="*/ 2147483647 h 197"/>
              <a:gd name="T48" fmla="*/ 2147483647 w 380"/>
              <a:gd name="T49" fmla="*/ 2147483647 h 197"/>
              <a:gd name="T50" fmla="*/ 2147483647 w 380"/>
              <a:gd name="T51" fmla="*/ 2147483647 h 197"/>
              <a:gd name="T52" fmla="*/ 2147483647 w 380"/>
              <a:gd name="T53" fmla="*/ 2147483647 h 197"/>
              <a:gd name="T54" fmla="*/ 2147483647 w 380"/>
              <a:gd name="T55" fmla="*/ 2147483647 h 197"/>
              <a:gd name="T56" fmla="*/ 2147483647 w 380"/>
              <a:gd name="T57" fmla="*/ 2147483647 h 197"/>
              <a:gd name="T58" fmla="*/ 2147483647 w 380"/>
              <a:gd name="T59" fmla="*/ 2147483647 h 197"/>
              <a:gd name="T60" fmla="*/ 2147483647 w 380"/>
              <a:gd name="T61" fmla="*/ 2147483647 h 197"/>
              <a:gd name="T62" fmla="*/ 2147483647 w 380"/>
              <a:gd name="T63" fmla="*/ 2147483647 h 197"/>
              <a:gd name="T64" fmla="*/ 2147483647 w 380"/>
              <a:gd name="T65" fmla="*/ 2147483647 h 197"/>
              <a:gd name="T66" fmla="*/ 2147483647 w 380"/>
              <a:gd name="T67" fmla="*/ 2147483647 h 197"/>
              <a:gd name="T68" fmla="*/ 2147483647 w 380"/>
              <a:gd name="T69" fmla="*/ 2147483647 h 197"/>
              <a:gd name="T70" fmla="*/ 2147483647 w 380"/>
              <a:gd name="T71" fmla="*/ 0 h 197"/>
              <a:gd name="T72" fmla="*/ 2147483647 w 380"/>
              <a:gd name="T73" fmla="*/ 2147483647 h 197"/>
              <a:gd name="T74" fmla="*/ 2147483647 w 380"/>
              <a:gd name="T75" fmla="*/ 2147483647 h 197"/>
              <a:gd name="T76" fmla="*/ 2147483647 w 380"/>
              <a:gd name="T77" fmla="*/ 2147483647 h 197"/>
              <a:gd name="T78" fmla="*/ 2147483647 w 380"/>
              <a:gd name="T79" fmla="*/ 2147483647 h 197"/>
              <a:gd name="T80" fmla="*/ 2147483647 w 380"/>
              <a:gd name="T81" fmla="*/ 2147483647 h 197"/>
              <a:gd name="T82" fmla="*/ 2147483647 w 380"/>
              <a:gd name="T83" fmla="*/ 2147483647 h 197"/>
              <a:gd name="T84" fmla="*/ 2147483647 w 380"/>
              <a:gd name="T85" fmla="*/ 2147483647 h 197"/>
              <a:gd name="T86" fmla="*/ 2147483647 w 380"/>
              <a:gd name="T87" fmla="*/ 2147483647 h 197"/>
              <a:gd name="T88" fmla="*/ 2147483647 w 380"/>
              <a:gd name="T89" fmla="*/ 2147483647 h 197"/>
              <a:gd name="T90" fmla="*/ 2147483647 w 380"/>
              <a:gd name="T91" fmla="*/ 2147483647 h 197"/>
              <a:gd name="T92" fmla="*/ 2147483647 w 380"/>
              <a:gd name="T93" fmla="*/ 2147483647 h 197"/>
              <a:gd name="T94" fmla="*/ 2147483647 w 380"/>
              <a:gd name="T95" fmla="*/ 2147483647 h 197"/>
              <a:gd name="T96" fmla="*/ 2147483647 w 380"/>
              <a:gd name="T97" fmla="*/ 2147483647 h 197"/>
              <a:gd name="T98" fmla="*/ 2147483647 w 380"/>
              <a:gd name="T99" fmla="*/ 2147483647 h 197"/>
              <a:gd name="T100" fmla="*/ 2147483647 w 380"/>
              <a:gd name="T101" fmla="*/ 2147483647 h 197"/>
              <a:gd name="T102" fmla="*/ 2147483647 w 380"/>
              <a:gd name="T103" fmla="*/ 2147483647 h 197"/>
              <a:gd name="T104" fmla="*/ 2147483647 w 380"/>
              <a:gd name="T105" fmla="*/ 2147483647 h 197"/>
              <a:gd name="T106" fmla="*/ 2147483647 w 380"/>
              <a:gd name="T107" fmla="*/ 2147483647 h 197"/>
              <a:gd name="T108" fmla="*/ 2147483647 w 380"/>
              <a:gd name="T109" fmla="*/ 2147483647 h 197"/>
              <a:gd name="T110" fmla="*/ 2147483647 w 380"/>
              <a:gd name="T111" fmla="*/ 2147483647 h 197"/>
              <a:gd name="T112" fmla="*/ 2147483647 w 380"/>
              <a:gd name="T113" fmla="*/ 2147483647 h 197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380"/>
              <a:gd name="T172" fmla="*/ 0 h 197"/>
              <a:gd name="T173" fmla="*/ 380 w 380"/>
              <a:gd name="T174" fmla="*/ 197 h 197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380" h="197">
                <a:moveTo>
                  <a:pt x="111" y="197"/>
                </a:moveTo>
                <a:lnTo>
                  <a:pt x="95" y="182"/>
                </a:lnTo>
                <a:lnTo>
                  <a:pt x="82" y="171"/>
                </a:lnTo>
                <a:lnTo>
                  <a:pt x="76" y="167"/>
                </a:lnTo>
                <a:lnTo>
                  <a:pt x="68" y="164"/>
                </a:lnTo>
                <a:lnTo>
                  <a:pt x="59" y="161"/>
                </a:lnTo>
                <a:lnTo>
                  <a:pt x="49" y="158"/>
                </a:lnTo>
                <a:lnTo>
                  <a:pt x="50" y="144"/>
                </a:lnTo>
                <a:lnTo>
                  <a:pt x="50" y="134"/>
                </a:lnTo>
                <a:lnTo>
                  <a:pt x="47" y="123"/>
                </a:lnTo>
                <a:lnTo>
                  <a:pt x="42" y="106"/>
                </a:lnTo>
                <a:lnTo>
                  <a:pt x="32" y="102"/>
                </a:lnTo>
                <a:lnTo>
                  <a:pt x="20" y="100"/>
                </a:lnTo>
                <a:lnTo>
                  <a:pt x="10" y="96"/>
                </a:lnTo>
                <a:lnTo>
                  <a:pt x="0" y="93"/>
                </a:lnTo>
                <a:lnTo>
                  <a:pt x="15" y="91"/>
                </a:lnTo>
                <a:lnTo>
                  <a:pt x="30" y="88"/>
                </a:lnTo>
                <a:lnTo>
                  <a:pt x="46" y="84"/>
                </a:lnTo>
                <a:lnTo>
                  <a:pt x="62" y="82"/>
                </a:lnTo>
                <a:lnTo>
                  <a:pt x="59" y="71"/>
                </a:lnTo>
                <a:lnTo>
                  <a:pt x="56" y="61"/>
                </a:lnTo>
                <a:lnTo>
                  <a:pt x="49" y="58"/>
                </a:lnTo>
                <a:lnTo>
                  <a:pt x="42" y="57"/>
                </a:lnTo>
                <a:lnTo>
                  <a:pt x="43" y="49"/>
                </a:lnTo>
                <a:lnTo>
                  <a:pt x="46" y="43"/>
                </a:lnTo>
                <a:lnTo>
                  <a:pt x="50" y="37"/>
                </a:lnTo>
                <a:lnTo>
                  <a:pt x="55" y="31"/>
                </a:lnTo>
                <a:lnTo>
                  <a:pt x="62" y="27"/>
                </a:lnTo>
                <a:lnTo>
                  <a:pt x="69" y="22"/>
                </a:lnTo>
                <a:lnTo>
                  <a:pt x="79" y="18"/>
                </a:lnTo>
                <a:lnTo>
                  <a:pt x="89" y="15"/>
                </a:lnTo>
                <a:lnTo>
                  <a:pt x="112" y="9"/>
                </a:lnTo>
                <a:lnTo>
                  <a:pt x="138" y="5"/>
                </a:lnTo>
                <a:lnTo>
                  <a:pt x="166" y="2"/>
                </a:lnTo>
                <a:lnTo>
                  <a:pt x="196" y="1"/>
                </a:lnTo>
                <a:lnTo>
                  <a:pt x="254" y="0"/>
                </a:lnTo>
                <a:lnTo>
                  <a:pt x="309" y="2"/>
                </a:lnTo>
                <a:lnTo>
                  <a:pt x="353" y="4"/>
                </a:lnTo>
                <a:lnTo>
                  <a:pt x="380" y="5"/>
                </a:lnTo>
                <a:lnTo>
                  <a:pt x="376" y="37"/>
                </a:lnTo>
                <a:lnTo>
                  <a:pt x="374" y="69"/>
                </a:lnTo>
                <a:lnTo>
                  <a:pt x="374" y="100"/>
                </a:lnTo>
                <a:lnTo>
                  <a:pt x="375" y="134"/>
                </a:lnTo>
                <a:lnTo>
                  <a:pt x="348" y="135"/>
                </a:lnTo>
                <a:lnTo>
                  <a:pt x="318" y="136"/>
                </a:lnTo>
                <a:lnTo>
                  <a:pt x="287" y="137"/>
                </a:lnTo>
                <a:lnTo>
                  <a:pt x="255" y="141"/>
                </a:lnTo>
                <a:lnTo>
                  <a:pt x="241" y="145"/>
                </a:lnTo>
                <a:lnTo>
                  <a:pt x="226" y="148"/>
                </a:lnTo>
                <a:lnTo>
                  <a:pt x="211" y="153"/>
                </a:lnTo>
                <a:lnTo>
                  <a:pt x="197" y="157"/>
                </a:lnTo>
                <a:lnTo>
                  <a:pt x="184" y="164"/>
                </a:lnTo>
                <a:lnTo>
                  <a:pt x="172" y="170"/>
                </a:lnTo>
                <a:lnTo>
                  <a:pt x="161" y="178"/>
                </a:lnTo>
                <a:lnTo>
                  <a:pt x="150" y="188"/>
                </a:lnTo>
                <a:lnTo>
                  <a:pt x="131" y="192"/>
                </a:lnTo>
                <a:lnTo>
                  <a:pt x="111" y="197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23" name="Freeform 88"/>
          <p:cNvSpPr>
            <a:spLocks/>
          </p:cNvSpPr>
          <p:nvPr/>
        </p:nvSpPr>
        <p:spPr bwMode="auto">
          <a:xfrm>
            <a:off x="4219575" y="2722563"/>
            <a:ext cx="1038225" cy="1963737"/>
          </a:xfrm>
          <a:custGeom>
            <a:avLst/>
            <a:gdLst>
              <a:gd name="T0" fmla="*/ 2147483647 w 2614"/>
              <a:gd name="T1" fmla="*/ 2147483647 h 4948"/>
              <a:gd name="T2" fmla="*/ 2147483647 w 2614"/>
              <a:gd name="T3" fmla="*/ 2147483647 h 4948"/>
              <a:gd name="T4" fmla="*/ 2147483647 w 2614"/>
              <a:gd name="T5" fmla="*/ 2147483647 h 4948"/>
              <a:gd name="T6" fmla="*/ 2147483647 w 2614"/>
              <a:gd name="T7" fmla="*/ 2147483647 h 4948"/>
              <a:gd name="T8" fmla="*/ 2147483647 w 2614"/>
              <a:gd name="T9" fmla="*/ 2147483647 h 4948"/>
              <a:gd name="T10" fmla="*/ 2147483647 w 2614"/>
              <a:gd name="T11" fmla="*/ 2147483647 h 4948"/>
              <a:gd name="T12" fmla="*/ 2147483647 w 2614"/>
              <a:gd name="T13" fmla="*/ 2147483647 h 4948"/>
              <a:gd name="T14" fmla="*/ 2147483647 w 2614"/>
              <a:gd name="T15" fmla="*/ 2147483647 h 4948"/>
              <a:gd name="T16" fmla="*/ 2147483647 w 2614"/>
              <a:gd name="T17" fmla="*/ 2147483647 h 4948"/>
              <a:gd name="T18" fmla="*/ 2147483647 w 2614"/>
              <a:gd name="T19" fmla="*/ 2147483647 h 4948"/>
              <a:gd name="T20" fmla="*/ 2147483647 w 2614"/>
              <a:gd name="T21" fmla="*/ 2147483647 h 4948"/>
              <a:gd name="T22" fmla="*/ 2147483647 w 2614"/>
              <a:gd name="T23" fmla="*/ 2147483647 h 4948"/>
              <a:gd name="T24" fmla="*/ 2147483647 w 2614"/>
              <a:gd name="T25" fmla="*/ 2147483647 h 4948"/>
              <a:gd name="T26" fmla="*/ 2147483647 w 2614"/>
              <a:gd name="T27" fmla="*/ 2147483647 h 4948"/>
              <a:gd name="T28" fmla="*/ 2147483647 w 2614"/>
              <a:gd name="T29" fmla="*/ 2147483647 h 4948"/>
              <a:gd name="T30" fmla="*/ 2147483647 w 2614"/>
              <a:gd name="T31" fmla="*/ 2147483647 h 4948"/>
              <a:gd name="T32" fmla="*/ 2147483647 w 2614"/>
              <a:gd name="T33" fmla="*/ 2147483647 h 4948"/>
              <a:gd name="T34" fmla="*/ 2147483647 w 2614"/>
              <a:gd name="T35" fmla="*/ 2147483647 h 4948"/>
              <a:gd name="T36" fmla="*/ 2147483647 w 2614"/>
              <a:gd name="T37" fmla="*/ 2147483647 h 4948"/>
              <a:gd name="T38" fmla="*/ 2147483647 w 2614"/>
              <a:gd name="T39" fmla="*/ 2147483647 h 4948"/>
              <a:gd name="T40" fmla="*/ 2147483647 w 2614"/>
              <a:gd name="T41" fmla="*/ 2147483647 h 4948"/>
              <a:gd name="T42" fmla="*/ 2147483647 w 2614"/>
              <a:gd name="T43" fmla="*/ 2147483647 h 4948"/>
              <a:gd name="T44" fmla="*/ 2147483647 w 2614"/>
              <a:gd name="T45" fmla="*/ 2147483647 h 4948"/>
              <a:gd name="T46" fmla="*/ 2147483647 w 2614"/>
              <a:gd name="T47" fmla="*/ 2147483647 h 4948"/>
              <a:gd name="T48" fmla="*/ 2147483647 w 2614"/>
              <a:gd name="T49" fmla="*/ 2147483647 h 4948"/>
              <a:gd name="T50" fmla="*/ 2147483647 w 2614"/>
              <a:gd name="T51" fmla="*/ 2147483647 h 4948"/>
              <a:gd name="T52" fmla="*/ 2147483647 w 2614"/>
              <a:gd name="T53" fmla="*/ 2147483647 h 4948"/>
              <a:gd name="T54" fmla="*/ 2147483647 w 2614"/>
              <a:gd name="T55" fmla="*/ 2147483647 h 4948"/>
              <a:gd name="T56" fmla="*/ 2147483647 w 2614"/>
              <a:gd name="T57" fmla="*/ 2147483647 h 4948"/>
              <a:gd name="T58" fmla="*/ 2147483647 w 2614"/>
              <a:gd name="T59" fmla="*/ 2147483647 h 4948"/>
              <a:gd name="T60" fmla="*/ 2147483647 w 2614"/>
              <a:gd name="T61" fmla="*/ 2147483647 h 4948"/>
              <a:gd name="T62" fmla="*/ 2147483647 w 2614"/>
              <a:gd name="T63" fmla="*/ 2147483647 h 4948"/>
              <a:gd name="T64" fmla="*/ 2147483647 w 2614"/>
              <a:gd name="T65" fmla="*/ 2147483647 h 4948"/>
              <a:gd name="T66" fmla="*/ 2147483647 w 2614"/>
              <a:gd name="T67" fmla="*/ 2147483647 h 4948"/>
              <a:gd name="T68" fmla="*/ 2147483647 w 2614"/>
              <a:gd name="T69" fmla="*/ 2147483647 h 4948"/>
              <a:gd name="T70" fmla="*/ 2147483647 w 2614"/>
              <a:gd name="T71" fmla="*/ 2147483647 h 4948"/>
              <a:gd name="T72" fmla="*/ 2147483647 w 2614"/>
              <a:gd name="T73" fmla="*/ 2147483647 h 4948"/>
              <a:gd name="T74" fmla="*/ 2147483647 w 2614"/>
              <a:gd name="T75" fmla="*/ 2147483647 h 4948"/>
              <a:gd name="T76" fmla="*/ 2147483647 w 2614"/>
              <a:gd name="T77" fmla="*/ 2147483647 h 4948"/>
              <a:gd name="T78" fmla="*/ 2147483647 w 2614"/>
              <a:gd name="T79" fmla="*/ 2147483647 h 4948"/>
              <a:gd name="T80" fmla="*/ 2147483647 w 2614"/>
              <a:gd name="T81" fmla="*/ 2147483647 h 4948"/>
              <a:gd name="T82" fmla="*/ 2147483647 w 2614"/>
              <a:gd name="T83" fmla="*/ 2147483647 h 4948"/>
              <a:gd name="T84" fmla="*/ 2147483647 w 2614"/>
              <a:gd name="T85" fmla="*/ 2147483647 h 4948"/>
              <a:gd name="T86" fmla="*/ 2147483647 w 2614"/>
              <a:gd name="T87" fmla="*/ 2147483647 h 4948"/>
              <a:gd name="T88" fmla="*/ 2147483647 w 2614"/>
              <a:gd name="T89" fmla="*/ 2147483647 h 4948"/>
              <a:gd name="T90" fmla="*/ 2147483647 w 2614"/>
              <a:gd name="T91" fmla="*/ 2147483647 h 4948"/>
              <a:gd name="T92" fmla="*/ 2147483647 w 2614"/>
              <a:gd name="T93" fmla="*/ 2147483647 h 4948"/>
              <a:gd name="T94" fmla="*/ 2147483647 w 2614"/>
              <a:gd name="T95" fmla="*/ 2147483647 h 4948"/>
              <a:gd name="T96" fmla="*/ 2147483647 w 2614"/>
              <a:gd name="T97" fmla="*/ 2147483647 h 4948"/>
              <a:gd name="T98" fmla="*/ 2147483647 w 2614"/>
              <a:gd name="T99" fmla="*/ 2147483647 h 4948"/>
              <a:gd name="T100" fmla="*/ 2147483647 w 2614"/>
              <a:gd name="T101" fmla="*/ 2147483647 h 4948"/>
              <a:gd name="T102" fmla="*/ 2147483647 w 2614"/>
              <a:gd name="T103" fmla="*/ 2147483647 h 4948"/>
              <a:gd name="T104" fmla="*/ 2147483647 w 2614"/>
              <a:gd name="T105" fmla="*/ 2147483647 h 4948"/>
              <a:gd name="T106" fmla="*/ 2147483647 w 2614"/>
              <a:gd name="T107" fmla="*/ 2147483647 h 4948"/>
              <a:gd name="T108" fmla="*/ 2147483647 w 2614"/>
              <a:gd name="T109" fmla="*/ 2147483647 h 4948"/>
              <a:gd name="T110" fmla="*/ 2147483647 w 2614"/>
              <a:gd name="T111" fmla="*/ 2147483647 h 4948"/>
              <a:gd name="T112" fmla="*/ 2147483647 w 2614"/>
              <a:gd name="T113" fmla="*/ 2147483647 h 4948"/>
              <a:gd name="T114" fmla="*/ 2147483647 w 2614"/>
              <a:gd name="T115" fmla="*/ 2147483647 h 4948"/>
              <a:gd name="T116" fmla="*/ 2147483647 w 2614"/>
              <a:gd name="T117" fmla="*/ 2147483647 h 4948"/>
              <a:gd name="T118" fmla="*/ 2147483647 w 2614"/>
              <a:gd name="T119" fmla="*/ 2147483647 h 4948"/>
              <a:gd name="T120" fmla="*/ 2147483647 w 2614"/>
              <a:gd name="T121" fmla="*/ 2147483647 h 494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614"/>
              <a:gd name="T184" fmla="*/ 0 h 4948"/>
              <a:gd name="T185" fmla="*/ 2614 w 2614"/>
              <a:gd name="T186" fmla="*/ 4948 h 494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614" h="4948">
                <a:moveTo>
                  <a:pt x="743" y="4948"/>
                </a:moveTo>
                <a:lnTo>
                  <a:pt x="698" y="4935"/>
                </a:lnTo>
                <a:lnTo>
                  <a:pt x="651" y="4920"/>
                </a:lnTo>
                <a:lnTo>
                  <a:pt x="629" y="4913"/>
                </a:lnTo>
                <a:lnTo>
                  <a:pt x="605" y="4905"/>
                </a:lnTo>
                <a:lnTo>
                  <a:pt x="582" y="4900"/>
                </a:lnTo>
                <a:lnTo>
                  <a:pt x="558" y="4895"/>
                </a:lnTo>
                <a:lnTo>
                  <a:pt x="535" y="4891"/>
                </a:lnTo>
                <a:lnTo>
                  <a:pt x="512" y="4889"/>
                </a:lnTo>
                <a:lnTo>
                  <a:pt x="488" y="4889"/>
                </a:lnTo>
                <a:lnTo>
                  <a:pt x="466" y="4890"/>
                </a:lnTo>
                <a:lnTo>
                  <a:pt x="454" y="4892"/>
                </a:lnTo>
                <a:lnTo>
                  <a:pt x="443" y="4895"/>
                </a:lnTo>
                <a:lnTo>
                  <a:pt x="432" y="4898"/>
                </a:lnTo>
                <a:lnTo>
                  <a:pt x="420" y="4902"/>
                </a:lnTo>
                <a:lnTo>
                  <a:pt x="410" y="4907"/>
                </a:lnTo>
                <a:lnTo>
                  <a:pt x="398" y="4912"/>
                </a:lnTo>
                <a:lnTo>
                  <a:pt x="388" y="4918"/>
                </a:lnTo>
                <a:lnTo>
                  <a:pt x="377" y="4925"/>
                </a:lnTo>
                <a:lnTo>
                  <a:pt x="358" y="4925"/>
                </a:lnTo>
                <a:lnTo>
                  <a:pt x="338" y="4926"/>
                </a:lnTo>
                <a:lnTo>
                  <a:pt x="319" y="4928"/>
                </a:lnTo>
                <a:lnTo>
                  <a:pt x="301" y="4929"/>
                </a:lnTo>
                <a:lnTo>
                  <a:pt x="306" y="4911"/>
                </a:lnTo>
                <a:lnTo>
                  <a:pt x="312" y="4891"/>
                </a:lnTo>
                <a:lnTo>
                  <a:pt x="319" y="4873"/>
                </a:lnTo>
                <a:lnTo>
                  <a:pt x="325" y="4856"/>
                </a:lnTo>
                <a:lnTo>
                  <a:pt x="337" y="4849"/>
                </a:lnTo>
                <a:lnTo>
                  <a:pt x="350" y="4846"/>
                </a:lnTo>
                <a:lnTo>
                  <a:pt x="362" y="4843"/>
                </a:lnTo>
                <a:lnTo>
                  <a:pt x="376" y="4840"/>
                </a:lnTo>
                <a:lnTo>
                  <a:pt x="404" y="4839"/>
                </a:lnTo>
                <a:lnTo>
                  <a:pt x="431" y="4838"/>
                </a:lnTo>
                <a:lnTo>
                  <a:pt x="445" y="4836"/>
                </a:lnTo>
                <a:lnTo>
                  <a:pt x="459" y="4835"/>
                </a:lnTo>
                <a:lnTo>
                  <a:pt x="474" y="4834"/>
                </a:lnTo>
                <a:lnTo>
                  <a:pt x="487" y="4831"/>
                </a:lnTo>
                <a:lnTo>
                  <a:pt x="501" y="4827"/>
                </a:lnTo>
                <a:lnTo>
                  <a:pt x="514" y="4822"/>
                </a:lnTo>
                <a:lnTo>
                  <a:pt x="527" y="4816"/>
                </a:lnTo>
                <a:lnTo>
                  <a:pt x="539" y="4808"/>
                </a:lnTo>
                <a:lnTo>
                  <a:pt x="557" y="4784"/>
                </a:lnTo>
                <a:lnTo>
                  <a:pt x="573" y="4766"/>
                </a:lnTo>
                <a:lnTo>
                  <a:pt x="580" y="4758"/>
                </a:lnTo>
                <a:lnTo>
                  <a:pt x="588" y="4752"/>
                </a:lnTo>
                <a:lnTo>
                  <a:pt x="597" y="4747"/>
                </a:lnTo>
                <a:lnTo>
                  <a:pt x="605" y="4742"/>
                </a:lnTo>
                <a:lnTo>
                  <a:pt x="623" y="4732"/>
                </a:lnTo>
                <a:lnTo>
                  <a:pt x="643" y="4723"/>
                </a:lnTo>
                <a:lnTo>
                  <a:pt x="666" y="4714"/>
                </a:lnTo>
                <a:lnTo>
                  <a:pt x="695" y="4704"/>
                </a:lnTo>
                <a:lnTo>
                  <a:pt x="703" y="4688"/>
                </a:lnTo>
                <a:lnTo>
                  <a:pt x="708" y="4673"/>
                </a:lnTo>
                <a:lnTo>
                  <a:pt x="713" y="4647"/>
                </a:lnTo>
                <a:lnTo>
                  <a:pt x="721" y="4600"/>
                </a:lnTo>
                <a:lnTo>
                  <a:pt x="744" y="4589"/>
                </a:lnTo>
                <a:lnTo>
                  <a:pt x="765" y="4579"/>
                </a:lnTo>
                <a:lnTo>
                  <a:pt x="774" y="4572"/>
                </a:lnTo>
                <a:lnTo>
                  <a:pt x="782" y="4565"/>
                </a:lnTo>
                <a:lnTo>
                  <a:pt x="790" y="4557"/>
                </a:lnTo>
                <a:lnTo>
                  <a:pt x="796" y="4546"/>
                </a:lnTo>
                <a:lnTo>
                  <a:pt x="789" y="4529"/>
                </a:lnTo>
                <a:lnTo>
                  <a:pt x="780" y="4514"/>
                </a:lnTo>
                <a:lnTo>
                  <a:pt x="770" y="4498"/>
                </a:lnTo>
                <a:lnTo>
                  <a:pt x="760" y="4481"/>
                </a:lnTo>
                <a:lnTo>
                  <a:pt x="751" y="4464"/>
                </a:lnTo>
                <a:lnTo>
                  <a:pt x="742" y="4448"/>
                </a:lnTo>
                <a:lnTo>
                  <a:pt x="739" y="4438"/>
                </a:lnTo>
                <a:lnTo>
                  <a:pt x="737" y="4429"/>
                </a:lnTo>
                <a:lnTo>
                  <a:pt x="734" y="4419"/>
                </a:lnTo>
                <a:lnTo>
                  <a:pt x="733" y="4410"/>
                </a:lnTo>
                <a:lnTo>
                  <a:pt x="742" y="4390"/>
                </a:lnTo>
                <a:lnTo>
                  <a:pt x="747" y="4371"/>
                </a:lnTo>
                <a:lnTo>
                  <a:pt x="750" y="4351"/>
                </a:lnTo>
                <a:lnTo>
                  <a:pt x="751" y="4332"/>
                </a:lnTo>
                <a:lnTo>
                  <a:pt x="751" y="4311"/>
                </a:lnTo>
                <a:lnTo>
                  <a:pt x="748" y="4291"/>
                </a:lnTo>
                <a:lnTo>
                  <a:pt x="744" y="4272"/>
                </a:lnTo>
                <a:lnTo>
                  <a:pt x="740" y="4252"/>
                </a:lnTo>
                <a:lnTo>
                  <a:pt x="730" y="4212"/>
                </a:lnTo>
                <a:lnTo>
                  <a:pt x="720" y="4170"/>
                </a:lnTo>
                <a:lnTo>
                  <a:pt x="714" y="4151"/>
                </a:lnTo>
                <a:lnTo>
                  <a:pt x="712" y="4130"/>
                </a:lnTo>
                <a:lnTo>
                  <a:pt x="709" y="4109"/>
                </a:lnTo>
                <a:lnTo>
                  <a:pt x="708" y="4088"/>
                </a:lnTo>
                <a:lnTo>
                  <a:pt x="703" y="4081"/>
                </a:lnTo>
                <a:lnTo>
                  <a:pt x="696" y="4074"/>
                </a:lnTo>
                <a:lnTo>
                  <a:pt x="688" y="4070"/>
                </a:lnTo>
                <a:lnTo>
                  <a:pt x="679" y="4066"/>
                </a:lnTo>
                <a:lnTo>
                  <a:pt x="660" y="4061"/>
                </a:lnTo>
                <a:lnTo>
                  <a:pt x="643" y="4056"/>
                </a:lnTo>
                <a:lnTo>
                  <a:pt x="632" y="4047"/>
                </a:lnTo>
                <a:lnTo>
                  <a:pt x="623" y="4039"/>
                </a:lnTo>
                <a:lnTo>
                  <a:pt x="613" y="4033"/>
                </a:lnTo>
                <a:lnTo>
                  <a:pt x="604" y="4027"/>
                </a:lnTo>
                <a:lnTo>
                  <a:pt x="593" y="4023"/>
                </a:lnTo>
                <a:lnTo>
                  <a:pt x="583" y="4020"/>
                </a:lnTo>
                <a:lnTo>
                  <a:pt x="573" y="4017"/>
                </a:lnTo>
                <a:lnTo>
                  <a:pt x="562" y="4014"/>
                </a:lnTo>
                <a:lnTo>
                  <a:pt x="541" y="4013"/>
                </a:lnTo>
                <a:lnTo>
                  <a:pt x="518" y="4012"/>
                </a:lnTo>
                <a:lnTo>
                  <a:pt x="495" y="4012"/>
                </a:lnTo>
                <a:lnTo>
                  <a:pt x="470" y="4012"/>
                </a:lnTo>
                <a:lnTo>
                  <a:pt x="446" y="3982"/>
                </a:lnTo>
                <a:lnTo>
                  <a:pt x="424" y="3951"/>
                </a:lnTo>
                <a:lnTo>
                  <a:pt x="402" y="3922"/>
                </a:lnTo>
                <a:lnTo>
                  <a:pt x="381" y="3892"/>
                </a:lnTo>
                <a:lnTo>
                  <a:pt x="387" y="3878"/>
                </a:lnTo>
                <a:lnTo>
                  <a:pt x="394" y="3863"/>
                </a:lnTo>
                <a:lnTo>
                  <a:pt x="401" y="3849"/>
                </a:lnTo>
                <a:lnTo>
                  <a:pt x="407" y="3835"/>
                </a:lnTo>
                <a:lnTo>
                  <a:pt x="428" y="3827"/>
                </a:lnTo>
                <a:lnTo>
                  <a:pt x="445" y="3818"/>
                </a:lnTo>
                <a:lnTo>
                  <a:pt x="459" y="3810"/>
                </a:lnTo>
                <a:lnTo>
                  <a:pt x="470" y="3801"/>
                </a:lnTo>
                <a:lnTo>
                  <a:pt x="479" y="3792"/>
                </a:lnTo>
                <a:lnTo>
                  <a:pt x="485" y="3781"/>
                </a:lnTo>
                <a:lnTo>
                  <a:pt x="489" y="3770"/>
                </a:lnTo>
                <a:lnTo>
                  <a:pt x="491" y="3758"/>
                </a:lnTo>
                <a:lnTo>
                  <a:pt x="492" y="3745"/>
                </a:lnTo>
                <a:lnTo>
                  <a:pt x="491" y="3731"/>
                </a:lnTo>
                <a:lnTo>
                  <a:pt x="489" y="3715"/>
                </a:lnTo>
                <a:lnTo>
                  <a:pt x="487" y="3698"/>
                </a:lnTo>
                <a:lnTo>
                  <a:pt x="482" y="3659"/>
                </a:lnTo>
                <a:lnTo>
                  <a:pt x="478" y="3614"/>
                </a:lnTo>
                <a:lnTo>
                  <a:pt x="462" y="3592"/>
                </a:lnTo>
                <a:lnTo>
                  <a:pt x="452" y="3575"/>
                </a:lnTo>
                <a:lnTo>
                  <a:pt x="448" y="3567"/>
                </a:lnTo>
                <a:lnTo>
                  <a:pt x="446" y="3560"/>
                </a:lnTo>
                <a:lnTo>
                  <a:pt x="445" y="3554"/>
                </a:lnTo>
                <a:lnTo>
                  <a:pt x="445" y="3549"/>
                </a:lnTo>
                <a:lnTo>
                  <a:pt x="449" y="3524"/>
                </a:lnTo>
                <a:lnTo>
                  <a:pt x="458" y="3486"/>
                </a:lnTo>
                <a:lnTo>
                  <a:pt x="449" y="3478"/>
                </a:lnTo>
                <a:lnTo>
                  <a:pt x="443" y="3471"/>
                </a:lnTo>
                <a:lnTo>
                  <a:pt x="452" y="3458"/>
                </a:lnTo>
                <a:lnTo>
                  <a:pt x="458" y="3445"/>
                </a:lnTo>
                <a:lnTo>
                  <a:pt x="462" y="3431"/>
                </a:lnTo>
                <a:lnTo>
                  <a:pt x="465" y="3417"/>
                </a:lnTo>
                <a:lnTo>
                  <a:pt x="469" y="3389"/>
                </a:lnTo>
                <a:lnTo>
                  <a:pt x="471" y="3356"/>
                </a:lnTo>
                <a:lnTo>
                  <a:pt x="484" y="3348"/>
                </a:lnTo>
                <a:lnTo>
                  <a:pt x="497" y="3343"/>
                </a:lnTo>
                <a:lnTo>
                  <a:pt x="509" y="3338"/>
                </a:lnTo>
                <a:lnTo>
                  <a:pt x="522" y="3334"/>
                </a:lnTo>
                <a:lnTo>
                  <a:pt x="548" y="3329"/>
                </a:lnTo>
                <a:lnTo>
                  <a:pt x="578" y="3325"/>
                </a:lnTo>
                <a:lnTo>
                  <a:pt x="578" y="3312"/>
                </a:lnTo>
                <a:lnTo>
                  <a:pt x="578" y="3299"/>
                </a:lnTo>
                <a:lnTo>
                  <a:pt x="579" y="3286"/>
                </a:lnTo>
                <a:lnTo>
                  <a:pt x="582" y="3273"/>
                </a:lnTo>
                <a:lnTo>
                  <a:pt x="590" y="3264"/>
                </a:lnTo>
                <a:lnTo>
                  <a:pt x="596" y="3252"/>
                </a:lnTo>
                <a:lnTo>
                  <a:pt x="601" y="3242"/>
                </a:lnTo>
                <a:lnTo>
                  <a:pt x="605" y="3229"/>
                </a:lnTo>
                <a:lnTo>
                  <a:pt x="608" y="3217"/>
                </a:lnTo>
                <a:lnTo>
                  <a:pt x="608" y="3204"/>
                </a:lnTo>
                <a:lnTo>
                  <a:pt x="605" y="3191"/>
                </a:lnTo>
                <a:lnTo>
                  <a:pt x="603" y="3177"/>
                </a:lnTo>
                <a:lnTo>
                  <a:pt x="580" y="3164"/>
                </a:lnTo>
                <a:lnTo>
                  <a:pt x="561" y="3149"/>
                </a:lnTo>
                <a:lnTo>
                  <a:pt x="543" y="3136"/>
                </a:lnTo>
                <a:lnTo>
                  <a:pt x="525" y="3122"/>
                </a:lnTo>
                <a:lnTo>
                  <a:pt x="509" y="3106"/>
                </a:lnTo>
                <a:lnTo>
                  <a:pt x="493" y="3089"/>
                </a:lnTo>
                <a:lnTo>
                  <a:pt x="479" y="3070"/>
                </a:lnTo>
                <a:lnTo>
                  <a:pt x="463" y="3050"/>
                </a:lnTo>
                <a:lnTo>
                  <a:pt x="466" y="3032"/>
                </a:lnTo>
                <a:lnTo>
                  <a:pt x="467" y="3015"/>
                </a:lnTo>
                <a:lnTo>
                  <a:pt x="471" y="2998"/>
                </a:lnTo>
                <a:lnTo>
                  <a:pt x="475" y="2984"/>
                </a:lnTo>
                <a:lnTo>
                  <a:pt x="479" y="2970"/>
                </a:lnTo>
                <a:lnTo>
                  <a:pt x="484" y="2957"/>
                </a:lnTo>
                <a:lnTo>
                  <a:pt x="491" y="2945"/>
                </a:lnTo>
                <a:lnTo>
                  <a:pt x="497" y="2933"/>
                </a:lnTo>
                <a:lnTo>
                  <a:pt x="505" y="2922"/>
                </a:lnTo>
                <a:lnTo>
                  <a:pt x="514" y="2911"/>
                </a:lnTo>
                <a:lnTo>
                  <a:pt x="523" y="2902"/>
                </a:lnTo>
                <a:lnTo>
                  <a:pt x="535" y="2892"/>
                </a:lnTo>
                <a:lnTo>
                  <a:pt x="547" y="2883"/>
                </a:lnTo>
                <a:lnTo>
                  <a:pt x="560" y="2875"/>
                </a:lnTo>
                <a:lnTo>
                  <a:pt x="575" y="2866"/>
                </a:lnTo>
                <a:lnTo>
                  <a:pt x="591" y="2858"/>
                </a:lnTo>
                <a:lnTo>
                  <a:pt x="592" y="2845"/>
                </a:lnTo>
                <a:lnTo>
                  <a:pt x="592" y="2833"/>
                </a:lnTo>
                <a:lnTo>
                  <a:pt x="590" y="2824"/>
                </a:lnTo>
                <a:lnTo>
                  <a:pt x="587" y="2815"/>
                </a:lnTo>
                <a:lnTo>
                  <a:pt x="583" y="2808"/>
                </a:lnTo>
                <a:lnTo>
                  <a:pt x="579" y="2802"/>
                </a:lnTo>
                <a:lnTo>
                  <a:pt x="573" y="2797"/>
                </a:lnTo>
                <a:lnTo>
                  <a:pt x="566" y="2793"/>
                </a:lnTo>
                <a:lnTo>
                  <a:pt x="560" y="2790"/>
                </a:lnTo>
                <a:lnTo>
                  <a:pt x="552" y="2788"/>
                </a:lnTo>
                <a:lnTo>
                  <a:pt x="544" y="2785"/>
                </a:lnTo>
                <a:lnTo>
                  <a:pt x="535" y="2784"/>
                </a:lnTo>
                <a:lnTo>
                  <a:pt x="518" y="2782"/>
                </a:lnTo>
                <a:lnTo>
                  <a:pt x="500" y="2781"/>
                </a:lnTo>
                <a:lnTo>
                  <a:pt x="484" y="2736"/>
                </a:lnTo>
                <a:lnTo>
                  <a:pt x="469" y="2695"/>
                </a:lnTo>
                <a:lnTo>
                  <a:pt x="465" y="2685"/>
                </a:lnTo>
                <a:lnTo>
                  <a:pt x="459" y="2676"/>
                </a:lnTo>
                <a:lnTo>
                  <a:pt x="454" y="2667"/>
                </a:lnTo>
                <a:lnTo>
                  <a:pt x="446" y="2659"/>
                </a:lnTo>
                <a:lnTo>
                  <a:pt x="440" y="2650"/>
                </a:lnTo>
                <a:lnTo>
                  <a:pt x="431" y="2642"/>
                </a:lnTo>
                <a:lnTo>
                  <a:pt x="422" y="2634"/>
                </a:lnTo>
                <a:lnTo>
                  <a:pt x="410" y="2626"/>
                </a:lnTo>
                <a:lnTo>
                  <a:pt x="394" y="2602"/>
                </a:lnTo>
                <a:lnTo>
                  <a:pt x="380" y="2582"/>
                </a:lnTo>
                <a:lnTo>
                  <a:pt x="372" y="2573"/>
                </a:lnTo>
                <a:lnTo>
                  <a:pt x="362" y="2565"/>
                </a:lnTo>
                <a:lnTo>
                  <a:pt x="351" y="2559"/>
                </a:lnTo>
                <a:lnTo>
                  <a:pt x="338" y="2552"/>
                </a:lnTo>
                <a:lnTo>
                  <a:pt x="290" y="2542"/>
                </a:lnTo>
                <a:lnTo>
                  <a:pt x="242" y="2531"/>
                </a:lnTo>
                <a:lnTo>
                  <a:pt x="194" y="2522"/>
                </a:lnTo>
                <a:lnTo>
                  <a:pt x="146" y="2513"/>
                </a:lnTo>
                <a:lnTo>
                  <a:pt x="136" y="2521"/>
                </a:lnTo>
                <a:lnTo>
                  <a:pt x="125" y="2529"/>
                </a:lnTo>
                <a:lnTo>
                  <a:pt x="115" y="2538"/>
                </a:lnTo>
                <a:lnTo>
                  <a:pt x="104" y="2546"/>
                </a:lnTo>
                <a:lnTo>
                  <a:pt x="69" y="2530"/>
                </a:lnTo>
                <a:lnTo>
                  <a:pt x="42" y="2517"/>
                </a:lnTo>
                <a:lnTo>
                  <a:pt x="37" y="2514"/>
                </a:lnTo>
                <a:lnTo>
                  <a:pt x="31" y="2510"/>
                </a:lnTo>
                <a:lnTo>
                  <a:pt x="26" y="2505"/>
                </a:lnTo>
                <a:lnTo>
                  <a:pt x="22" y="2500"/>
                </a:lnTo>
                <a:lnTo>
                  <a:pt x="18" y="2494"/>
                </a:lnTo>
                <a:lnTo>
                  <a:pt x="15" y="2486"/>
                </a:lnTo>
                <a:lnTo>
                  <a:pt x="11" y="2477"/>
                </a:lnTo>
                <a:lnTo>
                  <a:pt x="8" y="2468"/>
                </a:lnTo>
                <a:lnTo>
                  <a:pt x="16" y="2456"/>
                </a:lnTo>
                <a:lnTo>
                  <a:pt x="24" y="2444"/>
                </a:lnTo>
                <a:lnTo>
                  <a:pt x="31" y="2432"/>
                </a:lnTo>
                <a:lnTo>
                  <a:pt x="41" y="2421"/>
                </a:lnTo>
                <a:lnTo>
                  <a:pt x="41" y="2396"/>
                </a:lnTo>
                <a:lnTo>
                  <a:pt x="38" y="2371"/>
                </a:lnTo>
                <a:lnTo>
                  <a:pt x="35" y="2348"/>
                </a:lnTo>
                <a:lnTo>
                  <a:pt x="31" y="2324"/>
                </a:lnTo>
                <a:lnTo>
                  <a:pt x="22" y="2278"/>
                </a:lnTo>
                <a:lnTo>
                  <a:pt x="12" y="2228"/>
                </a:lnTo>
                <a:lnTo>
                  <a:pt x="5" y="2228"/>
                </a:lnTo>
                <a:lnTo>
                  <a:pt x="2" y="2228"/>
                </a:lnTo>
                <a:lnTo>
                  <a:pt x="0" y="2226"/>
                </a:lnTo>
                <a:lnTo>
                  <a:pt x="0" y="2223"/>
                </a:lnTo>
                <a:lnTo>
                  <a:pt x="30" y="2211"/>
                </a:lnTo>
                <a:lnTo>
                  <a:pt x="61" y="2200"/>
                </a:lnTo>
                <a:lnTo>
                  <a:pt x="93" y="2189"/>
                </a:lnTo>
                <a:lnTo>
                  <a:pt x="123" y="2179"/>
                </a:lnTo>
                <a:lnTo>
                  <a:pt x="155" y="2171"/>
                </a:lnTo>
                <a:lnTo>
                  <a:pt x="186" y="2164"/>
                </a:lnTo>
                <a:lnTo>
                  <a:pt x="217" y="2159"/>
                </a:lnTo>
                <a:lnTo>
                  <a:pt x="250" y="2155"/>
                </a:lnTo>
                <a:lnTo>
                  <a:pt x="270" y="2141"/>
                </a:lnTo>
                <a:lnTo>
                  <a:pt x="285" y="2128"/>
                </a:lnTo>
                <a:lnTo>
                  <a:pt x="297" y="2115"/>
                </a:lnTo>
                <a:lnTo>
                  <a:pt x="307" y="2102"/>
                </a:lnTo>
                <a:lnTo>
                  <a:pt x="311" y="2095"/>
                </a:lnTo>
                <a:lnTo>
                  <a:pt x="314" y="2089"/>
                </a:lnTo>
                <a:lnTo>
                  <a:pt x="316" y="2081"/>
                </a:lnTo>
                <a:lnTo>
                  <a:pt x="319" y="2072"/>
                </a:lnTo>
                <a:lnTo>
                  <a:pt x="320" y="2063"/>
                </a:lnTo>
                <a:lnTo>
                  <a:pt x="320" y="2054"/>
                </a:lnTo>
                <a:lnTo>
                  <a:pt x="320" y="2042"/>
                </a:lnTo>
                <a:lnTo>
                  <a:pt x="319" y="2030"/>
                </a:lnTo>
                <a:lnTo>
                  <a:pt x="285" y="2015"/>
                </a:lnTo>
                <a:lnTo>
                  <a:pt x="253" y="2000"/>
                </a:lnTo>
                <a:lnTo>
                  <a:pt x="237" y="1994"/>
                </a:lnTo>
                <a:lnTo>
                  <a:pt x="221" y="1989"/>
                </a:lnTo>
                <a:lnTo>
                  <a:pt x="203" y="1984"/>
                </a:lnTo>
                <a:lnTo>
                  <a:pt x="185" y="1978"/>
                </a:lnTo>
                <a:lnTo>
                  <a:pt x="173" y="1959"/>
                </a:lnTo>
                <a:lnTo>
                  <a:pt x="165" y="1941"/>
                </a:lnTo>
                <a:lnTo>
                  <a:pt x="162" y="1932"/>
                </a:lnTo>
                <a:lnTo>
                  <a:pt x="159" y="1922"/>
                </a:lnTo>
                <a:lnTo>
                  <a:pt x="158" y="1913"/>
                </a:lnTo>
                <a:lnTo>
                  <a:pt x="156" y="1904"/>
                </a:lnTo>
                <a:lnTo>
                  <a:pt x="156" y="1895"/>
                </a:lnTo>
                <a:lnTo>
                  <a:pt x="156" y="1886"/>
                </a:lnTo>
                <a:lnTo>
                  <a:pt x="158" y="1876"/>
                </a:lnTo>
                <a:lnTo>
                  <a:pt x="160" y="1867"/>
                </a:lnTo>
                <a:lnTo>
                  <a:pt x="165" y="1846"/>
                </a:lnTo>
                <a:lnTo>
                  <a:pt x="173" y="1825"/>
                </a:lnTo>
                <a:lnTo>
                  <a:pt x="197" y="1822"/>
                </a:lnTo>
                <a:lnTo>
                  <a:pt x="217" y="1820"/>
                </a:lnTo>
                <a:lnTo>
                  <a:pt x="237" y="1817"/>
                </a:lnTo>
                <a:lnTo>
                  <a:pt x="255" y="1812"/>
                </a:lnTo>
                <a:lnTo>
                  <a:pt x="271" y="1807"/>
                </a:lnTo>
                <a:lnTo>
                  <a:pt x="285" y="1799"/>
                </a:lnTo>
                <a:lnTo>
                  <a:pt x="298" y="1791"/>
                </a:lnTo>
                <a:lnTo>
                  <a:pt x="309" y="1782"/>
                </a:lnTo>
                <a:lnTo>
                  <a:pt x="319" y="1770"/>
                </a:lnTo>
                <a:lnTo>
                  <a:pt x="328" y="1759"/>
                </a:lnTo>
                <a:lnTo>
                  <a:pt x="337" y="1744"/>
                </a:lnTo>
                <a:lnTo>
                  <a:pt x="344" y="1729"/>
                </a:lnTo>
                <a:lnTo>
                  <a:pt x="351" y="1712"/>
                </a:lnTo>
                <a:lnTo>
                  <a:pt x="358" y="1692"/>
                </a:lnTo>
                <a:lnTo>
                  <a:pt x="363" y="1671"/>
                </a:lnTo>
                <a:lnTo>
                  <a:pt x="370" y="1648"/>
                </a:lnTo>
                <a:lnTo>
                  <a:pt x="380" y="1635"/>
                </a:lnTo>
                <a:lnTo>
                  <a:pt x="389" y="1623"/>
                </a:lnTo>
                <a:lnTo>
                  <a:pt x="394" y="1610"/>
                </a:lnTo>
                <a:lnTo>
                  <a:pt x="397" y="1596"/>
                </a:lnTo>
                <a:lnTo>
                  <a:pt x="398" y="1583"/>
                </a:lnTo>
                <a:lnTo>
                  <a:pt x="396" y="1567"/>
                </a:lnTo>
                <a:lnTo>
                  <a:pt x="392" y="1553"/>
                </a:lnTo>
                <a:lnTo>
                  <a:pt x="385" y="1536"/>
                </a:lnTo>
                <a:lnTo>
                  <a:pt x="377" y="1536"/>
                </a:lnTo>
                <a:lnTo>
                  <a:pt x="371" y="1536"/>
                </a:lnTo>
                <a:lnTo>
                  <a:pt x="371" y="1526"/>
                </a:lnTo>
                <a:lnTo>
                  <a:pt x="370" y="1514"/>
                </a:lnTo>
                <a:lnTo>
                  <a:pt x="370" y="1504"/>
                </a:lnTo>
                <a:lnTo>
                  <a:pt x="370" y="1494"/>
                </a:lnTo>
                <a:lnTo>
                  <a:pt x="393" y="1475"/>
                </a:lnTo>
                <a:lnTo>
                  <a:pt x="417" y="1454"/>
                </a:lnTo>
                <a:lnTo>
                  <a:pt x="437" y="1432"/>
                </a:lnTo>
                <a:lnTo>
                  <a:pt x="458" y="1409"/>
                </a:lnTo>
                <a:lnTo>
                  <a:pt x="476" y="1384"/>
                </a:lnTo>
                <a:lnTo>
                  <a:pt x="495" y="1359"/>
                </a:lnTo>
                <a:lnTo>
                  <a:pt x="512" y="1333"/>
                </a:lnTo>
                <a:lnTo>
                  <a:pt x="527" y="1306"/>
                </a:lnTo>
                <a:lnTo>
                  <a:pt x="527" y="1259"/>
                </a:lnTo>
                <a:lnTo>
                  <a:pt x="527" y="1221"/>
                </a:lnTo>
                <a:lnTo>
                  <a:pt x="527" y="1206"/>
                </a:lnTo>
                <a:lnTo>
                  <a:pt x="526" y="1193"/>
                </a:lnTo>
                <a:lnTo>
                  <a:pt x="525" y="1180"/>
                </a:lnTo>
                <a:lnTo>
                  <a:pt x="522" y="1169"/>
                </a:lnTo>
                <a:lnTo>
                  <a:pt x="517" y="1160"/>
                </a:lnTo>
                <a:lnTo>
                  <a:pt x="510" y="1152"/>
                </a:lnTo>
                <a:lnTo>
                  <a:pt x="502" y="1144"/>
                </a:lnTo>
                <a:lnTo>
                  <a:pt x="492" y="1138"/>
                </a:lnTo>
                <a:lnTo>
                  <a:pt x="479" y="1133"/>
                </a:lnTo>
                <a:lnTo>
                  <a:pt x="463" y="1129"/>
                </a:lnTo>
                <a:lnTo>
                  <a:pt x="444" y="1125"/>
                </a:lnTo>
                <a:lnTo>
                  <a:pt x="422" y="1121"/>
                </a:lnTo>
                <a:lnTo>
                  <a:pt x="411" y="1105"/>
                </a:lnTo>
                <a:lnTo>
                  <a:pt x="401" y="1092"/>
                </a:lnTo>
                <a:lnTo>
                  <a:pt x="392" y="1081"/>
                </a:lnTo>
                <a:lnTo>
                  <a:pt x="381" y="1072"/>
                </a:lnTo>
                <a:lnTo>
                  <a:pt x="370" y="1065"/>
                </a:lnTo>
                <a:lnTo>
                  <a:pt x="358" y="1057"/>
                </a:lnTo>
                <a:lnTo>
                  <a:pt x="342" y="1051"/>
                </a:lnTo>
                <a:lnTo>
                  <a:pt x="325" y="1044"/>
                </a:lnTo>
                <a:lnTo>
                  <a:pt x="325" y="1033"/>
                </a:lnTo>
                <a:lnTo>
                  <a:pt x="325" y="1021"/>
                </a:lnTo>
                <a:lnTo>
                  <a:pt x="332" y="1018"/>
                </a:lnTo>
                <a:lnTo>
                  <a:pt x="337" y="1017"/>
                </a:lnTo>
                <a:lnTo>
                  <a:pt x="342" y="1013"/>
                </a:lnTo>
                <a:lnTo>
                  <a:pt x="348" y="1011"/>
                </a:lnTo>
                <a:lnTo>
                  <a:pt x="357" y="1003"/>
                </a:lnTo>
                <a:lnTo>
                  <a:pt x="363" y="992"/>
                </a:lnTo>
                <a:lnTo>
                  <a:pt x="368" y="982"/>
                </a:lnTo>
                <a:lnTo>
                  <a:pt x="371" y="969"/>
                </a:lnTo>
                <a:lnTo>
                  <a:pt x="374" y="956"/>
                </a:lnTo>
                <a:lnTo>
                  <a:pt x="376" y="943"/>
                </a:lnTo>
                <a:lnTo>
                  <a:pt x="376" y="914"/>
                </a:lnTo>
                <a:lnTo>
                  <a:pt x="375" y="886"/>
                </a:lnTo>
                <a:lnTo>
                  <a:pt x="372" y="858"/>
                </a:lnTo>
                <a:lnTo>
                  <a:pt x="370" y="835"/>
                </a:lnTo>
                <a:lnTo>
                  <a:pt x="340" y="804"/>
                </a:lnTo>
                <a:lnTo>
                  <a:pt x="323" y="784"/>
                </a:lnTo>
                <a:lnTo>
                  <a:pt x="311" y="769"/>
                </a:lnTo>
                <a:lnTo>
                  <a:pt x="297" y="748"/>
                </a:lnTo>
                <a:lnTo>
                  <a:pt x="294" y="718"/>
                </a:lnTo>
                <a:lnTo>
                  <a:pt x="292" y="688"/>
                </a:lnTo>
                <a:lnTo>
                  <a:pt x="290" y="658"/>
                </a:lnTo>
                <a:lnTo>
                  <a:pt x="290" y="627"/>
                </a:lnTo>
                <a:lnTo>
                  <a:pt x="292" y="597"/>
                </a:lnTo>
                <a:lnTo>
                  <a:pt x="296" y="568"/>
                </a:lnTo>
                <a:lnTo>
                  <a:pt x="298" y="554"/>
                </a:lnTo>
                <a:lnTo>
                  <a:pt x="301" y="540"/>
                </a:lnTo>
                <a:lnTo>
                  <a:pt x="305" y="525"/>
                </a:lnTo>
                <a:lnTo>
                  <a:pt x="310" y="511"/>
                </a:lnTo>
                <a:lnTo>
                  <a:pt x="310" y="491"/>
                </a:lnTo>
                <a:lnTo>
                  <a:pt x="310" y="472"/>
                </a:lnTo>
                <a:lnTo>
                  <a:pt x="310" y="452"/>
                </a:lnTo>
                <a:lnTo>
                  <a:pt x="310" y="434"/>
                </a:lnTo>
                <a:lnTo>
                  <a:pt x="297" y="407"/>
                </a:lnTo>
                <a:lnTo>
                  <a:pt x="285" y="382"/>
                </a:lnTo>
                <a:lnTo>
                  <a:pt x="281" y="370"/>
                </a:lnTo>
                <a:lnTo>
                  <a:pt x="277" y="359"/>
                </a:lnTo>
                <a:lnTo>
                  <a:pt x="273" y="347"/>
                </a:lnTo>
                <a:lnTo>
                  <a:pt x="272" y="335"/>
                </a:lnTo>
                <a:lnTo>
                  <a:pt x="270" y="324"/>
                </a:lnTo>
                <a:lnTo>
                  <a:pt x="270" y="312"/>
                </a:lnTo>
                <a:lnTo>
                  <a:pt x="271" y="300"/>
                </a:lnTo>
                <a:lnTo>
                  <a:pt x="272" y="287"/>
                </a:lnTo>
                <a:lnTo>
                  <a:pt x="275" y="274"/>
                </a:lnTo>
                <a:lnTo>
                  <a:pt x="279" y="260"/>
                </a:lnTo>
                <a:lnTo>
                  <a:pt x="284" y="246"/>
                </a:lnTo>
                <a:lnTo>
                  <a:pt x="290" y="230"/>
                </a:lnTo>
                <a:lnTo>
                  <a:pt x="283" y="218"/>
                </a:lnTo>
                <a:lnTo>
                  <a:pt x="277" y="207"/>
                </a:lnTo>
                <a:lnTo>
                  <a:pt x="273" y="194"/>
                </a:lnTo>
                <a:lnTo>
                  <a:pt x="271" y="181"/>
                </a:lnTo>
                <a:lnTo>
                  <a:pt x="268" y="153"/>
                </a:lnTo>
                <a:lnTo>
                  <a:pt x="268" y="125"/>
                </a:lnTo>
                <a:lnTo>
                  <a:pt x="280" y="118"/>
                </a:lnTo>
                <a:lnTo>
                  <a:pt x="293" y="113"/>
                </a:lnTo>
                <a:lnTo>
                  <a:pt x="306" y="108"/>
                </a:lnTo>
                <a:lnTo>
                  <a:pt x="319" y="105"/>
                </a:lnTo>
                <a:lnTo>
                  <a:pt x="333" y="101"/>
                </a:lnTo>
                <a:lnTo>
                  <a:pt x="346" y="99"/>
                </a:lnTo>
                <a:lnTo>
                  <a:pt x="359" y="93"/>
                </a:lnTo>
                <a:lnTo>
                  <a:pt x="371" y="88"/>
                </a:lnTo>
                <a:lnTo>
                  <a:pt x="379" y="65"/>
                </a:lnTo>
                <a:lnTo>
                  <a:pt x="387" y="43"/>
                </a:lnTo>
                <a:lnTo>
                  <a:pt x="394" y="22"/>
                </a:lnTo>
                <a:lnTo>
                  <a:pt x="402" y="0"/>
                </a:lnTo>
                <a:lnTo>
                  <a:pt x="406" y="13"/>
                </a:lnTo>
                <a:lnTo>
                  <a:pt x="409" y="26"/>
                </a:lnTo>
                <a:lnTo>
                  <a:pt x="410" y="39"/>
                </a:lnTo>
                <a:lnTo>
                  <a:pt x="411" y="52"/>
                </a:lnTo>
                <a:lnTo>
                  <a:pt x="413" y="78"/>
                </a:lnTo>
                <a:lnTo>
                  <a:pt x="414" y="102"/>
                </a:lnTo>
                <a:lnTo>
                  <a:pt x="415" y="115"/>
                </a:lnTo>
                <a:lnTo>
                  <a:pt x="417" y="128"/>
                </a:lnTo>
                <a:lnTo>
                  <a:pt x="420" y="140"/>
                </a:lnTo>
                <a:lnTo>
                  <a:pt x="424" y="153"/>
                </a:lnTo>
                <a:lnTo>
                  <a:pt x="430" y="166"/>
                </a:lnTo>
                <a:lnTo>
                  <a:pt x="437" y="178"/>
                </a:lnTo>
                <a:lnTo>
                  <a:pt x="446" y="191"/>
                </a:lnTo>
                <a:lnTo>
                  <a:pt x="458" y="204"/>
                </a:lnTo>
                <a:lnTo>
                  <a:pt x="458" y="222"/>
                </a:lnTo>
                <a:lnTo>
                  <a:pt x="459" y="239"/>
                </a:lnTo>
                <a:lnTo>
                  <a:pt x="462" y="247"/>
                </a:lnTo>
                <a:lnTo>
                  <a:pt x="466" y="252"/>
                </a:lnTo>
                <a:lnTo>
                  <a:pt x="472" y="257"/>
                </a:lnTo>
                <a:lnTo>
                  <a:pt x="482" y="261"/>
                </a:lnTo>
                <a:lnTo>
                  <a:pt x="488" y="286"/>
                </a:lnTo>
                <a:lnTo>
                  <a:pt x="495" y="309"/>
                </a:lnTo>
                <a:lnTo>
                  <a:pt x="498" y="321"/>
                </a:lnTo>
                <a:lnTo>
                  <a:pt x="502" y="331"/>
                </a:lnTo>
                <a:lnTo>
                  <a:pt x="508" y="342"/>
                </a:lnTo>
                <a:lnTo>
                  <a:pt x="513" y="351"/>
                </a:lnTo>
                <a:lnTo>
                  <a:pt x="519" y="360"/>
                </a:lnTo>
                <a:lnTo>
                  <a:pt x="526" y="368"/>
                </a:lnTo>
                <a:lnTo>
                  <a:pt x="534" y="374"/>
                </a:lnTo>
                <a:lnTo>
                  <a:pt x="543" y="381"/>
                </a:lnTo>
                <a:lnTo>
                  <a:pt x="553" y="386"/>
                </a:lnTo>
                <a:lnTo>
                  <a:pt x="564" y="389"/>
                </a:lnTo>
                <a:lnTo>
                  <a:pt x="575" y="391"/>
                </a:lnTo>
                <a:lnTo>
                  <a:pt x="588" y="393"/>
                </a:lnTo>
                <a:lnTo>
                  <a:pt x="599" y="382"/>
                </a:lnTo>
                <a:lnTo>
                  <a:pt x="608" y="373"/>
                </a:lnTo>
                <a:lnTo>
                  <a:pt x="614" y="361"/>
                </a:lnTo>
                <a:lnTo>
                  <a:pt x="621" y="351"/>
                </a:lnTo>
                <a:lnTo>
                  <a:pt x="630" y="328"/>
                </a:lnTo>
                <a:lnTo>
                  <a:pt x="638" y="304"/>
                </a:lnTo>
                <a:lnTo>
                  <a:pt x="643" y="292"/>
                </a:lnTo>
                <a:lnTo>
                  <a:pt x="648" y="282"/>
                </a:lnTo>
                <a:lnTo>
                  <a:pt x="655" y="272"/>
                </a:lnTo>
                <a:lnTo>
                  <a:pt x="664" y="261"/>
                </a:lnTo>
                <a:lnTo>
                  <a:pt x="673" y="252"/>
                </a:lnTo>
                <a:lnTo>
                  <a:pt x="686" y="243"/>
                </a:lnTo>
                <a:lnTo>
                  <a:pt x="700" y="235"/>
                </a:lnTo>
                <a:lnTo>
                  <a:pt x="717" y="229"/>
                </a:lnTo>
                <a:lnTo>
                  <a:pt x="726" y="209"/>
                </a:lnTo>
                <a:lnTo>
                  <a:pt x="735" y="192"/>
                </a:lnTo>
                <a:lnTo>
                  <a:pt x="751" y="191"/>
                </a:lnTo>
                <a:lnTo>
                  <a:pt x="768" y="190"/>
                </a:lnTo>
                <a:lnTo>
                  <a:pt x="785" y="188"/>
                </a:lnTo>
                <a:lnTo>
                  <a:pt x="803" y="188"/>
                </a:lnTo>
                <a:lnTo>
                  <a:pt x="808" y="203"/>
                </a:lnTo>
                <a:lnTo>
                  <a:pt x="812" y="217"/>
                </a:lnTo>
                <a:lnTo>
                  <a:pt x="813" y="233"/>
                </a:lnTo>
                <a:lnTo>
                  <a:pt x="813" y="247"/>
                </a:lnTo>
                <a:lnTo>
                  <a:pt x="811" y="275"/>
                </a:lnTo>
                <a:lnTo>
                  <a:pt x="808" y="304"/>
                </a:lnTo>
                <a:lnTo>
                  <a:pt x="807" y="318"/>
                </a:lnTo>
                <a:lnTo>
                  <a:pt x="806" y="331"/>
                </a:lnTo>
                <a:lnTo>
                  <a:pt x="807" y="346"/>
                </a:lnTo>
                <a:lnTo>
                  <a:pt x="809" y="360"/>
                </a:lnTo>
                <a:lnTo>
                  <a:pt x="815" y="373"/>
                </a:lnTo>
                <a:lnTo>
                  <a:pt x="821" y="387"/>
                </a:lnTo>
                <a:lnTo>
                  <a:pt x="832" y="402"/>
                </a:lnTo>
                <a:lnTo>
                  <a:pt x="845" y="415"/>
                </a:lnTo>
                <a:lnTo>
                  <a:pt x="880" y="421"/>
                </a:lnTo>
                <a:lnTo>
                  <a:pt x="914" y="428"/>
                </a:lnTo>
                <a:lnTo>
                  <a:pt x="949" y="434"/>
                </a:lnTo>
                <a:lnTo>
                  <a:pt x="984" y="442"/>
                </a:lnTo>
                <a:lnTo>
                  <a:pt x="1020" y="434"/>
                </a:lnTo>
                <a:lnTo>
                  <a:pt x="1057" y="426"/>
                </a:lnTo>
                <a:lnTo>
                  <a:pt x="1075" y="424"/>
                </a:lnTo>
                <a:lnTo>
                  <a:pt x="1093" y="421"/>
                </a:lnTo>
                <a:lnTo>
                  <a:pt x="1111" y="420"/>
                </a:lnTo>
                <a:lnTo>
                  <a:pt x="1129" y="420"/>
                </a:lnTo>
                <a:lnTo>
                  <a:pt x="1148" y="420"/>
                </a:lnTo>
                <a:lnTo>
                  <a:pt x="1166" y="421"/>
                </a:lnTo>
                <a:lnTo>
                  <a:pt x="1184" y="424"/>
                </a:lnTo>
                <a:lnTo>
                  <a:pt x="1201" y="428"/>
                </a:lnTo>
                <a:lnTo>
                  <a:pt x="1219" y="433"/>
                </a:lnTo>
                <a:lnTo>
                  <a:pt x="1236" y="439"/>
                </a:lnTo>
                <a:lnTo>
                  <a:pt x="1253" y="447"/>
                </a:lnTo>
                <a:lnTo>
                  <a:pt x="1270" y="458"/>
                </a:lnTo>
                <a:lnTo>
                  <a:pt x="1269" y="469"/>
                </a:lnTo>
                <a:lnTo>
                  <a:pt x="1266" y="482"/>
                </a:lnTo>
                <a:lnTo>
                  <a:pt x="1263" y="497"/>
                </a:lnTo>
                <a:lnTo>
                  <a:pt x="1258" y="512"/>
                </a:lnTo>
                <a:lnTo>
                  <a:pt x="1253" y="528"/>
                </a:lnTo>
                <a:lnTo>
                  <a:pt x="1245" y="545"/>
                </a:lnTo>
                <a:lnTo>
                  <a:pt x="1239" y="562"/>
                </a:lnTo>
                <a:lnTo>
                  <a:pt x="1230" y="579"/>
                </a:lnTo>
                <a:lnTo>
                  <a:pt x="1222" y="594"/>
                </a:lnTo>
                <a:lnTo>
                  <a:pt x="1211" y="610"/>
                </a:lnTo>
                <a:lnTo>
                  <a:pt x="1202" y="624"/>
                </a:lnTo>
                <a:lnTo>
                  <a:pt x="1193" y="637"/>
                </a:lnTo>
                <a:lnTo>
                  <a:pt x="1183" y="649"/>
                </a:lnTo>
                <a:lnTo>
                  <a:pt x="1174" y="659"/>
                </a:lnTo>
                <a:lnTo>
                  <a:pt x="1163" y="667"/>
                </a:lnTo>
                <a:lnTo>
                  <a:pt x="1154" y="672"/>
                </a:lnTo>
                <a:lnTo>
                  <a:pt x="1141" y="696"/>
                </a:lnTo>
                <a:lnTo>
                  <a:pt x="1128" y="714"/>
                </a:lnTo>
                <a:lnTo>
                  <a:pt x="1123" y="720"/>
                </a:lnTo>
                <a:lnTo>
                  <a:pt x="1116" y="726"/>
                </a:lnTo>
                <a:lnTo>
                  <a:pt x="1111" y="730"/>
                </a:lnTo>
                <a:lnTo>
                  <a:pt x="1105" y="733"/>
                </a:lnTo>
                <a:lnTo>
                  <a:pt x="1098" y="737"/>
                </a:lnTo>
                <a:lnTo>
                  <a:pt x="1090" y="739"/>
                </a:lnTo>
                <a:lnTo>
                  <a:pt x="1083" y="741"/>
                </a:lnTo>
                <a:lnTo>
                  <a:pt x="1074" y="743"/>
                </a:lnTo>
                <a:lnTo>
                  <a:pt x="1053" y="744"/>
                </a:lnTo>
                <a:lnTo>
                  <a:pt x="1028" y="746"/>
                </a:lnTo>
                <a:lnTo>
                  <a:pt x="1011" y="766"/>
                </a:lnTo>
                <a:lnTo>
                  <a:pt x="995" y="783"/>
                </a:lnTo>
                <a:lnTo>
                  <a:pt x="980" y="802"/>
                </a:lnTo>
                <a:lnTo>
                  <a:pt x="964" y="824"/>
                </a:lnTo>
                <a:lnTo>
                  <a:pt x="962" y="840"/>
                </a:lnTo>
                <a:lnTo>
                  <a:pt x="958" y="854"/>
                </a:lnTo>
                <a:lnTo>
                  <a:pt x="954" y="869"/>
                </a:lnTo>
                <a:lnTo>
                  <a:pt x="949" y="883"/>
                </a:lnTo>
                <a:lnTo>
                  <a:pt x="940" y="910"/>
                </a:lnTo>
                <a:lnTo>
                  <a:pt x="933" y="935"/>
                </a:lnTo>
                <a:lnTo>
                  <a:pt x="932" y="948"/>
                </a:lnTo>
                <a:lnTo>
                  <a:pt x="932" y="960"/>
                </a:lnTo>
                <a:lnTo>
                  <a:pt x="933" y="971"/>
                </a:lnTo>
                <a:lnTo>
                  <a:pt x="937" y="983"/>
                </a:lnTo>
                <a:lnTo>
                  <a:pt x="942" y="995"/>
                </a:lnTo>
                <a:lnTo>
                  <a:pt x="951" y="1007"/>
                </a:lnTo>
                <a:lnTo>
                  <a:pt x="963" y="1017"/>
                </a:lnTo>
                <a:lnTo>
                  <a:pt x="977" y="1029"/>
                </a:lnTo>
                <a:lnTo>
                  <a:pt x="977" y="1038"/>
                </a:lnTo>
                <a:lnTo>
                  <a:pt x="979" y="1046"/>
                </a:lnTo>
                <a:lnTo>
                  <a:pt x="979" y="1051"/>
                </a:lnTo>
                <a:lnTo>
                  <a:pt x="981" y="1056"/>
                </a:lnTo>
                <a:lnTo>
                  <a:pt x="988" y="1066"/>
                </a:lnTo>
                <a:lnTo>
                  <a:pt x="998" y="1078"/>
                </a:lnTo>
                <a:lnTo>
                  <a:pt x="966" y="1113"/>
                </a:lnTo>
                <a:lnTo>
                  <a:pt x="937" y="1139"/>
                </a:lnTo>
                <a:lnTo>
                  <a:pt x="932" y="1147"/>
                </a:lnTo>
                <a:lnTo>
                  <a:pt x="927" y="1154"/>
                </a:lnTo>
                <a:lnTo>
                  <a:pt x="923" y="1161"/>
                </a:lnTo>
                <a:lnTo>
                  <a:pt x="919" y="1171"/>
                </a:lnTo>
                <a:lnTo>
                  <a:pt x="916" y="1180"/>
                </a:lnTo>
                <a:lnTo>
                  <a:pt x="915" y="1191"/>
                </a:lnTo>
                <a:lnTo>
                  <a:pt x="915" y="1203"/>
                </a:lnTo>
                <a:lnTo>
                  <a:pt x="916" y="1217"/>
                </a:lnTo>
                <a:lnTo>
                  <a:pt x="934" y="1217"/>
                </a:lnTo>
                <a:lnTo>
                  <a:pt x="955" y="1219"/>
                </a:lnTo>
                <a:lnTo>
                  <a:pt x="975" y="1220"/>
                </a:lnTo>
                <a:lnTo>
                  <a:pt x="994" y="1221"/>
                </a:lnTo>
                <a:lnTo>
                  <a:pt x="999" y="1236"/>
                </a:lnTo>
                <a:lnTo>
                  <a:pt x="1005" y="1250"/>
                </a:lnTo>
                <a:lnTo>
                  <a:pt x="1014" y="1252"/>
                </a:lnTo>
                <a:lnTo>
                  <a:pt x="1025" y="1255"/>
                </a:lnTo>
                <a:lnTo>
                  <a:pt x="1027" y="1267"/>
                </a:lnTo>
                <a:lnTo>
                  <a:pt x="1031" y="1280"/>
                </a:lnTo>
                <a:lnTo>
                  <a:pt x="1036" y="1292"/>
                </a:lnTo>
                <a:lnTo>
                  <a:pt x="1044" y="1303"/>
                </a:lnTo>
                <a:lnTo>
                  <a:pt x="1053" y="1314"/>
                </a:lnTo>
                <a:lnTo>
                  <a:pt x="1062" y="1323"/>
                </a:lnTo>
                <a:lnTo>
                  <a:pt x="1067" y="1325"/>
                </a:lnTo>
                <a:lnTo>
                  <a:pt x="1072" y="1329"/>
                </a:lnTo>
                <a:lnTo>
                  <a:pt x="1077" y="1331"/>
                </a:lnTo>
                <a:lnTo>
                  <a:pt x="1083" y="1332"/>
                </a:lnTo>
                <a:lnTo>
                  <a:pt x="1084" y="1342"/>
                </a:lnTo>
                <a:lnTo>
                  <a:pt x="1084" y="1354"/>
                </a:lnTo>
                <a:lnTo>
                  <a:pt x="1085" y="1366"/>
                </a:lnTo>
                <a:lnTo>
                  <a:pt x="1087" y="1376"/>
                </a:lnTo>
                <a:lnTo>
                  <a:pt x="1111" y="1394"/>
                </a:lnTo>
                <a:lnTo>
                  <a:pt x="1136" y="1410"/>
                </a:lnTo>
                <a:lnTo>
                  <a:pt x="1142" y="1412"/>
                </a:lnTo>
                <a:lnTo>
                  <a:pt x="1150" y="1415"/>
                </a:lnTo>
                <a:lnTo>
                  <a:pt x="1157" y="1416"/>
                </a:lnTo>
                <a:lnTo>
                  <a:pt x="1163" y="1416"/>
                </a:lnTo>
                <a:lnTo>
                  <a:pt x="1171" y="1416"/>
                </a:lnTo>
                <a:lnTo>
                  <a:pt x="1178" y="1415"/>
                </a:lnTo>
                <a:lnTo>
                  <a:pt x="1185" y="1412"/>
                </a:lnTo>
                <a:lnTo>
                  <a:pt x="1193" y="1410"/>
                </a:lnTo>
                <a:lnTo>
                  <a:pt x="1200" y="1445"/>
                </a:lnTo>
                <a:lnTo>
                  <a:pt x="1205" y="1485"/>
                </a:lnTo>
                <a:lnTo>
                  <a:pt x="1209" y="1504"/>
                </a:lnTo>
                <a:lnTo>
                  <a:pt x="1215" y="1522"/>
                </a:lnTo>
                <a:lnTo>
                  <a:pt x="1219" y="1530"/>
                </a:lnTo>
                <a:lnTo>
                  <a:pt x="1224" y="1536"/>
                </a:lnTo>
                <a:lnTo>
                  <a:pt x="1231" y="1543"/>
                </a:lnTo>
                <a:lnTo>
                  <a:pt x="1237" y="1548"/>
                </a:lnTo>
                <a:lnTo>
                  <a:pt x="1240" y="1567"/>
                </a:lnTo>
                <a:lnTo>
                  <a:pt x="1241" y="1580"/>
                </a:lnTo>
                <a:lnTo>
                  <a:pt x="1241" y="1587"/>
                </a:lnTo>
                <a:lnTo>
                  <a:pt x="1240" y="1591"/>
                </a:lnTo>
                <a:lnTo>
                  <a:pt x="1240" y="1595"/>
                </a:lnTo>
                <a:lnTo>
                  <a:pt x="1237" y="1599"/>
                </a:lnTo>
                <a:lnTo>
                  <a:pt x="1232" y="1605"/>
                </a:lnTo>
                <a:lnTo>
                  <a:pt x="1223" y="1612"/>
                </a:lnTo>
                <a:lnTo>
                  <a:pt x="1210" y="1618"/>
                </a:lnTo>
                <a:lnTo>
                  <a:pt x="1193" y="1627"/>
                </a:lnTo>
                <a:lnTo>
                  <a:pt x="1188" y="1640"/>
                </a:lnTo>
                <a:lnTo>
                  <a:pt x="1185" y="1652"/>
                </a:lnTo>
                <a:lnTo>
                  <a:pt x="1183" y="1665"/>
                </a:lnTo>
                <a:lnTo>
                  <a:pt x="1182" y="1678"/>
                </a:lnTo>
                <a:lnTo>
                  <a:pt x="1180" y="1690"/>
                </a:lnTo>
                <a:lnTo>
                  <a:pt x="1176" y="1700"/>
                </a:lnTo>
                <a:lnTo>
                  <a:pt x="1172" y="1706"/>
                </a:lnTo>
                <a:lnTo>
                  <a:pt x="1169" y="1712"/>
                </a:lnTo>
                <a:lnTo>
                  <a:pt x="1165" y="1716"/>
                </a:lnTo>
                <a:lnTo>
                  <a:pt x="1158" y="1721"/>
                </a:lnTo>
                <a:lnTo>
                  <a:pt x="1161" y="1756"/>
                </a:lnTo>
                <a:lnTo>
                  <a:pt x="1162" y="1791"/>
                </a:lnTo>
                <a:lnTo>
                  <a:pt x="1161" y="1799"/>
                </a:lnTo>
                <a:lnTo>
                  <a:pt x="1159" y="1808"/>
                </a:lnTo>
                <a:lnTo>
                  <a:pt x="1157" y="1814"/>
                </a:lnTo>
                <a:lnTo>
                  <a:pt x="1153" y="1822"/>
                </a:lnTo>
                <a:lnTo>
                  <a:pt x="1149" y="1829"/>
                </a:lnTo>
                <a:lnTo>
                  <a:pt x="1142" y="1834"/>
                </a:lnTo>
                <a:lnTo>
                  <a:pt x="1136" y="1839"/>
                </a:lnTo>
                <a:lnTo>
                  <a:pt x="1127" y="1844"/>
                </a:lnTo>
                <a:lnTo>
                  <a:pt x="1127" y="1850"/>
                </a:lnTo>
                <a:lnTo>
                  <a:pt x="1127" y="1857"/>
                </a:lnTo>
                <a:lnTo>
                  <a:pt x="1115" y="1863"/>
                </a:lnTo>
                <a:lnTo>
                  <a:pt x="1106" y="1869"/>
                </a:lnTo>
                <a:lnTo>
                  <a:pt x="1098" y="1874"/>
                </a:lnTo>
                <a:lnTo>
                  <a:pt x="1092" y="1882"/>
                </a:lnTo>
                <a:lnTo>
                  <a:pt x="1083" y="1900"/>
                </a:lnTo>
                <a:lnTo>
                  <a:pt x="1072" y="1922"/>
                </a:lnTo>
                <a:lnTo>
                  <a:pt x="1051" y="1929"/>
                </a:lnTo>
                <a:lnTo>
                  <a:pt x="1031" y="1937"/>
                </a:lnTo>
                <a:lnTo>
                  <a:pt x="1011" y="1945"/>
                </a:lnTo>
                <a:lnTo>
                  <a:pt x="992" y="1954"/>
                </a:lnTo>
                <a:lnTo>
                  <a:pt x="975" y="1963"/>
                </a:lnTo>
                <a:lnTo>
                  <a:pt x="959" y="1973"/>
                </a:lnTo>
                <a:lnTo>
                  <a:pt x="945" y="1984"/>
                </a:lnTo>
                <a:lnTo>
                  <a:pt x="933" y="1995"/>
                </a:lnTo>
                <a:lnTo>
                  <a:pt x="929" y="2002"/>
                </a:lnTo>
                <a:lnTo>
                  <a:pt x="924" y="2008"/>
                </a:lnTo>
                <a:lnTo>
                  <a:pt x="921" y="2015"/>
                </a:lnTo>
                <a:lnTo>
                  <a:pt x="917" y="2021"/>
                </a:lnTo>
                <a:lnTo>
                  <a:pt x="916" y="2029"/>
                </a:lnTo>
                <a:lnTo>
                  <a:pt x="915" y="2037"/>
                </a:lnTo>
                <a:lnTo>
                  <a:pt x="915" y="2045"/>
                </a:lnTo>
                <a:lnTo>
                  <a:pt x="915" y="2053"/>
                </a:lnTo>
                <a:lnTo>
                  <a:pt x="916" y="2062"/>
                </a:lnTo>
                <a:lnTo>
                  <a:pt x="919" y="2069"/>
                </a:lnTo>
                <a:lnTo>
                  <a:pt x="921" y="2079"/>
                </a:lnTo>
                <a:lnTo>
                  <a:pt x="927" y="2088"/>
                </a:lnTo>
                <a:lnTo>
                  <a:pt x="932" y="2098"/>
                </a:lnTo>
                <a:lnTo>
                  <a:pt x="938" y="2107"/>
                </a:lnTo>
                <a:lnTo>
                  <a:pt x="946" y="2118"/>
                </a:lnTo>
                <a:lnTo>
                  <a:pt x="954" y="2128"/>
                </a:lnTo>
                <a:lnTo>
                  <a:pt x="954" y="2161"/>
                </a:lnTo>
                <a:lnTo>
                  <a:pt x="951" y="2192"/>
                </a:lnTo>
                <a:lnTo>
                  <a:pt x="950" y="2223"/>
                </a:lnTo>
                <a:lnTo>
                  <a:pt x="949" y="2253"/>
                </a:lnTo>
                <a:lnTo>
                  <a:pt x="949" y="2283"/>
                </a:lnTo>
                <a:lnTo>
                  <a:pt x="951" y="2313"/>
                </a:lnTo>
                <a:lnTo>
                  <a:pt x="954" y="2328"/>
                </a:lnTo>
                <a:lnTo>
                  <a:pt x="956" y="2344"/>
                </a:lnTo>
                <a:lnTo>
                  <a:pt x="960" y="2361"/>
                </a:lnTo>
                <a:lnTo>
                  <a:pt x="966" y="2376"/>
                </a:lnTo>
                <a:lnTo>
                  <a:pt x="976" y="2387"/>
                </a:lnTo>
                <a:lnTo>
                  <a:pt x="985" y="2396"/>
                </a:lnTo>
                <a:lnTo>
                  <a:pt x="990" y="2405"/>
                </a:lnTo>
                <a:lnTo>
                  <a:pt x="994" y="2415"/>
                </a:lnTo>
                <a:lnTo>
                  <a:pt x="999" y="2436"/>
                </a:lnTo>
                <a:lnTo>
                  <a:pt x="1005" y="2461"/>
                </a:lnTo>
                <a:lnTo>
                  <a:pt x="1044" y="2458"/>
                </a:lnTo>
                <a:lnTo>
                  <a:pt x="1083" y="2457"/>
                </a:lnTo>
                <a:lnTo>
                  <a:pt x="1122" y="2455"/>
                </a:lnTo>
                <a:lnTo>
                  <a:pt x="1161" y="2453"/>
                </a:lnTo>
                <a:lnTo>
                  <a:pt x="1161" y="2440"/>
                </a:lnTo>
                <a:lnTo>
                  <a:pt x="1161" y="2428"/>
                </a:lnTo>
                <a:lnTo>
                  <a:pt x="1169" y="2428"/>
                </a:lnTo>
                <a:lnTo>
                  <a:pt x="1179" y="2428"/>
                </a:lnTo>
                <a:lnTo>
                  <a:pt x="1185" y="2414"/>
                </a:lnTo>
                <a:lnTo>
                  <a:pt x="1191" y="2400"/>
                </a:lnTo>
                <a:lnTo>
                  <a:pt x="1206" y="2397"/>
                </a:lnTo>
                <a:lnTo>
                  <a:pt x="1223" y="2396"/>
                </a:lnTo>
                <a:lnTo>
                  <a:pt x="1227" y="2402"/>
                </a:lnTo>
                <a:lnTo>
                  <a:pt x="1230" y="2409"/>
                </a:lnTo>
                <a:lnTo>
                  <a:pt x="1243" y="2413"/>
                </a:lnTo>
                <a:lnTo>
                  <a:pt x="1256" y="2415"/>
                </a:lnTo>
                <a:lnTo>
                  <a:pt x="1256" y="2395"/>
                </a:lnTo>
                <a:lnTo>
                  <a:pt x="1254" y="2375"/>
                </a:lnTo>
                <a:lnTo>
                  <a:pt x="1254" y="2354"/>
                </a:lnTo>
                <a:lnTo>
                  <a:pt x="1254" y="2335"/>
                </a:lnTo>
                <a:lnTo>
                  <a:pt x="1262" y="2337"/>
                </a:lnTo>
                <a:lnTo>
                  <a:pt x="1270" y="2341"/>
                </a:lnTo>
                <a:lnTo>
                  <a:pt x="1275" y="2345"/>
                </a:lnTo>
                <a:lnTo>
                  <a:pt x="1279" y="2350"/>
                </a:lnTo>
                <a:lnTo>
                  <a:pt x="1286" y="2362"/>
                </a:lnTo>
                <a:lnTo>
                  <a:pt x="1293" y="2379"/>
                </a:lnTo>
                <a:lnTo>
                  <a:pt x="1314" y="2387"/>
                </a:lnTo>
                <a:lnTo>
                  <a:pt x="1338" y="2395"/>
                </a:lnTo>
                <a:lnTo>
                  <a:pt x="1361" y="2401"/>
                </a:lnTo>
                <a:lnTo>
                  <a:pt x="1379" y="2408"/>
                </a:lnTo>
                <a:lnTo>
                  <a:pt x="1384" y="2418"/>
                </a:lnTo>
                <a:lnTo>
                  <a:pt x="1390" y="2423"/>
                </a:lnTo>
                <a:lnTo>
                  <a:pt x="1395" y="2428"/>
                </a:lnTo>
                <a:lnTo>
                  <a:pt x="1403" y="2435"/>
                </a:lnTo>
                <a:lnTo>
                  <a:pt x="1418" y="2428"/>
                </a:lnTo>
                <a:lnTo>
                  <a:pt x="1434" y="2425"/>
                </a:lnTo>
                <a:lnTo>
                  <a:pt x="1450" y="2422"/>
                </a:lnTo>
                <a:lnTo>
                  <a:pt x="1464" y="2419"/>
                </a:lnTo>
                <a:lnTo>
                  <a:pt x="1478" y="2419"/>
                </a:lnTo>
                <a:lnTo>
                  <a:pt x="1491" y="2421"/>
                </a:lnTo>
                <a:lnTo>
                  <a:pt x="1504" y="2423"/>
                </a:lnTo>
                <a:lnTo>
                  <a:pt x="1515" y="2427"/>
                </a:lnTo>
                <a:lnTo>
                  <a:pt x="1526" y="2434"/>
                </a:lnTo>
                <a:lnTo>
                  <a:pt x="1537" y="2442"/>
                </a:lnTo>
                <a:lnTo>
                  <a:pt x="1546" y="2451"/>
                </a:lnTo>
                <a:lnTo>
                  <a:pt x="1554" y="2461"/>
                </a:lnTo>
                <a:lnTo>
                  <a:pt x="1561" y="2474"/>
                </a:lnTo>
                <a:lnTo>
                  <a:pt x="1568" y="2490"/>
                </a:lnTo>
                <a:lnTo>
                  <a:pt x="1573" y="2507"/>
                </a:lnTo>
                <a:lnTo>
                  <a:pt x="1577" y="2525"/>
                </a:lnTo>
                <a:lnTo>
                  <a:pt x="1568" y="2527"/>
                </a:lnTo>
                <a:lnTo>
                  <a:pt x="1560" y="2530"/>
                </a:lnTo>
                <a:lnTo>
                  <a:pt x="1554" y="2534"/>
                </a:lnTo>
                <a:lnTo>
                  <a:pt x="1550" y="2539"/>
                </a:lnTo>
                <a:lnTo>
                  <a:pt x="1546" y="2544"/>
                </a:lnTo>
                <a:lnTo>
                  <a:pt x="1544" y="2552"/>
                </a:lnTo>
                <a:lnTo>
                  <a:pt x="1543" y="2560"/>
                </a:lnTo>
                <a:lnTo>
                  <a:pt x="1543" y="2569"/>
                </a:lnTo>
                <a:lnTo>
                  <a:pt x="1555" y="2578"/>
                </a:lnTo>
                <a:lnTo>
                  <a:pt x="1565" y="2586"/>
                </a:lnTo>
                <a:lnTo>
                  <a:pt x="1559" y="2592"/>
                </a:lnTo>
                <a:lnTo>
                  <a:pt x="1551" y="2599"/>
                </a:lnTo>
                <a:lnTo>
                  <a:pt x="1544" y="2605"/>
                </a:lnTo>
                <a:lnTo>
                  <a:pt x="1538" y="2613"/>
                </a:lnTo>
                <a:lnTo>
                  <a:pt x="1528" y="2630"/>
                </a:lnTo>
                <a:lnTo>
                  <a:pt x="1517" y="2650"/>
                </a:lnTo>
                <a:lnTo>
                  <a:pt x="1509" y="2670"/>
                </a:lnTo>
                <a:lnTo>
                  <a:pt x="1504" y="2693"/>
                </a:lnTo>
                <a:lnTo>
                  <a:pt x="1499" y="2715"/>
                </a:lnTo>
                <a:lnTo>
                  <a:pt x="1498" y="2737"/>
                </a:lnTo>
                <a:lnTo>
                  <a:pt x="1496" y="2760"/>
                </a:lnTo>
                <a:lnTo>
                  <a:pt x="1499" y="2782"/>
                </a:lnTo>
                <a:lnTo>
                  <a:pt x="1503" y="2803"/>
                </a:lnTo>
                <a:lnTo>
                  <a:pt x="1509" y="2824"/>
                </a:lnTo>
                <a:lnTo>
                  <a:pt x="1513" y="2834"/>
                </a:lnTo>
                <a:lnTo>
                  <a:pt x="1517" y="2843"/>
                </a:lnTo>
                <a:lnTo>
                  <a:pt x="1522" y="2851"/>
                </a:lnTo>
                <a:lnTo>
                  <a:pt x="1529" y="2860"/>
                </a:lnTo>
                <a:lnTo>
                  <a:pt x="1535" y="2867"/>
                </a:lnTo>
                <a:lnTo>
                  <a:pt x="1542" y="2875"/>
                </a:lnTo>
                <a:lnTo>
                  <a:pt x="1550" y="2881"/>
                </a:lnTo>
                <a:lnTo>
                  <a:pt x="1559" y="2886"/>
                </a:lnTo>
                <a:lnTo>
                  <a:pt x="1589" y="2886"/>
                </a:lnTo>
                <a:lnTo>
                  <a:pt x="1619" y="2888"/>
                </a:lnTo>
                <a:lnTo>
                  <a:pt x="1649" y="2889"/>
                </a:lnTo>
                <a:lnTo>
                  <a:pt x="1680" y="2890"/>
                </a:lnTo>
                <a:lnTo>
                  <a:pt x="1682" y="2902"/>
                </a:lnTo>
                <a:lnTo>
                  <a:pt x="1685" y="2915"/>
                </a:lnTo>
                <a:lnTo>
                  <a:pt x="1716" y="2914"/>
                </a:lnTo>
                <a:lnTo>
                  <a:pt x="1747" y="2914"/>
                </a:lnTo>
                <a:lnTo>
                  <a:pt x="1779" y="2914"/>
                </a:lnTo>
                <a:lnTo>
                  <a:pt x="1810" y="2914"/>
                </a:lnTo>
                <a:lnTo>
                  <a:pt x="1819" y="2902"/>
                </a:lnTo>
                <a:lnTo>
                  <a:pt x="1828" y="2890"/>
                </a:lnTo>
                <a:lnTo>
                  <a:pt x="1861" y="2889"/>
                </a:lnTo>
                <a:lnTo>
                  <a:pt x="1894" y="2888"/>
                </a:lnTo>
                <a:lnTo>
                  <a:pt x="1927" y="2885"/>
                </a:lnTo>
                <a:lnTo>
                  <a:pt x="1960" y="2883"/>
                </a:lnTo>
                <a:lnTo>
                  <a:pt x="1992" y="2880"/>
                </a:lnTo>
                <a:lnTo>
                  <a:pt x="2025" y="2876"/>
                </a:lnTo>
                <a:lnTo>
                  <a:pt x="2058" y="2873"/>
                </a:lnTo>
                <a:lnTo>
                  <a:pt x="2091" y="2871"/>
                </a:lnTo>
                <a:lnTo>
                  <a:pt x="2097" y="2856"/>
                </a:lnTo>
                <a:lnTo>
                  <a:pt x="2104" y="2845"/>
                </a:lnTo>
                <a:lnTo>
                  <a:pt x="2112" y="2836"/>
                </a:lnTo>
                <a:lnTo>
                  <a:pt x="2120" y="2828"/>
                </a:lnTo>
                <a:lnTo>
                  <a:pt x="2127" y="2820"/>
                </a:lnTo>
                <a:lnTo>
                  <a:pt x="2135" y="2812"/>
                </a:lnTo>
                <a:lnTo>
                  <a:pt x="2142" y="2804"/>
                </a:lnTo>
                <a:lnTo>
                  <a:pt x="2147" y="2794"/>
                </a:lnTo>
                <a:lnTo>
                  <a:pt x="2169" y="2799"/>
                </a:lnTo>
                <a:lnTo>
                  <a:pt x="2185" y="2803"/>
                </a:lnTo>
                <a:lnTo>
                  <a:pt x="2199" y="2808"/>
                </a:lnTo>
                <a:lnTo>
                  <a:pt x="2218" y="2817"/>
                </a:lnTo>
                <a:lnTo>
                  <a:pt x="2220" y="2828"/>
                </a:lnTo>
                <a:lnTo>
                  <a:pt x="2222" y="2837"/>
                </a:lnTo>
                <a:lnTo>
                  <a:pt x="2225" y="2847"/>
                </a:lnTo>
                <a:lnTo>
                  <a:pt x="2228" y="2858"/>
                </a:lnTo>
                <a:lnTo>
                  <a:pt x="2268" y="2866"/>
                </a:lnTo>
                <a:lnTo>
                  <a:pt x="2307" y="2876"/>
                </a:lnTo>
                <a:lnTo>
                  <a:pt x="2325" y="2883"/>
                </a:lnTo>
                <a:lnTo>
                  <a:pt x="2343" y="2890"/>
                </a:lnTo>
                <a:lnTo>
                  <a:pt x="2362" y="2899"/>
                </a:lnTo>
                <a:lnTo>
                  <a:pt x="2377" y="2911"/>
                </a:lnTo>
                <a:lnTo>
                  <a:pt x="2404" y="2911"/>
                </a:lnTo>
                <a:lnTo>
                  <a:pt x="2432" y="2912"/>
                </a:lnTo>
                <a:lnTo>
                  <a:pt x="2460" y="2914"/>
                </a:lnTo>
                <a:lnTo>
                  <a:pt x="2488" y="2915"/>
                </a:lnTo>
                <a:lnTo>
                  <a:pt x="2490" y="2922"/>
                </a:lnTo>
                <a:lnTo>
                  <a:pt x="2494" y="2927"/>
                </a:lnTo>
                <a:lnTo>
                  <a:pt x="2498" y="2932"/>
                </a:lnTo>
                <a:lnTo>
                  <a:pt x="2505" y="2936"/>
                </a:lnTo>
                <a:lnTo>
                  <a:pt x="2511" y="2940"/>
                </a:lnTo>
                <a:lnTo>
                  <a:pt x="2519" y="2944"/>
                </a:lnTo>
                <a:lnTo>
                  <a:pt x="2528" y="2946"/>
                </a:lnTo>
                <a:lnTo>
                  <a:pt x="2536" y="2949"/>
                </a:lnTo>
                <a:lnTo>
                  <a:pt x="2554" y="2953"/>
                </a:lnTo>
                <a:lnTo>
                  <a:pt x="2572" y="2954"/>
                </a:lnTo>
                <a:lnTo>
                  <a:pt x="2589" y="2954"/>
                </a:lnTo>
                <a:lnTo>
                  <a:pt x="2602" y="2954"/>
                </a:lnTo>
                <a:lnTo>
                  <a:pt x="2606" y="2968"/>
                </a:lnTo>
                <a:lnTo>
                  <a:pt x="2609" y="2983"/>
                </a:lnTo>
                <a:lnTo>
                  <a:pt x="2611" y="2997"/>
                </a:lnTo>
                <a:lnTo>
                  <a:pt x="2614" y="3011"/>
                </a:lnTo>
                <a:lnTo>
                  <a:pt x="2606" y="3017"/>
                </a:lnTo>
                <a:lnTo>
                  <a:pt x="2600" y="3022"/>
                </a:lnTo>
                <a:lnTo>
                  <a:pt x="2593" y="3028"/>
                </a:lnTo>
                <a:lnTo>
                  <a:pt x="2588" y="3035"/>
                </a:lnTo>
                <a:lnTo>
                  <a:pt x="2584" y="3043"/>
                </a:lnTo>
                <a:lnTo>
                  <a:pt x="2580" y="3050"/>
                </a:lnTo>
                <a:lnTo>
                  <a:pt x="2577" y="3058"/>
                </a:lnTo>
                <a:lnTo>
                  <a:pt x="2575" y="3067"/>
                </a:lnTo>
                <a:lnTo>
                  <a:pt x="2568" y="3104"/>
                </a:lnTo>
                <a:lnTo>
                  <a:pt x="2564" y="3140"/>
                </a:lnTo>
                <a:lnTo>
                  <a:pt x="2554" y="3143"/>
                </a:lnTo>
                <a:lnTo>
                  <a:pt x="2544" y="3147"/>
                </a:lnTo>
                <a:lnTo>
                  <a:pt x="2536" y="3150"/>
                </a:lnTo>
                <a:lnTo>
                  <a:pt x="2527" y="3156"/>
                </a:lnTo>
                <a:lnTo>
                  <a:pt x="2520" y="3161"/>
                </a:lnTo>
                <a:lnTo>
                  <a:pt x="2515" y="3167"/>
                </a:lnTo>
                <a:lnTo>
                  <a:pt x="2510" y="3175"/>
                </a:lnTo>
                <a:lnTo>
                  <a:pt x="2506" y="3184"/>
                </a:lnTo>
                <a:lnTo>
                  <a:pt x="2485" y="3192"/>
                </a:lnTo>
                <a:lnTo>
                  <a:pt x="2463" y="3203"/>
                </a:lnTo>
                <a:lnTo>
                  <a:pt x="2441" y="3213"/>
                </a:lnTo>
                <a:lnTo>
                  <a:pt x="2420" y="3225"/>
                </a:lnTo>
                <a:lnTo>
                  <a:pt x="2399" y="3238"/>
                </a:lnTo>
                <a:lnTo>
                  <a:pt x="2378" y="3251"/>
                </a:lnTo>
                <a:lnTo>
                  <a:pt x="2360" y="3265"/>
                </a:lnTo>
                <a:lnTo>
                  <a:pt x="2341" y="3279"/>
                </a:lnTo>
                <a:lnTo>
                  <a:pt x="2334" y="3307"/>
                </a:lnTo>
                <a:lnTo>
                  <a:pt x="2329" y="3324"/>
                </a:lnTo>
                <a:lnTo>
                  <a:pt x="2321" y="3340"/>
                </a:lnTo>
                <a:lnTo>
                  <a:pt x="2311" y="3364"/>
                </a:lnTo>
                <a:lnTo>
                  <a:pt x="2315" y="3409"/>
                </a:lnTo>
                <a:lnTo>
                  <a:pt x="2321" y="3458"/>
                </a:lnTo>
                <a:lnTo>
                  <a:pt x="2325" y="3482"/>
                </a:lnTo>
                <a:lnTo>
                  <a:pt x="2326" y="3506"/>
                </a:lnTo>
                <a:lnTo>
                  <a:pt x="2328" y="3529"/>
                </a:lnTo>
                <a:lnTo>
                  <a:pt x="2325" y="3550"/>
                </a:lnTo>
                <a:lnTo>
                  <a:pt x="2311" y="3549"/>
                </a:lnTo>
                <a:lnTo>
                  <a:pt x="2299" y="3546"/>
                </a:lnTo>
                <a:lnTo>
                  <a:pt x="2289" y="3542"/>
                </a:lnTo>
                <a:lnTo>
                  <a:pt x="2280" y="3537"/>
                </a:lnTo>
                <a:lnTo>
                  <a:pt x="2272" y="3529"/>
                </a:lnTo>
                <a:lnTo>
                  <a:pt x="2265" y="3521"/>
                </a:lnTo>
                <a:lnTo>
                  <a:pt x="2260" y="3512"/>
                </a:lnTo>
                <a:lnTo>
                  <a:pt x="2255" y="3502"/>
                </a:lnTo>
                <a:lnTo>
                  <a:pt x="2242" y="3454"/>
                </a:lnTo>
                <a:lnTo>
                  <a:pt x="2226" y="3402"/>
                </a:lnTo>
                <a:lnTo>
                  <a:pt x="2224" y="3370"/>
                </a:lnTo>
                <a:lnTo>
                  <a:pt x="2222" y="3348"/>
                </a:lnTo>
                <a:lnTo>
                  <a:pt x="2222" y="3340"/>
                </a:lnTo>
                <a:lnTo>
                  <a:pt x="2221" y="3333"/>
                </a:lnTo>
                <a:lnTo>
                  <a:pt x="2220" y="3327"/>
                </a:lnTo>
                <a:lnTo>
                  <a:pt x="2218" y="3324"/>
                </a:lnTo>
                <a:lnTo>
                  <a:pt x="2204" y="3324"/>
                </a:lnTo>
                <a:lnTo>
                  <a:pt x="2192" y="3324"/>
                </a:lnTo>
                <a:lnTo>
                  <a:pt x="2181" y="3325"/>
                </a:lnTo>
                <a:lnTo>
                  <a:pt x="2170" y="3327"/>
                </a:lnTo>
                <a:lnTo>
                  <a:pt x="2161" y="3330"/>
                </a:lnTo>
                <a:lnTo>
                  <a:pt x="2153" y="3334"/>
                </a:lnTo>
                <a:lnTo>
                  <a:pt x="2147" y="3338"/>
                </a:lnTo>
                <a:lnTo>
                  <a:pt x="2140" y="3343"/>
                </a:lnTo>
                <a:lnTo>
                  <a:pt x="2134" y="3350"/>
                </a:lnTo>
                <a:lnTo>
                  <a:pt x="2130" y="3356"/>
                </a:lnTo>
                <a:lnTo>
                  <a:pt x="2125" y="3364"/>
                </a:lnTo>
                <a:lnTo>
                  <a:pt x="2121" y="3373"/>
                </a:lnTo>
                <a:lnTo>
                  <a:pt x="2114" y="3395"/>
                </a:lnTo>
                <a:lnTo>
                  <a:pt x="2108" y="3421"/>
                </a:lnTo>
                <a:lnTo>
                  <a:pt x="2090" y="3433"/>
                </a:lnTo>
                <a:lnTo>
                  <a:pt x="2075" y="3439"/>
                </a:lnTo>
                <a:lnTo>
                  <a:pt x="2069" y="3441"/>
                </a:lnTo>
                <a:lnTo>
                  <a:pt x="2064" y="3442"/>
                </a:lnTo>
                <a:lnTo>
                  <a:pt x="2057" y="3442"/>
                </a:lnTo>
                <a:lnTo>
                  <a:pt x="2052" y="3441"/>
                </a:lnTo>
                <a:lnTo>
                  <a:pt x="2040" y="3437"/>
                </a:lnTo>
                <a:lnTo>
                  <a:pt x="2028" y="3429"/>
                </a:lnTo>
                <a:lnTo>
                  <a:pt x="2014" y="3418"/>
                </a:lnTo>
                <a:lnTo>
                  <a:pt x="1997" y="3405"/>
                </a:lnTo>
                <a:lnTo>
                  <a:pt x="1988" y="3408"/>
                </a:lnTo>
                <a:lnTo>
                  <a:pt x="1979" y="3409"/>
                </a:lnTo>
                <a:lnTo>
                  <a:pt x="1971" y="3411"/>
                </a:lnTo>
                <a:lnTo>
                  <a:pt x="1962" y="3411"/>
                </a:lnTo>
                <a:lnTo>
                  <a:pt x="1945" y="3408"/>
                </a:lnTo>
                <a:lnTo>
                  <a:pt x="1928" y="3403"/>
                </a:lnTo>
                <a:lnTo>
                  <a:pt x="1911" y="3399"/>
                </a:lnTo>
                <a:lnTo>
                  <a:pt x="1893" y="3395"/>
                </a:lnTo>
                <a:lnTo>
                  <a:pt x="1884" y="3394"/>
                </a:lnTo>
                <a:lnTo>
                  <a:pt x="1874" y="3392"/>
                </a:lnTo>
                <a:lnTo>
                  <a:pt x="1865" y="3394"/>
                </a:lnTo>
                <a:lnTo>
                  <a:pt x="1854" y="3394"/>
                </a:lnTo>
                <a:lnTo>
                  <a:pt x="1841" y="3417"/>
                </a:lnTo>
                <a:lnTo>
                  <a:pt x="1824" y="3445"/>
                </a:lnTo>
                <a:lnTo>
                  <a:pt x="1806" y="3476"/>
                </a:lnTo>
                <a:lnTo>
                  <a:pt x="1788" y="3510"/>
                </a:lnTo>
                <a:lnTo>
                  <a:pt x="1780" y="3526"/>
                </a:lnTo>
                <a:lnTo>
                  <a:pt x="1772" y="3543"/>
                </a:lnTo>
                <a:lnTo>
                  <a:pt x="1764" y="3560"/>
                </a:lnTo>
                <a:lnTo>
                  <a:pt x="1759" y="3577"/>
                </a:lnTo>
                <a:lnTo>
                  <a:pt x="1755" y="3594"/>
                </a:lnTo>
                <a:lnTo>
                  <a:pt x="1753" y="3608"/>
                </a:lnTo>
                <a:lnTo>
                  <a:pt x="1753" y="3623"/>
                </a:lnTo>
                <a:lnTo>
                  <a:pt x="1754" y="3637"/>
                </a:lnTo>
                <a:lnTo>
                  <a:pt x="1766" y="3642"/>
                </a:lnTo>
                <a:lnTo>
                  <a:pt x="1777" y="3649"/>
                </a:lnTo>
                <a:lnTo>
                  <a:pt x="1790" y="3657"/>
                </a:lnTo>
                <a:lnTo>
                  <a:pt x="1802" y="3663"/>
                </a:lnTo>
                <a:lnTo>
                  <a:pt x="1803" y="3686"/>
                </a:lnTo>
                <a:lnTo>
                  <a:pt x="1806" y="3707"/>
                </a:lnTo>
                <a:lnTo>
                  <a:pt x="1809" y="3725"/>
                </a:lnTo>
                <a:lnTo>
                  <a:pt x="1813" y="3744"/>
                </a:lnTo>
                <a:lnTo>
                  <a:pt x="1818" y="3761"/>
                </a:lnTo>
                <a:lnTo>
                  <a:pt x="1826" y="3778"/>
                </a:lnTo>
                <a:lnTo>
                  <a:pt x="1835" y="3794"/>
                </a:lnTo>
                <a:lnTo>
                  <a:pt x="1846" y="3814"/>
                </a:lnTo>
                <a:lnTo>
                  <a:pt x="1832" y="3817"/>
                </a:lnTo>
                <a:lnTo>
                  <a:pt x="1818" y="3819"/>
                </a:lnTo>
                <a:lnTo>
                  <a:pt x="1803" y="3823"/>
                </a:lnTo>
                <a:lnTo>
                  <a:pt x="1789" y="3827"/>
                </a:lnTo>
                <a:lnTo>
                  <a:pt x="1784" y="3835"/>
                </a:lnTo>
                <a:lnTo>
                  <a:pt x="1775" y="3841"/>
                </a:lnTo>
                <a:lnTo>
                  <a:pt x="1766" y="3846"/>
                </a:lnTo>
                <a:lnTo>
                  <a:pt x="1755" y="3852"/>
                </a:lnTo>
                <a:lnTo>
                  <a:pt x="1744" y="3857"/>
                </a:lnTo>
                <a:lnTo>
                  <a:pt x="1732" y="3862"/>
                </a:lnTo>
                <a:lnTo>
                  <a:pt x="1720" y="3869"/>
                </a:lnTo>
                <a:lnTo>
                  <a:pt x="1710" y="3875"/>
                </a:lnTo>
                <a:lnTo>
                  <a:pt x="1690" y="3904"/>
                </a:lnTo>
                <a:lnTo>
                  <a:pt x="1669" y="3932"/>
                </a:lnTo>
                <a:lnTo>
                  <a:pt x="1650" y="3962"/>
                </a:lnTo>
                <a:lnTo>
                  <a:pt x="1632" y="3992"/>
                </a:lnTo>
                <a:lnTo>
                  <a:pt x="1638" y="4017"/>
                </a:lnTo>
                <a:lnTo>
                  <a:pt x="1646" y="4039"/>
                </a:lnTo>
                <a:lnTo>
                  <a:pt x="1650" y="4051"/>
                </a:lnTo>
                <a:lnTo>
                  <a:pt x="1652" y="4060"/>
                </a:lnTo>
                <a:lnTo>
                  <a:pt x="1654" y="4069"/>
                </a:lnTo>
                <a:lnTo>
                  <a:pt x="1654" y="4077"/>
                </a:lnTo>
                <a:lnTo>
                  <a:pt x="1641" y="4085"/>
                </a:lnTo>
                <a:lnTo>
                  <a:pt x="1626" y="4091"/>
                </a:lnTo>
                <a:lnTo>
                  <a:pt x="1613" y="4099"/>
                </a:lnTo>
                <a:lnTo>
                  <a:pt x="1600" y="4105"/>
                </a:lnTo>
                <a:lnTo>
                  <a:pt x="1600" y="4150"/>
                </a:lnTo>
                <a:lnTo>
                  <a:pt x="1599" y="4187"/>
                </a:lnTo>
                <a:lnTo>
                  <a:pt x="1597" y="4206"/>
                </a:lnTo>
                <a:lnTo>
                  <a:pt x="1594" y="4225"/>
                </a:lnTo>
                <a:lnTo>
                  <a:pt x="1589" y="4245"/>
                </a:lnTo>
                <a:lnTo>
                  <a:pt x="1581" y="4265"/>
                </a:lnTo>
                <a:lnTo>
                  <a:pt x="1568" y="4267"/>
                </a:lnTo>
                <a:lnTo>
                  <a:pt x="1556" y="4269"/>
                </a:lnTo>
                <a:lnTo>
                  <a:pt x="1544" y="4272"/>
                </a:lnTo>
                <a:lnTo>
                  <a:pt x="1535" y="4274"/>
                </a:lnTo>
                <a:lnTo>
                  <a:pt x="1518" y="4281"/>
                </a:lnTo>
                <a:lnTo>
                  <a:pt x="1504" y="4290"/>
                </a:lnTo>
                <a:lnTo>
                  <a:pt x="1477" y="4311"/>
                </a:lnTo>
                <a:lnTo>
                  <a:pt x="1440" y="4337"/>
                </a:lnTo>
                <a:lnTo>
                  <a:pt x="1442" y="4351"/>
                </a:lnTo>
                <a:lnTo>
                  <a:pt x="1443" y="4363"/>
                </a:lnTo>
                <a:lnTo>
                  <a:pt x="1447" y="4376"/>
                </a:lnTo>
                <a:lnTo>
                  <a:pt x="1451" y="4386"/>
                </a:lnTo>
                <a:lnTo>
                  <a:pt x="1456" y="4397"/>
                </a:lnTo>
                <a:lnTo>
                  <a:pt x="1463" y="4406"/>
                </a:lnTo>
                <a:lnTo>
                  <a:pt x="1470" y="4414"/>
                </a:lnTo>
                <a:lnTo>
                  <a:pt x="1478" y="4421"/>
                </a:lnTo>
                <a:lnTo>
                  <a:pt x="1498" y="4436"/>
                </a:lnTo>
                <a:lnTo>
                  <a:pt x="1518" y="4449"/>
                </a:lnTo>
                <a:lnTo>
                  <a:pt x="1541" y="4461"/>
                </a:lnTo>
                <a:lnTo>
                  <a:pt x="1564" y="4474"/>
                </a:lnTo>
                <a:lnTo>
                  <a:pt x="1568" y="4489"/>
                </a:lnTo>
                <a:lnTo>
                  <a:pt x="1573" y="4505"/>
                </a:lnTo>
                <a:lnTo>
                  <a:pt x="1578" y="4522"/>
                </a:lnTo>
                <a:lnTo>
                  <a:pt x="1584" y="4539"/>
                </a:lnTo>
                <a:lnTo>
                  <a:pt x="1556" y="4544"/>
                </a:lnTo>
                <a:lnTo>
                  <a:pt x="1530" y="4553"/>
                </a:lnTo>
                <a:lnTo>
                  <a:pt x="1505" y="4562"/>
                </a:lnTo>
                <a:lnTo>
                  <a:pt x="1479" y="4571"/>
                </a:lnTo>
                <a:lnTo>
                  <a:pt x="1453" y="4580"/>
                </a:lnTo>
                <a:lnTo>
                  <a:pt x="1427" y="4587"/>
                </a:lnTo>
                <a:lnTo>
                  <a:pt x="1414" y="4588"/>
                </a:lnTo>
                <a:lnTo>
                  <a:pt x="1400" y="4589"/>
                </a:lnTo>
                <a:lnTo>
                  <a:pt x="1386" y="4589"/>
                </a:lnTo>
                <a:lnTo>
                  <a:pt x="1371" y="4588"/>
                </a:lnTo>
                <a:lnTo>
                  <a:pt x="1371" y="4578"/>
                </a:lnTo>
                <a:lnTo>
                  <a:pt x="1371" y="4570"/>
                </a:lnTo>
                <a:lnTo>
                  <a:pt x="1339" y="4570"/>
                </a:lnTo>
                <a:lnTo>
                  <a:pt x="1312" y="4568"/>
                </a:lnTo>
                <a:lnTo>
                  <a:pt x="1300" y="4570"/>
                </a:lnTo>
                <a:lnTo>
                  <a:pt x="1289" y="4570"/>
                </a:lnTo>
                <a:lnTo>
                  <a:pt x="1280" y="4571"/>
                </a:lnTo>
                <a:lnTo>
                  <a:pt x="1271" y="4574"/>
                </a:lnTo>
                <a:lnTo>
                  <a:pt x="1265" y="4578"/>
                </a:lnTo>
                <a:lnTo>
                  <a:pt x="1258" y="4581"/>
                </a:lnTo>
                <a:lnTo>
                  <a:pt x="1252" y="4588"/>
                </a:lnTo>
                <a:lnTo>
                  <a:pt x="1247" y="4596"/>
                </a:lnTo>
                <a:lnTo>
                  <a:pt x="1243" y="4605"/>
                </a:lnTo>
                <a:lnTo>
                  <a:pt x="1239" y="4617"/>
                </a:lnTo>
                <a:lnTo>
                  <a:pt x="1235" y="4630"/>
                </a:lnTo>
                <a:lnTo>
                  <a:pt x="1231" y="4647"/>
                </a:lnTo>
                <a:lnTo>
                  <a:pt x="1223" y="4647"/>
                </a:lnTo>
                <a:lnTo>
                  <a:pt x="1218" y="4647"/>
                </a:lnTo>
                <a:lnTo>
                  <a:pt x="1213" y="4656"/>
                </a:lnTo>
                <a:lnTo>
                  <a:pt x="1208" y="4666"/>
                </a:lnTo>
                <a:lnTo>
                  <a:pt x="1200" y="4676"/>
                </a:lnTo>
                <a:lnTo>
                  <a:pt x="1192" y="4687"/>
                </a:lnTo>
                <a:lnTo>
                  <a:pt x="1172" y="4709"/>
                </a:lnTo>
                <a:lnTo>
                  <a:pt x="1150" y="4731"/>
                </a:lnTo>
                <a:lnTo>
                  <a:pt x="1127" y="4753"/>
                </a:lnTo>
                <a:lnTo>
                  <a:pt x="1103" y="4773"/>
                </a:lnTo>
                <a:lnTo>
                  <a:pt x="1083" y="4788"/>
                </a:lnTo>
                <a:lnTo>
                  <a:pt x="1064" y="4800"/>
                </a:lnTo>
                <a:lnTo>
                  <a:pt x="1064" y="4807"/>
                </a:lnTo>
                <a:lnTo>
                  <a:pt x="1064" y="4813"/>
                </a:lnTo>
                <a:lnTo>
                  <a:pt x="1038" y="4818"/>
                </a:lnTo>
                <a:lnTo>
                  <a:pt x="1012" y="4823"/>
                </a:lnTo>
                <a:lnTo>
                  <a:pt x="986" y="4829"/>
                </a:lnTo>
                <a:lnTo>
                  <a:pt x="962" y="4835"/>
                </a:lnTo>
                <a:lnTo>
                  <a:pt x="933" y="4859"/>
                </a:lnTo>
                <a:lnTo>
                  <a:pt x="908" y="4879"/>
                </a:lnTo>
                <a:lnTo>
                  <a:pt x="885" y="4896"/>
                </a:lnTo>
                <a:lnTo>
                  <a:pt x="861" y="4912"/>
                </a:lnTo>
                <a:lnTo>
                  <a:pt x="850" y="4918"/>
                </a:lnTo>
                <a:lnTo>
                  <a:pt x="838" y="4924"/>
                </a:lnTo>
                <a:lnTo>
                  <a:pt x="825" y="4929"/>
                </a:lnTo>
                <a:lnTo>
                  <a:pt x="811" y="4934"/>
                </a:lnTo>
                <a:lnTo>
                  <a:pt x="796" y="4938"/>
                </a:lnTo>
                <a:lnTo>
                  <a:pt x="780" y="4942"/>
                </a:lnTo>
                <a:lnTo>
                  <a:pt x="763" y="4944"/>
                </a:lnTo>
                <a:lnTo>
                  <a:pt x="743" y="4948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24" name="Freeform 89"/>
          <p:cNvSpPr>
            <a:spLocks/>
          </p:cNvSpPr>
          <p:nvPr/>
        </p:nvSpPr>
        <p:spPr bwMode="auto">
          <a:xfrm>
            <a:off x="900113" y="3984625"/>
            <a:ext cx="155575" cy="106363"/>
          </a:xfrm>
          <a:custGeom>
            <a:avLst/>
            <a:gdLst>
              <a:gd name="T0" fmla="*/ 2147483647 w 392"/>
              <a:gd name="T1" fmla="*/ 2147483647 h 268"/>
              <a:gd name="T2" fmla="*/ 2147483647 w 392"/>
              <a:gd name="T3" fmla="*/ 2147483647 h 268"/>
              <a:gd name="T4" fmla="*/ 2147483647 w 392"/>
              <a:gd name="T5" fmla="*/ 2147483647 h 268"/>
              <a:gd name="T6" fmla="*/ 2147483647 w 392"/>
              <a:gd name="T7" fmla="*/ 2147483647 h 268"/>
              <a:gd name="T8" fmla="*/ 2147483647 w 392"/>
              <a:gd name="T9" fmla="*/ 2147483647 h 268"/>
              <a:gd name="T10" fmla="*/ 2147483647 w 392"/>
              <a:gd name="T11" fmla="*/ 2147483647 h 268"/>
              <a:gd name="T12" fmla="*/ 2147483647 w 392"/>
              <a:gd name="T13" fmla="*/ 2147483647 h 268"/>
              <a:gd name="T14" fmla="*/ 2147483647 w 392"/>
              <a:gd name="T15" fmla="*/ 2147483647 h 268"/>
              <a:gd name="T16" fmla="*/ 2147483647 w 392"/>
              <a:gd name="T17" fmla="*/ 2147483647 h 268"/>
              <a:gd name="T18" fmla="*/ 2147483647 w 392"/>
              <a:gd name="T19" fmla="*/ 2147483647 h 268"/>
              <a:gd name="T20" fmla="*/ 2147483647 w 392"/>
              <a:gd name="T21" fmla="*/ 2147483647 h 268"/>
              <a:gd name="T22" fmla="*/ 2147483647 w 392"/>
              <a:gd name="T23" fmla="*/ 2147483647 h 268"/>
              <a:gd name="T24" fmla="*/ 2147483647 w 392"/>
              <a:gd name="T25" fmla="*/ 0 h 268"/>
              <a:gd name="T26" fmla="*/ 2147483647 w 392"/>
              <a:gd name="T27" fmla="*/ 2147483647 h 268"/>
              <a:gd name="T28" fmla="*/ 2147483647 w 392"/>
              <a:gd name="T29" fmla="*/ 2147483647 h 268"/>
              <a:gd name="T30" fmla="*/ 2147483647 w 392"/>
              <a:gd name="T31" fmla="*/ 2147483647 h 268"/>
              <a:gd name="T32" fmla="*/ 2147483647 w 392"/>
              <a:gd name="T33" fmla="*/ 2147483647 h 268"/>
              <a:gd name="T34" fmla="*/ 2147483647 w 392"/>
              <a:gd name="T35" fmla="*/ 2147483647 h 268"/>
              <a:gd name="T36" fmla="*/ 2147483647 w 392"/>
              <a:gd name="T37" fmla="*/ 2147483647 h 268"/>
              <a:gd name="T38" fmla="*/ 2147483647 w 392"/>
              <a:gd name="T39" fmla="*/ 2147483647 h 268"/>
              <a:gd name="T40" fmla="*/ 2147483647 w 392"/>
              <a:gd name="T41" fmla="*/ 2147483647 h 268"/>
              <a:gd name="T42" fmla="*/ 2147483647 w 392"/>
              <a:gd name="T43" fmla="*/ 2147483647 h 268"/>
              <a:gd name="T44" fmla="*/ 2147483647 w 392"/>
              <a:gd name="T45" fmla="*/ 2147483647 h 268"/>
              <a:gd name="T46" fmla="*/ 2147483647 w 392"/>
              <a:gd name="T47" fmla="*/ 2147483647 h 268"/>
              <a:gd name="T48" fmla="*/ 2147483647 w 392"/>
              <a:gd name="T49" fmla="*/ 2147483647 h 268"/>
              <a:gd name="T50" fmla="*/ 2147483647 w 392"/>
              <a:gd name="T51" fmla="*/ 2147483647 h 268"/>
              <a:gd name="T52" fmla="*/ 2147483647 w 392"/>
              <a:gd name="T53" fmla="*/ 2147483647 h 268"/>
              <a:gd name="T54" fmla="*/ 2147483647 w 392"/>
              <a:gd name="T55" fmla="*/ 2147483647 h 268"/>
              <a:gd name="T56" fmla="*/ 2147483647 w 392"/>
              <a:gd name="T57" fmla="*/ 2147483647 h 268"/>
              <a:gd name="T58" fmla="*/ 2147483647 w 392"/>
              <a:gd name="T59" fmla="*/ 2147483647 h 268"/>
              <a:gd name="T60" fmla="*/ 2147483647 w 392"/>
              <a:gd name="T61" fmla="*/ 2147483647 h 268"/>
              <a:gd name="T62" fmla="*/ 2147483647 w 392"/>
              <a:gd name="T63" fmla="*/ 2147483647 h 268"/>
              <a:gd name="T64" fmla="*/ 2147483647 w 392"/>
              <a:gd name="T65" fmla="*/ 2147483647 h 268"/>
              <a:gd name="T66" fmla="*/ 2147483647 w 392"/>
              <a:gd name="T67" fmla="*/ 2147483647 h 268"/>
              <a:gd name="T68" fmla="*/ 2147483647 w 392"/>
              <a:gd name="T69" fmla="*/ 2147483647 h 268"/>
              <a:gd name="T70" fmla="*/ 2147483647 w 392"/>
              <a:gd name="T71" fmla="*/ 2147483647 h 2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92"/>
              <a:gd name="T109" fmla="*/ 0 h 268"/>
              <a:gd name="T110" fmla="*/ 392 w 392"/>
              <a:gd name="T111" fmla="*/ 268 h 268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92" h="268">
                <a:moveTo>
                  <a:pt x="121" y="268"/>
                </a:moveTo>
                <a:lnTo>
                  <a:pt x="108" y="261"/>
                </a:lnTo>
                <a:lnTo>
                  <a:pt x="95" y="254"/>
                </a:lnTo>
                <a:lnTo>
                  <a:pt x="84" y="248"/>
                </a:lnTo>
                <a:lnTo>
                  <a:pt x="72" y="241"/>
                </a:lnTo>
                <a:lnTo>
                  <a:pt x="71" y="229"/>
                </a:lnTo>
                <a:lnTo>
                  <a:pt x="71" y="219"/>
                </a:lnTo>
                <a:lnTo>
                  <a:pt x="68" y="210"/>
                </a:lnTo>
                <a:lnTo>
                  <a:pt x="67" y="199"/>
                </a:lnTo>
                <a:lnTo>
                  <a:pt x="60" y="183"/>
                </a:lnTo>
                <a:lnTo>
                  <a:pt x="51" y="166"/>
                </a:lnTo>
                <a:lnTo>
                  <a:pt x="41" y="151"/>
                </a:lnTo>
                <a:lnTo>
                  <a:pt x="29" y="136"/>
                </a:lnTo>
                <a:lnTo>
                  <a:pt x="15" y="120"/>
                </a:lnTo>
                <a:lnTo>
                  <a:pt x="0" y="104"/>
                </a:lnTo>
                <a:lnTo>
                  <a:pt x="15" y="89"/>
                </a:lnTo>
                <a:lnTo>
                  <a:pt x="24" y="76"/>
                </a:lnTo>
                <a:lnTo>
                  <a:pt x="30" y="62"/>
                </a:lnTo>
                <a:lnTo>
                  <a:pt x="37" y="41"/>
                </a:lnTo>
                <a:lnTo>
                  <a:pt x="59" y="33"/>
                </a:lnTo>
                <a:lnTo>
                  <a:pt x="79" y="23"/>
                </a:lnTo>
                <a:lnTo>
                  <a:pt x="97" y="12"/>
                </a:lnTo>
                <a:lnTo>
                  <a:pt x="112" y="4"/>
                </a:lnTo>
                <a:lnTo>
                  <a:pt x="120" y="2"/>
                </a:lnTo>
                <a:lnTo>
                  <a:pt x="127" y="0"/>
                </a:lnTo>
                <a:lnTo>
                  <a:pt x="134" y="0"/>
                </a:lnTo>
                <a:lnTo>
                  <a:pt x="141" y="2"/>
                </a:lnTo>
                <a:lnTo>
                  <a:pt x="147" y="6"/>
                </a:lnTo>
                <a:lnTo>
                  <a:pt x="154" y="12"/>
                </a:lnTo>
                <a:lnTo>
                  <a:pt x="159" y="20"/>
                </a:lnTo>
                <a:lnTo>
                  <a:pt x="166" y="32"/>
                </a:lnTo>
                <a:lnTo>
                  <a:pt x="189" y="49"/>
                </a:lnTo>
                <a:lnTo>
                  <a:pt x="211" y="63"/>
                </a:lnTo>
                <a:lnTo>
                  <a:pt x="233" y="75"/>
                </a:lnTo>
                <a:lnTo>
                  <a:pt x="254" y="85"/>
                </a:lnTo>
                <a:lnTo>
                  <a:pt x="278" y="93"/>
                </a:lnTo>
                <a:lnTo>
                  <a:pt x="301" y="101"/>
                </a:lnTo>
                <a:lnTo>
                  <a:pt x="327" y="107"/>
                </a:lnTo>
                <a:lnTo>
                  <a:pt x="357" y="112"/>
                </a:lnTo>
                <a:lnTo>
                  <a:pt x="369" y="128"/>
                </a:lnTo>
                <a:lnTo>
                  <a:pt x="382" y="142"/>
                </a:lnTo>
                <a:lnTo>
                  <a:pt x="387" y="149"/>
                </a:lnTo>
                <a:lnTo>
                  <a:pt x="391" y="157"/>
                </a:lnTo>
                <a:lnTo>
                  <a:pt x="392" y="167"/>
                </a:lnTo>
                <a:lnTo>
                  <a:pt x="391" y="177"/>
                </a:lnTo>
                <a:lnTo>
                  <a:pt x="384" y="179"/>
                </a:lnTo>
                <a:lnTo>
                  <a:pt x="378" y="180"/>
                </a:lnTo>
                <a:lnTo>
                  <a:pt x="371" y="183"/>
                </a:lnTo>
                <a:lnTo>
                  <a:pt x="366" y="186"/>
                </a:lnTo>
                <a:lnTo>
                  <a:pt x="362" y="190"/>
                </a:lnTo>
                <a:lnTo>
                  <a:pt x="358" y="196"/>
                </a:lnTo>
                <a:lnTo>
                  <a:pt x="354" y="201"/>
                </a:lnTo>
                <a:lnTo>
                  <a:pt x="352" y="207"/>
                </a:lnTo>
                <a:lnTo>
                  <a:pt x="347" y="220"/>
                </a:lnTo>
                <a:lnTo>
                  <a:pt x="344" y="235"/>
                </a:lnTo>
                <a:lnTo>
                  <a:pt x="341" y="248"/>
                </a:lnTo>
                <a:lnTo>
                  <a:pt x="341" y="261"/>
                </a:lnTo>
                <a:lnTo>
                  <a:pt x="327" y="259"/>
                </a:lnTo>
                <a:lnTo>
                  <a:pt x="313" y="258"/>
                </a:lnTo>
                <a:lnTo>
                  <a:pt x="301" y="257"/>
                </a:lnTo>
                <a:lnTo>
                  <a:pt x="289" y="254"/>
                </a:lnTo>
                <a:lnTo>
                  <a:pt x="266" y="248"/>
                </a:lnTo>
                <a:lnTo>
                  <a:pt x="245" y="242"/>
                </a:lnTo>
                <a:lnTo>
                  <a:pt x="235" y="241"/>
                </a:lnTo>
                <a:lnTo>
                  <a:pt x="224" y="240"/>
                </a:lnTo>
                <a:lnTo>
                  <a:pt x="214" y="240"/>
                </a:lnTo>
                <a:lnTo>
                  <a:pt x="203" y="241"/>
                </a:lnTo>
                <a:lnTo>
                  <a:pt x="192" y="245"/>
                </a:lnTo>
                <a:lnTo>
                  <a:pt x="180" y="249"/>
                </a:lnTo>
                <a:lnTo>
                  <a:pt x="167" y="255"/>
                </a:lnTo>
                <a:lnTo>
                  <a:pt x="154" y="265"/>
                </a:lnTo>
                <a:lnTo>
                  <a:pt x="137" y="266"/>
                </a:lnTo>
                <a:lnTo>
                  <a:pt x="121" y="268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25" name="Freeform 90"/>
          <p:cNvSpPr>
            <a:spLocks/>
          </p:cNvSpPr>
          <p:nvPr/>
        </p:nvSpPr>
        <p:spPr bwMode="auto">
          <a:xfrm>
            <a:off x="812800" y="3875088"/>
            <a:ext cx="182563" cy="144462"/>
          </a:xfrm>
          <a:custGeom>
            <a:avLst/>
            <a:gdLst>
              <a:gd name="T0" fmla="*/ 2147483647 w 459"/>
              <a:gd name="T1" fmla="*/ 2147483647 h 366"/>
              <a:gd name="T2" fmla="*/ 2147483647 w 459"/>
              <a:gd name="T3" fmla="*/ 2147483647 h 366"/>
              <a:gd name="T4" fmla="*/ 2147483647 w 459"/>
              <a:gd name="T5" fmla="*/ 2147483647 h 366"/>
              <a:gd name="T6" fmla="*/ 2147483647 w 459"/>
              <a:gd name="T7" fmla="*/ 2147483647 h 366"/>
              <a:gd name="T8" fmla="*/ 2147483647 w 459"/>
              <a:gd name="T9" fmla="*/ 2147483647 h 366"/>
              <a:gd name="T10" fmla="*/ 2147483647 w 459"/>
              <a:gd name="T11" fmla="*/ 2147483647 h 366"/>
              <a:gd name="T12" fmla="*/ 2147483647 w 459"/>
              <a:gd name="T13" fmla="*/ 2147483647 h 366"/>
              <a:gd name="T14" fmla="*/ 2147483647 w 459"/>
              <a:gd name="T15" fmla="*/ 2147483647 h 366"/>
              <a:gd name="T16" fmla="*/ 2147483647 w 459"/>
              <a:gd name="T17" fmla="*/ 2147483647 h 366"/>
              <a:gd name="T18" fmla="*/ 2147483647 w 459"/>
              <a:gd name="T19" fmla="*/ 2147483647 h 366"/>
              <a:gd name="T20" fmla="*/ 2147483647 w 459"/>
              <a:gd name="T21" fmla="*/ 2147483647 h 366"/>
              <a:gd name="T22" fmla="*/ 2147483647 w 459"/>
              <a:gd name="T23" fmla="*/ 2147483647 h 366"/>
              <a:gd name="T24" fmla="*/ 2147483647 w 459"/>
              <a:gd name="T25" fmla="*/ 2147483647 h 366"/>
              <a:gd name="T26" fmla="*/ 2147483647 w 459"/>
              <a:gd name="T27" fmla="*/ 2147483647 h 366"/>
              <a:gd name="T28" fmla="*/ 2147483647 w 459"/>
              <a:gd name="T29" fmla="*/ 2147483647 h 366"/>
              <a:gd name="T30" fmla="*/ 2147483647 w 459"/>
              <a:gd name="T31" fmla="*/ 2147483647 h 366"/>
              <a:gd name="T32" fmla="*/ 2147483647 w 459"/>
              <a:gd name="T33" fmla="*/ 2147483647 h 366"/>
              <a:gd name="T34" fmla="*/ 2147483647 w 459"/>
              <a:gd name="T35" fmla="*/ 2147483647 h 366"/>
              <a:gd name="T36" fmla="*/ 2147483647 w 459"/>
              <a:gd name="T37" fmla="*/ 2147483647 h 366"/>
              <a:gd name="T38" fmla="*/ 2147483647 w 459"/>
              <a:gd name="T39" fmla="*/ 2147483647 h 366"/>
              <a:gd name="T40" fmla="*/ 2147483647 w 459"/>
              <a:gd name="T41" fmla="*/ 2147483647 h 366"/>
              <a:gd name="T42" fmla="*/ 2147483647 w 459"/>
              <a:gd name="T43" fmla="*/ 2147483647 h 366"/>
              <a:gd name="T44" fmla="*/ 2147483647 w 459"/>
              <a:gd name="T45" fmla="*/ 2147483647 h 366"/>
              <a:gd name="T46" fmla="*/ 2147483647 w 459"/>
              <a:gd name="T47" fmla="*/ 2147483647 h 366"/>
              <a:gd name="T48" fmla="*/ 2147483647 w 459"/>
              <a:gd name="T49" fmla="*/ 2147483647 h 366"/>
              <a:gd name="T50" fmla="*/ 2147483647 w 459"/>
              <a:gd name="T51" fmla="*/ 2147483647 h 366"/>
              <a:gd name="T52" fmla="*/ 2147483647 w 459"/>
              <a:gd name="T53" fmla="*/ 2147483647 h 366"/>
              <a:gd name="T54" fmla="*/ 2147483647 w 459"/>
              <a:gd name="T55" fmla="*/ 2147483647 h 366"/>
              <a:gd name="T56" fmla="*/ 2147483647 w 459"/>
              <a:gd name="T57" fmla="*/ 2147483647 h 366"/>
              <a:gd name="T58" fmla="*/ 2147483647 w 459"/>
              <a:gd name="T59" fmla="*/ 2147483647 h 366"/>
              <a:gd name="T60" fmla="*/ 2147483647 w 459"/>
              <a:gd name="T61" fmla="*/ 2147483647 h 366"/>
              <a:gd name="T62" fmla="*/ 2147483647 w 459"/>
              <a:gd name="T63" fmla="*/ 2147483647 h 366"/>
              <a:gd name="T64" fmla="*/ 2147483647 w 459"/>
              <a:gd name="T65" fmla="*/ 2147483647 h 366"/>
              <a:gd name="T66" fmla="*/ 2147483647 w 459"/>
              <a:gd name="T67" fmla="*/ 2147483647 h 366"/>
              <a:gd name="T68" fmla="*/ 2147483647 w 459"/>
              <a:gd name="T69" fmla="*/ 2147483647 h 366"/>
              <a:gd name="T70" fmla="*/ 2147483647 w 459"/>
              <a:gd name="T71" fmla="*/ 2147483647 h 366"/>
              <a:gd name="T72" fmla="*/ 2147483647 w 459"/>
              <a:gd name="T73" fmla="*/ 2147483647 h 366"/>
              <a:gd name="T74" fmla="*/ 2147483647 w 459"/>
              <a:gd name="T75" fmla="*/ 2147483647 h 366"/>
              <a:gd name="T76" fmla="*/ 2147483647 w 459"/>
              <a:gd name="T77" fmla="*/ 2147483647 h 366"/>
              <a:gd name="T78" fmla="*/ 2147483647 w 459"/>
              <a:gd name="T79" fmla="*/ 2147483647 h 366"/>
              <a:gd name="T80" fmla="*/ 2147483647 w 459"/>
              <a:gd name="T81" fmla="*/ 2147483647 h 366"/>
              <a:gd name="T82" fmla="*/ 2147483647 w 459"/>
              <a:gd name="T83" fmla="*/ 2147483647 h 366"/>
              <a:gd name="T84" fmla="*/ 2147483647 w 459"/>
              <a:gd name="T85" fmla="*/ 2147483647 h 36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459"/>
              <a:gd name="T130" fmla="*/ 0 h 366"/>
              <a:gd name="T131" fmla="*/ 459 w 459"/>
              <a:gd name="T132" fmla="*/ 366 h 36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459" h="366">
                <a:moveTo>
                  <a:pt x="198" y="366"/>
                </a:moveTo>
                <a:lnTo>
                  <a:pt x="186" y="349"/>
                </a:lnTo>
                <a:lnTo>
                  <a:pt x="180" y="338"/>
                </a:lnTo>
                <a:lnTo>
                  <a:pt x="176" y="330"/>
                </a:lnTo>
                <a:lnTo>
                  <a:pt x="173" y="321"/>
                </a:lnTo>
                <a:lnTo>
                  <a:pt x="165" y="321"/>
                </a:lnTo>
                <a:lnTo>
                  <a:pt x="160" y="321"/>
                </a:lnTo>
                <a:lnTo>
                  <a:pt x="154" y="310"/>
                </a:lnTo>
                <a:lnTo>
                  <a:pt x="143" y="294"/>
                </a:lnTo>
                <a:lnTo>
                  <a:pt x="120" y="263"/>
                </a:lnTo>
                <a:lnTo>
                  <a:pt x="76" y="207"/>
                </a:lnTo>
                <a:lnTo>
                  <a:pt x="56" y="176"/>
                </a:lnTo>
                <a:lnTo>
                  <a:pt x="38" y="144"/>
                </a:lnTo>
                <a:lnTo>
                  <a:pt x="18" y="113"/>
                </a:lnTo>
                <a:lnTo>
                  <a:pt x="0" y="82"/>
                </a:lnTo>
                <a:lnTo>
                  <a:pt x="12" y="74"/>
                </a:lnTo>
                <a:lnTo>
                  <a:pt x="25" y="65"/>
                </a:lnTo>
                <a:lnTo>
                  <a:pt x="30" y="57"/>
                </a:lnTo>
                <a:lnTo>
                  <a:pt x="35" y="51"/>
                </a:lnTo>
                <a:lnTo>
                  <a:pt x="41" y="47"/>
                </a:lnTo>
                <a:lnTo>
                  <a:pt x="47" y="43"/>
                </a:lnTo>
                <a:lnTo>
                  <a:pt x="59" y="38"/>
                </a:lnTo>
                <a:lnTo>
                  <a:pt x="72" y="35"/>
                </a:lnTo>
                <a:lnTo>
                  <a:pt x="83" y="33"/>
                </a:lnTo>
                <a:lnTo>
                  <a:pt x="94" y="29"/>
                </a:lnTo>
                <a:lnTo>
                  <a:pt x="99" y="25"/>
                </a:lnTo>
                <a:lnTo>
                  <a:pt x="103" y="21"/>
                </a:lnTo>
                <a:lnTo>
                  <a:pt x="106" y="14"/>
                </a:lnTo>
                <a:lnTo>
                  <a:pt x="108" y="8"/>
                </a:lnTo>
                <a:lnTo>
                  <a:pt x="125" y="5"/>
                </a:lnTo>
                <a:lnTo>
                  <a:pt x="143" y="3"/>
                </a:lnTo>
                <a:lnTo>
                  <a:pt x="160" y="1"/>
                </a:lnTo>
                <a:lnTo>
                  <a:pt x="178" y="0"/>
                </a:lnTo>
                <a:lnTo>
                  <a:pt x="180" y="13"/>
                </a:lnTo>
                <a:lnTo>
                  <a:pt x="182" y="26"/>
                </a:lnTo>
                <a:lnTo>
                  <a:pt x="198" y="35"/>
                </a:lnTo>
                <a:lnTo>
                  <a:pt x="214" y="47"/>
                </a:lnTo>
                <a:lnTo>
                  <a:pt x="229" y="57"/>
                </a:lnTo>
                <a:lnTo>
                  <a:pt x="245" y="66"/>
                </a:lnTo>
                <a:lnTo>
                  <a:pt x="251" y="69"/>
                </a:lnTo>
                <a:lnTo>
                  <a:pt x="259" y="70"/>
                </a:lnTo>
                <a:lnTo>
                  <a:pt x="266" y="69"/>
                </a:lnTo>
                <a:lnTo>
                  <a:pt x="271" y="65"/>
                </a:lnTo>
                <a:lnTo>
                  <a:pt x="276" y="59"/>
                </a:lnTo>
                <a:lnTo>
                  <a:pt x="281" y="49"/>
                </a:lnTo>
                <a:lnTo>
                  <a:pt x="285" y="36"/>
                </a:lnTo>
                <a:lnTo>
                  <a:pt x="289" y="20"/>
                </a:lnTo>
                <a:lnTo>
                  <a:pt x="302" y="21"/>
                </a:lnTo>
                <a:lnTo>
                  <a:pt x="314" y="23"/>
                </a:lnTo>
                <a:lnTo>
                  <a:pt x="324" y="27"/>
                </a:lnTo>
                <a:lnTo>
                  <a:pt x="333" y="33"/>
                </a:lnTo>
                <a:lnTo>
                  <a:pt x="341" y="38"/>
                </a:lnTo>
                <a:lnTo>
                  <a:pt x="348" y="43"/>
                </a:lnTo>
                <a:lnTo>
                  <a:pt x="354" y="51"/>
                </a:lnTo>
                <a:lnTo>
                  <a:pt x="359" y="59"/>
                </a:lnTo>
                <a:lnTo>
                  <a:pt x="370" y="75"/>
                </a:lnTo>
                <a:lnTo>
                  <a:pt x="376" y="95"/>
                </a:lnTo>
                <a:lnTo>
                  <a:pt x="384" y="118"/>
                </a:lnTo>
                <a:lnTo>
                  <a:pt x="391" y="142"/>
                </a:lnTo>
                <a:lnTo>
                  <a:pt x="405" y="142"/>
                </a:lnTo>
                <a:lnTo>
                  <a:pt x="419" y="143"/>
                </a:lnTo>
                <a:lnTo>
                  <a:pt x="433" y="144"/>
                </a:lnTo>
                <a:lnTo>
                  <a:pt x="448" y="146"/>
                </a:lnTo>
                <a:lnTo>
                  <a:pt x="454" y="154"/>
                </a:lnTo>
                <a:lnTo>
                  <a:pt x="459" y="161"/>
                </a:lnTo>
                <a:lnTo>
                  <a:pt x="430" y="168"/>
                </a:lnTo>
                <a:lnTo>
                  <a:pt x="401" y="173"/>
                </a:lnTo>
                <a:lnTo>
                  <a:pt x="374" y="177"/>
                </a:lnTo>
                <a:lnTo>
                  <a:pt x="345" y="178"/>
                </a:lnTo>
                <a:lnTo>
                  <a:pt x="342" y="190"/>
                </a:lnTo>
                <a:lnTo>
                  <a:pt x="341" y="199"/>
                </a:lnTo>
                <a:lnTo>
                  <a:pt x="341" y="209"/>
                </a:lnTo>
                <a:lnTo>
                  <a:pt x="342" y="219"/>
                </a:lnTo>
                <a:lnTo>
                  <a:pt x="345" y="237"/>
                </a:lnTo>
                <a:lnTo>
                  <a:pt x="346" y="258"/>
                </a:lnTo>
                <a:lnTo>
                  <a:pt x="336" y="265"/>
                </a:lnTo>
                <a:lnTo>
                  <a:pt x="324" y="273"/>
                </a:lnTo>
                <a:lnTo>
                  <a:pt x="311" y="280"/>
                </a:lnTo>
                <a:lnTo>
                  <a:pt x="299" y="285"/>
                </a:lnTo>
                <a:lnTo>
                  <a:pt x="275" y="295"/>
                </a:lnTo>
                <a:lnTo>
                  <a:pt x="249" y="306"/>
                </a:lnTo>
                <a:lnTo>
                  <a:pt x="242" y="317"/>
                </a:lnTo>
                <a:lnTo>
                  <a:pt x="238" y="330"/>
                </a:lnTo>
                <a:lnTo>
                  <a:pt x="233" y="342"/>
                </a:lnTo>
                <a:lnTo>
                  <a:pt x="229" y="355"/>
                </a:lnTo>
                <a:lnTo>
                  <a:pt x="212" y="359"/>
                </a:lnTo>
                <a:lnTo>
                  <a:pt x="198" y="366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26" name="Freeform 91"/>
          <p:cNvSpPr>
            <a:spLocks/>
          </p:cNvSpPr>
          <p:nvPr/>
        </p:nvSpPr>
        <p:spPr bwMode="auto">
          <a:xfrm>
            <a:off x="788988" y="3678238"/>
            <a:ext cx="130175" cy="180975"/>
          </a:xfrm>
          <a:custGeom>
            <a:avLst/>
            <a:gdLst>
              <a:gd name="T0" fmla="*/ 2147483647 w 327"/>
              <a:gd name="T1" fmla="*/ 2147483647 h 454"/>
              <a:gd name="T2" fmla="*/ 2147483647 w 327"/>
              <a:gd name="T3" fmla="*/ 2147483647 h 454"/>
              <a:gd name="T4" fmla="*/ 2147483647 w 327"/>
              <a:gd name="T5" fmla="*/ 2147483647 h 454"/>
              <a:gd name="T6" fmla="*/ 2147483647 w 327"/>
              <a:gd name="T7" fmla="*/ 2147483647 h 454"/>
              <a:gd name="T8" fmla="*/ 2147483647 w 327"/>
              <a:gd name="T9" fmla="*/ 2147483647 h 454"/>
              <a:gd name="T10" fmla="*/ 2147483647 w 327"/>
              <a:gd name="T11" fmla="*/ 2147483647 h 454"/>
              <a:gd name="T12" fmla="*/ 2147483647 w 327"/>
              <a:gd name="T13" fmla="*/ 2147483647 h 454"/>
              <a:gd name="T14" fmla="*/ 2147483647 w 327"/>
              <a:gd name="T15" fmla="*/ 2147483647 h 454"/>
              <a:gd name="T16" fmla="*/ 2147483647 w 327"/>
              <a:gd name="T17" fmla="*/ 2147483647 h 454"/>
              <a:gd name="T18" fmla="*/ 2147483647 w 327"/>
              <a:gd name="T19" fmla="*/ 2147483647 h 454"/>
              <a:gd name="T20" fmla="*/ 2147483647 w 327"/>
              <a:gd name="T21" fmla="*/ 2147483647 h 454"/>
              <a:gd name="T22" fmla="*/ 2147483647 w 327"/>
              <a:gd name="T23" fmla="*/ 2147483647 h 454"/>
              <a:gd name="T24" fmla="*/ 2147483647 w 327"/>
              <a:gd name="T25" fmla="*/ 2147483647 h 454"/>
              <a:gd name="T26" fmla="*/ 2147483647 w 327"/>
              <a:gd name="T27" fmla="*/ 2147483647 h 454"/>
              <a:gd name="T28" fmla="*/ 2147483647 w 327"/>
              <a:gd name="T29" fmla="*/ 2147483647 h 454"/>
              <a:gd name="T30" fmla="*/ 2147483647 w 327"/>
              <a:gd name="T31" fmla="*/ 2147483647 h 454"/>
              <a:gd name="T32" fmla="*/ 2147483647 w 327"/>
              <a:gd name="T33" fmla="*/ 2147483647 h 454"/>
              <a:gd name="T34" fmla="*/ 2147483647 w 327"/>
              <a:gd name="T35" fmla="*/ 2147483647 h 454"/>
              <a:gd name="T36" fmla="*/ 2147483647 w 327"/>
              <a:gd name="T37" fmla="*/ 2147483647 h 454"/>
              <a:gd name="T38" fmla="*/ 2147483647 w 327"/>
              <a:gd name="T39" fmla="*/ 2147483647 h 454"/>
              <a:gd name="T40" fmla="*/ 2147483647 w 327"/>
              <a:gd name="T41" fmla="*/ 2147483647 h 454"/>
              <a:gd name="T42" fmla="*/ 2147483647 w 327"/>
              <a:gd name="T43" fmla="*/ 2147483647 h 454"/>
              <a:gd name="T44" fmla="*/ 2147483647 w 327"/>
              <a:gd name="T45" fmla="*/ 2147483647 h 454"/>
              <a:gd name="T46" fmla="*/ 2147483647 w 327"/>
              <a:gd name="T47" fmla="*/ 2147483647 h 454"/>
              <a:gd name="T48" fmla="*/ 2147483647 w 327"/>
              <a:gd name="T49" fmla="*/ 2147483647 h 454"/>
              <a:gd name="T50" fmla="*/ 2147483647 w 327"/>
              <a:gd name="T51" fmla="*/ 2147483647 h 454"/>
              <a:gd name="T52" fmla="*/ 2147483647 w 327"/>
              <a:gd name="T53" fmla="*/ 2147483647 h 454"/>
              <a:gd name="T54" fmla="*/ 2147483647 w 327"/>
              <a:gd name="T55" fmla="*/ 2147483647 h 454"/>
              <a:gd name="T56" fmla="*/ 2147483647 w 327"/>
              <a:gd name="T57" fmla="*/ 2147483647 h 454"/>
              <a:gd name="T58" fmla="*/ 2147483647 w 327"/>
              <a:gd name="T59" fmla="*/ 2147483647 h 454"/>
              <a:gd name="T60" fmla="*/ 2147483647 w 327"/>
              <a:gd name="T61" fmla="*/ 2147483647 h 454"/>
              <a:gd name="T62" fmla="*/ 2147483647 w 327"/>
              <a:gd name="T63" fmla="*/ 2147483647 h 454"/>
              <a:gd name="T64" fmla="*/ 2147483647 w 327"/>
              <a:gd name="T65" fmla="*/ 2147483647 h 454"/>
              <a:gd name="T66" fmla="*/ 2147483647 w 327"/>
              <a:gd name="T67" fmla="*/ 2147483647 h 454"/>
              <a:gd name="T68" fmla="*/ 2147483647 w 327"/>
              <a:gd name="T69" fmla="*/ 2147483647 h 454"/>
              <a:gd name="T70" fmla="*/ 2147483647 w 327"/>
              <a:gd name="T71" fmla="*/ 2147483647 h 454"/>
              <a:gd name="T72" fmla="*/ 2147483647 w 327"/>
              <a:gd name="T73" fmla="*/ 2147483647 h 454"/>
              <a:gd name="T74" fmla="*/ 2147483647 w 327"/>
              <a:gd name="T75" fmla="*/ 2147483647 h 454"/>
              <a:gd name="T76" fmla="*/ 2147483647 w 327"/>
              <a:gd name="T77" fmla="*/ 2147483647 h 454"/>
              <a:gd name="T78" fmla="*/ 2147483647 w 327"/>
              <a:gd name="T79" fmla="*/ 2147483647 h 454"/>
              <a:gd name="T80" fmla="*/ 2147483647 w 327"/>
              <a:gd name="T81" fmla="*/ 2147483647 h 454"/>
              <a:gd name="T82" fmla="*/ 2147483647 w 327"/>
              <a:gd name="T83" fmla="*/ 2147483647 h 454"/>
              <a:gd name="T84" fmla="*/ 2147483647 w 327"/>
              <a:gd name="T85" fmla="*/ 2147483647 h 454"/>
              <a:gd name="T86" fmla="*/ 2147483647 w 327"/>
              <a:gd name="T87" fmla="*/ 2147483647 h 454"/>
              <a:gd name="T88" fmla="*/ 2147483647 w 327"/>
              <a:gd name="T89" fmla="*/ 2147483647 h 454"/>
              <a:gd name="T90" fmla="*/ 2147483647 w 327"/>
              <a:gd name="T91" fmla="*/ 2147483647 h 454"/>
              <a:gd name="T92" fmla="*/ 2147483647 w 327"/>
              <a:gd name="T93" fmla="*/ 2147483647 h 45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327"/>
              <a:gd name="T142" fmla="*/ 0 h 454"/>
              <a:gd name="T143" fmla="*/ 327 w 327"/>
              <a:gd name="T144" fmla="*/ 454 h 45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327" h="454">
                <a:moveTo>
                  <a:pt x="53" y="454"/>
                </a:moveTo>
                <a:lnTo>
                  <a:pt x="47" y="438"/>
                </a:lnTo>
                <a:lnTo>
                  <a:pt x="39" y="425"/>
                </a:lnTo>
                <a:lnTo>
                  <a:pt x="25" y="406"/>
                </a:lnTo>
                <a:lnTo>
                  <a:pt x="0" y="373"/>
                </a:lnTo>
                <a:lnTo>
                  <a:pt x="18" y="345"/>
                </a:lnTo>
                <a:lnTo>
                  <a:pt x="36" y="321"/>
                </a:lnTo>
                <a:lnTo>
                  <a:pt x="46" y="311"/>
                </a:lnTo>
                <a:lnTo>
                  <a:pt x="55" y="300"/>
                </a:lnTo>
                <a:lnTo>
                  <a:pt x="64" y="293"/>
                </a:lnTo>
                <a:lnTo>
                  <a:pt x="73" y="285"/>
                </a:lnTo>
                <a:lnTo>
                  <a:pt x="83" y="277"/>
                </a:lnTo>
                <a:lnTo>
                  <a:pt x="94" y="272"/>
                </a:lnTo>
                <a:lnTo>
                  <a:pt x="105" y="267"/>
                </a:lnTo>
                <a:lnTo>
                  <a:pt x="117" y="261"/>
                </a:lnTo>
                <a:lnTo>
                  <a:pt x="130" y="258"/>
                </a:lnTo>
                <a:lnTo>
                  <a:pt x="144" y="255"/>
                </a:lnTo>
                <a:lnTo>
                  <a:pt x="160" y="252"/>
                </a:lnTo>
                <a:lnTo>
                  <a:pt x="177" y="251"/>
                </a:lnTo>
                <a:lnTo>
                  <a:pt x="181" y="242"/>
                </a:lnTo>
                <a:lnTo>
                  <a:pt x="185" y="233"/>
                </a:lnTo>
                <a:lnTo>
                  <a:pt x="187" y="225"/>
                </a:lnTo>
                <a:lnTo>
                  <a:pt x="190" y="216"/>
                </a:lnTo>
                <a:lnTo>
                  <a:pt x="193" y="200"/>
                </a:lnTo>
                <a:lnTo>
                  <a:pt x="193" y="183"/>
                </a:lnTo>
                <a:lnTo>
                  <a:pt x="189" y="147"/>
                </a:lnTo>
                <a:lnTo>
                  <a:pt x="182" y="108"/>
                </a:lnTo>
                <a:lnTo>
                  <a:pt x="164" y="114"/>
                </a:lnTo>
                <a:lnTo>
                  <a:pt x="146" y="125"/>
                </a:lnTo>
                <a:lnTo>
                  <a:pt x="138" y="129"/>
                </a:lnTo>
                <a:lnTo>
                  <a:pt x="130" y="133"/>
                </a:lnTo>
                <a:lnTo>
                  <a:pt x="122" y="135"/>
                </a:lnTo>
                <a:lnTo>
                  <a:pt x="117" y="135"/>
                </a:lnTo>
                <a:lnTo>
                  <a:pt x="94" y="103"/>
                </a:lnTo>
                <a:lnTo>
                  <a:pt x="72" y="72"/>
                </a:lnTo>
                <a:lnTo>
                  <a:pt x="64" y="56"/>
                </a:lnTo>
                <a:lnTo>
                  <a:pt x="56" y="39"/>
                </a:lnTo>
                <a:lnTo>
                  <a:pt x="51" y="21"/>
                </a:lnTo>
                <a:lnTo>
                  <a:pt x="48" y="0"/>
                </a:lnTo>
                <a:lnTo>
                  <a:pt x="60" y="1"/>
                </a:lnTo>
                <a:lnTo>
                  <a:pt x="74" y="4"/>
                </a:lnTo>
                <a:lnTo>
                  <a:pt x="85" y="22"/>
                </a:lnTo>
                <a:lnTo>
                  <a:pt x="95" y="39"/>
                </a:lnTo>
                <a:lnTo>
                  <a:pt x="105" y="56"/>
                </a:lnTo>
                <a:lnTo>
                  <a:pt x="117" y="74"/>
                </a:lnTo>
                <a:lnTo>
                  <a:pt x="139" y="75"/>
                </a:lnTo>
                <a:lnTo>
                  <a:pt x="160" y="77"/>
                </a:lnTo>
                <a:lnTo>
                  <a:pt x="185" y="77"/>
                </a:lnTo>
                <a:lnTo>
                  <a:pt x="221" y="79"/>
                </a:lnTo>
                <a:lnTo>
                  <a:pt x="232" y="86"/>
                </a:lnTo>
                <a:lnTo>
                  <a:pt x="242" y="94"/>
                </a:lnTo>
                <a:lnTo>
                  <a:pt x="252" y="103"/>
                </a:lnTo>
                <a:lnTo>
                  <a:pt x="262" y="113"/>
                </a:lnTo>
                <a:lnTo>
                  <a:pt x="271" y="125"/>
                </a:lnTo>
                <a:lnTo>
                  <a:pt x="280" y="138"/>
                </a:lnTo>
                <a:lnTo>
                  <a:pt x="288" y="151"/>
                </a:lnTo>
                <a:lnTo>
                  <a:pt x="295" y="165"/>
                </a:lnTo>
                <a:lnTo>
                  <a:pt x="302" y="180"/>
                </a:lnTo>
                <a:lnTo>
                  <a:pt x="308" y="194"/>
                </a:lnTo>
                <a:lnTo>
                  <a:pt x="314" y="208"/>
                </a:lnTo>
                <a:lnTo>
                  <a:pt x="319" y="222"/>
                </a:lnTo>
                <a:lnTo>
                  <a:pt x="321" y="237"/>
                </a:lnTo>
                <a:lnTo>
                  <a:pt x="324" y="251"/>
                </a:lnTo>
                <a:lnTo>
                  <a:pt x="327" y="263"/>
                </a:lnTo>
                <a:lnTo>
                  <a:pt x="327" y="276"/>
                </a:lnTo>
                <a:lnTo>
                  <a:pt x="306" y="304"/>
                </a:lnTo>
                <a:lnTo>
                  <a:pt x="288" y="332"/>
                </a:lnTo>
                <a:lnTo>
                  <a:pt x="280" y="343"/>
                </a:lnTo>
                <a:lnTo>
                  <a:pt x="272" y="354"/>
                </a:lnTo>
                <a:lnTo>
                  <a:pt x="264" y="363"/>
                </a:lnTo>
                <a:lnTo>
                  <a:pt x="258" y="369"/>
                </a:lnTo>
                <a:lnTo>
                  <a:pt x="255" y="351"/>
                </a:lnTo>
                <a:lnTo>
                  <a:pt x="251" y="332"/>
                </a:lnTo>
                <a:lnTo>
                  <a:pt x="249" y="313"/>
                </a:lnTo>
                <a:lnTo>
                  <a:pt x="246" y="295"/>
                </a:lnTo>
                <a:lnTo>
                  <a:pt x="237" y="297"/>
                </a:lnTo>
                <a:lnTo>
                  <a:pt x="228" y="299"/>
                </a:lnTo>
                <a:lnTo>
                  <a:pt x="220" y="303"/>
                </a:lnTo>
                <a:lnTo>
                  <a:pt x="213" y="307"/>
                </a:lnTo>
                <a:lnTo>
                  <a:pt x="208" y="311"/>
                </a:lnTo>
                <a:lnTo>
                  <a:pt x="203" y="316"/>
                </a:lnTo>
                <a:lnTo>
                  <a:pt x="199" y="321"/>
                </a:lnTo>
                <a:lnTo>
                  <a:pt x="195" y="328"/>
                </a:lnTo>
                <a:lnTo>
                  <a:pt x="184" y="356"/>
                </a:lnTo>
                <a:lnTo>
                  <a:pt x="170" y="390"/>
                </a:lnTo>
                <a:lnTo>
                  <a:pt x="155" y="395"/>
                </a:lnTo>
                <a:lnTo>
                  <a:pt x="139" y="399"/>
                </a:lnTo>
                <a:lnTo>
                  <a:pt x="124" y="403"/>
                </a:lnTo>
                <a:lnTo>
                  <a:pt x="109" y="408"/>
                </a:lnTo>
                <a:lnTo>
                  <a:pt x="105" y="419"/>
                </a:lnTo>
                <a:lnTo>
                  <a:pt x="100" y="428"/>
                </a:lnTo>
                <a:lnTo>
                  <a:pt x="96" y="438"/>
                </a:lnTo>
                <a:lnTo>
                  <a:pt x="92" y="449"/>
                </a:lnTo>
                <a:lnTo>
                  <a:pt x="72" y="451"/>
                </a:lnTo>
                <a:lnTo>
                  <a:pt x="53" y="454"/>
                </a:lnTo>
                <a:close/>
              </a:path>
            </a:pathLst>
          </a:custGeom>
          <a:solidFill>
            <a:schemeClr val="bg1"/>
          </a:solidFill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27" name="Freeform 92"/>
          <p:cNvSpPr>
            <a:spLocks/>
          </p:cNvSpPr>
          <p:nvPr/>
        </p:nvSpPr>
        <p:spPr bwMode="auto">
          <a:xfrm>
            <a:off x="1492250" y="3294063"/>
            <a:ext cx="457200" cy="412750"/>
          </a:xfrm>
          <a:custGeom>
            <a:avLst/>
            <a:gdLst>
              <a:gd name="T0" fmla="*/ 2147483647 w 1150"/>
              <a:gd name="T1" fmla="*/ 2147483647 h 1040"/>
              <a:gd name="T2" fmla="*/ 2147483647 w 1150"/>
              <a:gd name="T3" fmla="*/ 2147483647 h 1040"/>
              <a:gd name="T4" fmla="*/ 2147483647 w 1150"/>
              <a:gd name="T5" fmla="*/ 2147483647 h 1040"/>
              <a:gd name="T6" fmla="*/ 2147483647 w 1150"/>
              <a:gd name="T7" fmla="*/ 2147483647 h 1040"/>
              <a:gd name="T8" fmla="*/ 2147483647 w 1150"/>
              <a:gd name="T9" fmla="*/ 2147483647 h 1040"/>
              <a:gd name="T10" fmla="*/ 2147483647 w 1150"/>
              <a:gd name="T11" fmla="*/ 2147483647 h 1040"/>
              <a:gd name="T12" fmla="*/ 2147483647 w 1150"/>
              <a:gd name="T13" fmla="*/ 2147483647 h 1040"/>
              <a:gd name="T14" fmla="*/ 2147483647 w 1150"/>
              <a:gd name="T15" fmla="*/ 2147483647 h 1040"/>
              <a:gd name="T16" fmla="*/ 2147483647 w 1150"/>
              <a:gd name="T17" fmla="*/ 2147483647 h 1040"/>
              <a:gd name="T18" fmla="*/ 2147483647 w 1150"/>
              <a:gd name="T19" fmla="*/ 2147483647 h 1040"/>
              <a:gd name="T20" fmla="*/ 2147483647 w 1150"/>
              <a:gd name="T21" fmla="*/ 2147483647 h 1040"/>
              <a:gd name="T22" fmla="*/ 2147483647 w 1150"/>
              <a:gd name="T23" fmla="*/ 2147483647 h 1040"/>
              <a:gd name="T24" fmla="*/ 2147483647 w 1150"/>
              <a:gd name="T25" fmla="*/ 2147483647 h 1040"/>
              <a:gd name="T26" fmla="*/ 2147483647 w 1150"/>
              <a:gd name="T27" fmla="*/ 2147483647 h 1040"/>
              <a:gd name="T28" fmla="*/ 2147483647 w 1150"/>
              <a:gd name="T29" fmla="*/ 2147483647 h 1040"/>
              <a:gd name="T30" fmla="*/ 2147483647 w 1150"/>
              <a:gd name="T31" fmla="*/ 2147483647 h 1040"/>
              <a:gd name="T32" fmla="*/ 2147483647 w 1150"/>
              <a:gd name="T33" fmla="*/ 2147483647 h 1040"/>
              <a:gd name="T34" fmla="*/ 2147483647 w 1150"/>
              <a:gd name="T35" fmla="*/ 2147483647 h 1040"/>
              <a:gd name="T36" fmla="*/ 0 w 1150"/>
              <a:gd name="T37" fmla="*/ 2147483647 h 1040"/>
              <a:gd name="T38" fmla="*/ 2147483647 w 1150"/>
              <a:gd name="T39" fmla="*/ 2147483647 h 1040"/>
              <a:gd name="T40" fmla="*/ 2147483647 w 1150"/>
              <a:gd name="T41" fmla="*/ 2147483647 h 1040"/>
              <a:gd name="T42" fmla="*/ 2147483647 w 1150"/>
              <a:gd name="T43" fmla="*/ 2147483647 h 1040"/>
              <a:gd name="T44" fmla="*/ 2147483647 w 1150"/>
              <a:gd name="T45" fmla="*/ 2147483647 h 1040"/>
              <a:gd name="T46" fmla="*/ 2147483647 w 1150"/>
              <a:gd name="T47" fmla="*/ 2147483647 h 1040"/>
              <a:gd name="T48" fmla="*/ 2147483647 w 1150"/>
              <a:gd name="T49" fmla="*/ 2147483647 h 1040"/>
              <a:gd name="T50" fmla="*/ 2147483647 w 1150"/>
              <a:gd name="T51" fmla="*/ 2147483647 h 1040"/>
              <a:gd name="T52" fmla="*/ 2147483647 w 1150"/>
              <a:gd name="T53" fmla="*/ 2147483647 h 1040"/>
              <a:gd name="T54" fmla="*/ 2147483647 w 1150"/>
              <a:gd name="T55" fmla="*/ 2147483647 h 1040"/>
              <a:gd name="T56" fmla="*/ 2147483647 w 1150"/>
              <a:gd name="T57" fmla="*/ 2147483647 h 1040"/>
              <a:gd name="T58" fmla="*/ 2147483647 w 1150"/>
              <a:gd name="T59" fmla="*/ 2147483647 h 1040"/>
              <a:gd name="T60" fmla="*/ 2147483647 w 1150"/>
              <a:gd name="T61" fmla="*/ 2147483647 h 1040"/>
              <a:gd name="T62" fmla="*/ 2147483647 w 1150"/>
              <a:gd name="T63" fmla="*/ 2147483647 h 1040"/>
              <a:gd name="T64" fmla="*/ 2147483647 w 1150"/>
              <a:gd name="T65" fmla="*/ 2147483647 h 1040"/>
              <a:gd name="T66" fmla="*/ 2147483647 w 1150"/>
              <a:gd name="T67" fmla="*/ 2147483647 h 1040"/>
              <a:gd name="T68" fmla="*/ 2147483647 w 1150"/>
              <a:gd name="T69" fmla="*/ 2147483647 h 1040"/>
              <a:gd name="T70" fmla="*/ 2147483647 w 1150"/>
              <a:gd name="T71" fmla="*/ 2147483647 h 1040"/>
              <a:gd name="T72" fmla="*/ 2147483647 w 1150"/>
              <a:gd name="T73" fmla="*/ 2147483647 h 1040"/>
              <a:gd name="T74" fmla="*/ 2147483647 w 1150"/>
              <a:gd name="T75" fmla="*/ 2147483647 h 1040"/>
              <a:gd name="T76" fmla="*/ 2147483647 w 1150"/>
              <a:gd name="T77" fmla="*/ 2147483647 h 1040"/>
              <a:gd name="T78" fmla="*/ 2147483647 w 1150"/>
              <a:gd name="T79" fmla="*/ 2147483647 h 1040"/>
              <a:gd name="T80" fmla="*/ 2147483647 w 1150"/>
              <a:gd name="T81" fmla="*/ 2147483647 h 1040"/>
              <a:gd name="T82" fmla="*/ 2147483647 w 1150"/>
              <a:gd name="T83" fmla="*/ 2147483647 h 1040"/>
              <a:gd name="T84" fmla="*/ 2147483647 w 1150"/>
              <a:gd name="T85" fmla="*/ 2147483647 h 1040"/>
              <a:gd name="T86" fmla="*/ 2147483647 w 1150"/>
              <a:gd name="T87" fmla="*/ 2147483647 h 1040"/>
              <a:gd name="T88" fmla="*/ 2147483647 w 1150"/>
              <a:gd name="T89" fmla="*/ 2147483647 h 1040"/>
              <a:gd name="T90" fmla="*/ 2147483647 w 1150"/>
              <a:gd name="T91" fmla="*/ 2147483647 h 1040"/>
              <a:gd name="T92" fmla="*/ 2147483647 w 1150"/>
              <a:gd name="T93" fmla="*/ 2147483647 h 1040"/>
              <a:gd name="T94" fmla="*/ 2147483647 w 1150"/>
              <a:gd name="T95" fmla="*/ 2147483647 h 1040"/>
              <a:gd name="T96" fmla="*/ 2147483647 w 1150"/>
              <a:gd name="T97" fmla="*/ 2147483647 h 1040"/>
              <a:gd name="T98" fmla="*/ 2147483647 w 1150"/>
              <a:gd name="T99" fmla="*/ 2147483647 h 1040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150"/>
              <a:gd name="T151" fmla="*/ 0 h 1040"/>
              <a:gd name="T152" fmla="*/ 1150 w 1150"/>
              <a:gd name="T153" fmla="*/ 1040 h 1040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150" h="1040">
                <a:moveTo>
                  <a:pt x="621" y="1040"/>
                </a:moveTo>
                <a:lnTo>
                  <a:pt x="596" y="1016"/>
                </a:lnTo>
                <a:lnTo>
                  <a:pt x="569" y="989"/>
                </a:lnTo>
                <a:lnTo>
                  <a:pt x="539" y="962"/>
                </a:lnTo>
                <a:lnTo>
                  <a:pt x="509" y="935"/>
                </a:lnTo>
                <a:lnTo>
                  <a:pt x="482" y="906"/>
                </a:lnTo>
                <a:lnTo>
                  <a:pt x="456" y="876"/>
                </a:lnTo>
                <a:lnTo>
                  <a:pt x="445" y="862"/>
                </a:lnTo>
                <a:lnTo>
                  <a:pt x="435" y="846"/>
                </a:lnTo>
                <a:lnTo>
                  <a:pt x="426" y="832"/>
                </a:lnTo>
                <a:lnTo>
                  <a:pt x="419" y="816"/>
                </a:lnTo>
                <a:lnTo>
                  <a:pt x="408" y="803"/>
                </a:lnTo>
                <a:lnTo>
                  <a:pt x="400" y="794"/>
                </a:lnTo>
                <a:lnTo>
                  <a:pt x="397" y="788"/>
                </a:lnTo>
                <a:lnTo>
                  <a:pt x="396" y="781"/>
                </a:lnTo>
                <a:lnTo>
                  <a:pt x="397" y="767"/>
                </a:lnTo>
                <a:lnTo>
                  <a:pt x="396" y="741"/>
                </a:lnTo>
                <a:lnTo>
                  <a:pt x="384" y="733"/>
                </a:lnTo>
                <a:lnTo>
                  <a:pt x="371" y="728"/>
                </a:lnTo>
                <a:lnTo>
                  <a:pt x="358" y="725"/>
                </a:lnTo>
                <a:lnTo>
                  <a:pt x="344" y="723"/>
                </a:lnTo>
                <a:lnTo>
                  <a:pt x="331" y="720"/>
                </a:lnTo>
                <a:lnTo>
                  <a:pt x="318" y="718"/>
                </a:lnTo>
                <a:lnTo>
                  <a:pt x="305" y="714"/>
                </a:lnTo>
                <a:lnTo>
                  <a:pt x="292" y="707"/>
                </a:lnTo>
                <a:lnTo>
                  <a:pt x="292" y="695"/>
                </a:lnTo>
                <a:lnTo>
                  <a:pt x="292" y="684"/>
                </a:lnTo>
                <a:lnTo>
                  <a:pt x="298" y="679"/>
                </a:lnTo>
                <a:lnTo>
                  <a:pt x="303" y="675"/>
                </a:lnTo>
                <a:lnTo>
                  <a:pt x="301" y="663"/>
                </a:lnTo>
                <a:lnTo>
                  <a:pt x="298" y="653"/>
                </a:lnTo>
                <a:lnTo>
                  <a:pt x="296" y="642"/>
                </a:lnTo>
                <a:lnTo>
                  <a:pt x="292" y="632"/>
                </a:lnTo>
                <a:lnTo>
                  <a:pt x="284" y="630"/>
                </a:lnTo>
                <a:lnTo>
                  <a:pt x="276" y="629"/>
                </a:lnTo>
                <a:lnTo>
                  <a:pt x="267" y="630"/>
                </a:lnTo>
                <a:lnTo>
                  <a:pt x="261" y="632"/>
                </a:lnTo>
                <a:lnTo>
                  <a:pt x="245" y="636"/>
                </a:lnTo>
                <a:lnTo>
                  <a:pt x="232" y="638"/>
                </a:lnTo>
                <a:lnTo>
                  <a:pt x="225" y="640"/>
                </a:lnTo>
                <a:lnTo>
                  <a:pt x="220" y="638"/>
                </a:lnTo>
                <a:lnTo>
                  <a:pt x="214" y="637"/>
                </a:lnTo>
                <a:lnTo>
                  <a:pt x="208" y="633"/>
                </a:lnTo>
                <a:lnTo>
                  <a:pt x="203" y="627"/>
                </a:lnTo>
                <a:lnTo>
                  <a:pt x="199" y="619"/>
                </a:lnTo>
                <a:lnTo>
                  <a:pt x="194" y="607"/>
                </a:lnTo>
                <a:lnTo>
                  <a:pt x="190" y="594"/>
                </a:lnTo>
                <a:lnTo>
                  <a:pt x="208" y="575"/>
                </a:lnTo>
                <a:lnTo>
                  <a:pt x="223" y="558"/>
                </a:lnTo>
                <a:lnTo>
                  <a:pt x="235" y="542"/>
                </a:lnTo>
                <a:lnTo>
                  <a:pt x="242" y="529"/>
                </a:lnTo>
                <a:lnTo>
                  <a:pt x="246" y="517"/>
                </a:lnTo>
                <a:lnTo>
                  <a:pt x="249" y="506"/>
                </a:lnTo>
                <a:lnTo>
                  <a:pt x="248" y="495"/>
                </a:lnTo>
                <a:lnTo>
                  <a:pt x="245" y="485"/>
                </a:lnTo>
                <a:lnTo>
                  <a:pt x="241" y="476"/>
                </a:lnTo>
                <a:lnTo>
                  <a:pt x="235" y="467"/>
                </a:lnTo>
                <a:lnTo>
                  <a:pt x="225" y="456"/>
                </a:lnTo>
                <a:lnTo>
                  <a:pt x="216" y="446"/>
                </a:lnTo>
                <a:lnTo>
                  <a:pt x="195" y="421"/>
                </a:lnTo>
                <a:lnTo>
                  <a:pt x="173" y="391"/>
                </a:lnTo>
                <a:lnTo>
                  <a:pt x="153" y="388"/>
                </a:lnTo>
                <a:lnTo>
                  <a:pt x="134" y="386"/>
                </a:lnTo>
                <a:lnTo>
                  <a:pt x="132" y="377"/>
                </a:lnTo>
                <a:lnTo>
                  <a:pt x="129" y="368"/>
                </a:lnTo>
                <a:lnTo>
                  <a:pt x="124" y="360"/>
                </a:lnTo>
                <a:lnTo>
                  <a:pt x="119" y="353"/>
                </a:lnTo>
                <a:lnTo>
                  <a:pt x="111" y="348"/>
                </a:lnTo>
                <a:lnTo>
                  <a:pt x="104" y="343"/>
                </a:lnTo>
                <a:lnTo>
                  <a:pt x="97" y="338"/>
                </a:lnTo>
                <a:lnTo>
                  <a:pt x="87" y="334"/>
                </a:lnTo>
                <a:lnTo>
                  <a:pt x="50" y="321"/>
                </a:lnTo>
                <a:lnTo>
                  <a:pt x="12" y="309"/>
                </a:lnTo>
                <a:lnTo>
                  <a:pt x="7" y="277"/>
                </a:lnTo>
                <a:lnTo>
                  <a:pt x="2" y="245"/>
                </a:lnTo>
                <a:lnTo>
                  <a:pt x="0" y="230"/>
                </a:lnTo>
                <a:lnTo>
                  <a:pt x="3" y="215"/>
                </a:lnTo>
                <a:lnTo>
                  <a:pt x="4" y="209"/>
                </a:lnTo>
                <a:lnTo>
                  <a:pt x="8" y="202"/>
                </a:lnTo>
                <a:lnTo>
                  <a:pt x="12" y="196"/>
                </a:lnTo>
                <a:lnTo>
                  <a:pt x="17" y="189"/>
                </a:lnTo>
                <a:lnTo>
                  <a:pt x="19" y="163"/>
                </a:lnTo>
                <a:lnTo>
                  <a:pt x="20" y="137"/>
                </a:lnTo>
                <a:lnTo>
                  <a:pt x="21" y="113"/>
                </a:lnTo>
                <a:lnTo>
                  <a:pt x="22" y="88"/>
                </a:lnTo>
                <a:lnTo>
                  <a:pt x="51" y="74"/>
                </a:lnTo>
                <a:lnTo>
                  <a:pt x="76" y="59"/>
                </a:lnTo>
                <a:lnTo>
                  <a:pt x="86" y="50"/>
                </a:lnTo>
                <a:lnTo>
                  <a:pt x="97" y="41"/>
                </a:lnTo>
                <a:lnTo>
                  <a:pt x="108" y="31"/>
                </a:lnTo>
                <a:lnTo>
                  <a:pt x="119" y="19"/>
                </a:lnTo>
                <a:lnTo>
                  <a:pt x="145" y="13"/>
                </a:lnTo>
                <a:lnTo>
                  <a:pt x="171" y="9"/>
                </a:lnTo>
                <a:lnTo>
                  <a:pt x="198" y="3"/>
                </a:lnTo>
                <a:lnTo>
                  <a:pt x="225" y="0"/>
                </a:lnTo>
                <a:lnTo>
                  <a:pt x="229" y="6"/>
                </a:lnTo>
                <a:lnTo>
                  <a:pt x="235" y="15"/>
                </a:lnTo>
                <a:lnTo>
                  <a:pt x="249" y="15"/>
                </a:lnTo>
                <a:lnTo>
                  <a:pt x="262" y="18"/>
                </a:lnTo>
                <a:lnTo>
                  <a:pt x="274" y="22"/>
                </a:lnTo>
                <a:lnTo>
                  <a:pt x="284" y="28"/>
                </a:lnTo>
                <a:lnTo>
                  <a:pt x="293" y="35"/>
                </a:lnTo>
                <a:lnTo>
                  <a:pt x="301" y="42"/>
                </a:lnTo>
                <a:lnTo>
                  <a:pt x="309" y="50"/>
                </a:lnTo>
                <a:lnTo>
                  <a:pt x="316" y="61"/>
                </a:lnTo>
                <a:lnTo>
                  <a:pt x="329" y="80"/>
                </a:lnTo>
                <a:lnTo>
                  <a:pt x="344" y="102"/>
                </a:lnTo>
                <a:lnTo>
                  <a:pt x="350" y="113"/>
                </a:lnTo>
                <a:lnTo>
                  <a:pt x="358" y="123"/>
                </a:lnTo>
                <a:lnTo>
                  <a:pt x="366" y="133"/>
                </a:lnTo>
                <a:lnTo>
                  <a:pt x="375" y="144"/>
                </a:lnTo>
                <a:lnTo>
                  <a:pt x="389" y="145"/>
                </a:lnTo>
                <a:lnTo>
                  <a:pt x="405" y="148"/>
                </a:lnTo>
                <a:lnTo>
                  <a:pt x="421" y="150"/>
                </a:lnTo>
                <a:lnTo>
                  <a:pt x="436" y="153"/>
                </a:lnTo>
                <a:lnTo>
                  <a:pt x="443" y="167"/>
                </a:lnTo>
                <a:lnTo>
                  <a:pt x="448" y="182"/>
                </a:lnTo>
                <a:lnTo>
                  <a:pt x="454" y="197"/>
                </a:lnTo>
                <a:lnTo>
                  <a:pt x="462" y="213"/>
                </a:lnTo>
                <a:lnTo>
                  <a:pt x="480" y="219"/>
                </a:lnTo>
                <a:lnTo>
                  <a:pt x="499" y="228"/>
                </a:lnTo>
                <a:lnTo>
                  <a:pt x="517" y="239"/>
                </a:lnTo>
                <a:lnTo>
                  <a:pt x="535" y="249"/>
                </a:lnTo>
                <a:lnTo>
                  <a:pt x="569" y="271"/>
                </a:lnTo>
                <a:lnTo>
                  <a:pt x="601" y="294"/>
                </a:lnTo>
                <a:lnTo>
                  <a:pt x="622" y="291"/>
                </a:lnTo>
                <a:lnTo>
                  <a:pt x="643" y="288"/>
                </a:lnTo>
                <a:lnTo>
                  <a:pt x="664" y="287"/>
                </a:lnTo>
                <a:lnTo>
                  <a:pt x="685" y="286"/>
                </a:lnTo>
                <a:lnTo>
                  <a:pt x="692" y="290"/>
                </a:lnTo>
                <a:lnTo>
                  <a:pt x="700" y="296"/>
                </a:lnTo>
                <a:lnTo>
                  <a:pt x="709" y="303"/>
                </a:lnTo>
                <a:lnTo>
                  <a:pt x="717" y="310"/>
                </a:lnTo>
                <a:lnTo>
                  <a:pt x="734" y="325"/>
                </a:lnTo>
                <a:lnTo>
                  <a:pt x="750" y="335"/>
                </a:lnTo>
                <a:lnTo>
                  <a:pt x="751" y="346"/>
                </a:lnTo>
                <a:lnTo>
                  <a:pt x="751" y="356"/>
                </a:lnTo>
                <a:lnTo>
                  <a:pt x="752" y="366"/>
                </a:lnTo>
                <a:lnTo>
                  <a:pt x="754" y="377"/>
                </a:lnTo>
                <a:lnTo>
                  <a:pt x="778" y="392"/>
                </a:lnTo>
                <a:lnTo>
                  <a:pt x="799" y="407"/>
                </a:lnTo>
                <a:lnTo>
                  <a:pt x="819" y="416"/>
                </a:lnTo>
                <a:lnTo>
                  <a:pt x="838" y="424"/>
                </a:lnTo>
                <a:lnTo>
                  <a:pt x="859" y="429"/>
                </a:lnTo>
                <a:lnTo>
                  <a:pt x="881" y="434"/>
                </a:lnTo>
                <a:lnTo>
                  <a:pt x="906" y="437"/>
                </a:lnTo>
                <a:lnTo>
                  <a:pt x="934" y="439"/>
                </a:lnTo>
                <a:lnTo>
                  <a:pt x="953" y="451"/>
                </a:lnTo>
                <a:lnTo>
                  <a:pt x="973" y="463"/>
                </a:lnTo>
                <a:lnTo>
                  <a:pt x="981" y="498"/>
                </a:lnTo>
                <a:lnTo>
                  <a:pt x="989" y="528"/>
                </a:lnTo>
                <a:lnTo>
                  <a:pt x="997" y="558"/>
                </a:lnTo>
                <a:lnTo>
                  <a:pt x="1003" y="594"/>
                </a:lnTo>
                <a:lnTo>
                  <a:pt x="1015" y="601"/>
                </a:lnTo>
                <a:lnTo>
                  <a:pt x="1027" y="608"/>
                </a:lnTo>
                <a:lnTo>
                  <a:pt x="1040" y="615"/>
                </a:lnTo>
                <a:lnTo>
                  <a:pt x="1052" y="623"/>
                </a:lnTo>
                <a:lnTo>
                  <a:pt x="1061" y="653"/>
                </a:lnTo>
                <a:lnTo>
                  <a:pt x="1070" y="688"/>
                </a:lnTo>
                <a:lnTo>
                  <a:pt x="1081" y="727"/>
                </a:lnTo>
                <a:lnTo>
                  <a:pt x="1093" y="766"/>
                </a:lnTo>
                <a:lnTo>
                  <a:pt x="1106" y="803"/>
                </a:lnTo>
                <a:lnTo>
                  <a:pt x="1120" y="840"/>
                </a:lnTo>
                <a:lnTo>
                  <a:pt x="1128" y="857"/>
                </a:lnTo>
                <a:lnTo>
                  <a:pt x="1135" y="872"/>
                </a:lnTo>
                <a:lnTo>
                  <a:pt x="1143" y="887"/>
                </a:lnTo>
                <a:lnTo>
                  <a:pt x="1150" y="900"/>
                </a:lnTo>
                <a:lnTo>
                  <a:pt x="1145" y="910"/>
                </a:lnTo>
                <a:lnTo>
                  <a:pt x="1139" y="923"/>
                </a:lnTo>
                <a:lnTo>
                  <a:pt x="1136" y="930"/>
                </a:lnTo>
                <a:lnTo>
                  <a:pt x="1132" y="937"/>
                </a:lnTo>
                <a:lnTo>
                  <a:pt x="1130" y="947"/>
                </a:lnTo>
                <a:lnTo>
                  <a:pt x="1127" y="957"/>
                </a:lnTo>
                <a:lnTo>
                  <a:pt x="1110" y="957"/>
                </a:lnTo>
                <a:lnTo>
                  <a:pt x="1092" y="957"/>
                </a:lnTo>
                <a:lnTo>
                  <a:pt x="1075" y="958"/>
                </a:lnTo>
                <a:lnTo>
                  <a:pt x="1058" y="958"/>
                </a:lnTo>
                <a:lnTo>
                  <a:pt x="1045" y="965"/>
                </a:lnTo>
                <a:lnTo>
                  <a:pt x="1032" y="969"/>
                </a:lnTo>
                <a:lnTo>
                  <a:pt x="1018" y="971"/>
                </a:lnTo>
                <a:lnTo>
                  <a:pt x="1005" y="973"/>
                </a:lnTo>
                <a:lnTo>
                  <a:pt x="990" y="973"/>
                </a:lnTo>
                <a:lnTo>
                  <a:pt x="976" y="971"/>
                </a:lnTo>
                <a:lnTo>
                  <a:pt x="962" y="969"/>
                </a:lnTo>
                <a:lnTo>
                  <a:pt x="947" y="966"/>
                </a:lnTo>
                <a:lnTo>
                  <a:pt x="919" y="961"/>
                </a:lnTo>
                <a:lnTo>
                  <a:pt x="890" y="954"/>
                </a:lnTo>
                <a:lnTo>
                  <a:pt x="876" y="952"/>
                </a:lnTo>
                <a:lnTo>
                  <a:pt x="862" y="950"/>
                </a:lnTo>
                <a:lnTo>
                  <a:pt x="849" y="949"/>
                </a:lnTo>
                <a:lnTo>
                  <a:pt x="834" y="949"/>
                </a:lnTo>
                <a:lnTo>
                  <a:pt x="825" y="960"/>
                </a:lnTo>
                <a:lnTo>
                  <a:pt x="815" y="971"/>
                </a:lnTo>
                <a:lnTo>
                  <a:pt x="804" y="982"/>
                </a:lnTo>
                <a:lnTo>
                  <a:pt x="794" y="993"/>
                </a:lnTo>
                <a:lnTo>
                  <a:pt x="774" y="989"/>
                </a:lnTo>
                <a:lnTo>
                  <a:pt x="752" y="987"/>
                </a:lnTo>
                <a:lnTo>
                  <a:pt x="717" y="987"/>
                </a:lnTo>
                <a:lnTo>
                  <a:pt x="656" y="988"/>
                </a:lnTo>
                <a:lnTo>
                  <a:pt x="647" y="1001"/>
                </a:lnTo>
                <a:lnTo>
                  <a:pt x="639" y="1014"/>
                </a:lnTo>
                <a:lnTo>
                  <a:pt x="630" y="1027"/>
                </a:lnTo>
                <a:lnTo>
                  <a:pt x="621" y="1040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28" name="Freeform 93"/>
          <p:cNvSpPr>
            <a:spLocks/>
          </p:cNvSpPr>
          <p:nvPr/>
        </p:nvSpPr>
        <p:spPr bwMode="auto">
          <a:xfrm>
            <a:off x="1952625" y="3194050"/>
            <a:ext cx="427038" cy="369888"/>
          </a:xfrm>
          <a:custGeom>
            <a:avLst/>
            <a:gdLst>
              <a:gd name="T0" fmla="*/ 2147483647 w 1077"/>
              <a:gd name="T1" fmla="*/ 2147483647 h 935"/>
              <a:gd name="T2" fmla="*/ 2147483647 w 1077"/>
              <a:gd name="T3" fmla="*/ 2147483647 h 935"/>
              <a:gd name="T4" fmla="*/ 2147483647 w 1077"/>
              <a:gd name="T5" fmla="*/ 2147483647 h 935"/>
              <a:gd name="T6" fmla="*/ 2147483647 w 1077"/>
              <a:gd name="T7" fmla="*/ 2147483647 h 935"/>
              <a:gd name="T8" fmla="*/ 2147483647 w 1077"/>
              <a:gd name="T9" fmla="*/ 2147483647 h 935"/>
              <a:gd name="T10" fmla="*/ 2147483647 w 1077"/>
              <a:gd name="T11" fmla="*/ 2147483647 h 935"/>
              <a:gd name="T12" fmla="*/ 2147483647 w 1077"/>
              <a:gd name="T13" fmla="*/ 2147483647 h 935"/>
              <a:gd name="T14" fmla="*/ 2147483647 w 1077"/>
              <a:gd name="T15" fmla="*/ 2147483647 h 935"/>
              <a:gd name="T16" fmla="*/ 2147483647 w 1077"/>
              <a:gd name="T17" fmla="*/ 2147483647 h 935"/>
              <a:gd name="T18" fmla="*/ 2147483647 w 1077"/>
              <a:gd name="T19" fmla="*/ 2147483647 h 935"/>
              <a:gd name="T20" fmla="*/ 2147483647 w 1077"/>
              <a:gd name="T21" fmla="*/ 2147483647 h 935"/>
              <a:gd name="T22" fmla="*/ 2147483647 w 1077"/>
              <a:gd name="T23" fmla="*/ 2147483647 h 935"/>
              <a:gd name="T24" fmla="*/ 2147483647 w 1077"/>
              <a:gd name="T25" fmla="*/ 2147483647 h 935"/>
              <a:gd name="T26" fmla="*/ 2147483647 w 1077"/>
              <a:gd name="T27" fmla="*/ 2147483647 h 935"/>
              <a:gd name="T28" fmla="*/ 2147483647 w 1077"/>
              <a:gd name="T29" fmla="*/ 2147483647 h 935"/>
              <a:gd name="T30" fmla="*/ 2147483647 w 1077"/>
              <a:gd name="T31" fmla="*/ 2147483647 h 935"/>
              <a:gd name="T32" fmla="*/ 2147483647 w 1077"/>
              <a:gd name="T33" fmla="*/ 2147483647 h 935"/>
              <a:gd name="T34" fmla="*/ 2147483647 w 1077"/>
              <a:gd name="T35" fmla="*/ 2147483647 h 935"/>
              <a:gd name="T36" fmla="*/ 2147483647 w 1077"/>
              <a:gd name="T37" fmla="*/ 2147483647 h 935"/>
              <a:gd name="T38" fmla="*/ 2147483647 w 1077"/>
              <a:gd name="T39" fmla="*/ 2147483647 h 935"/>
              <a:gd name="T40" fmla="*/ 2147483647 w 1077"/>
              <a:gd name="T41" fmla="*/ 2147483647 h 935"/>
              <a:gd name="T42" fmla="*/ 2147483647 w 1077"/>
              <a:gd name="T43" fmla="*/ 2147483647 h 935"/>
              <a:gd name="T44" fmla="*/ 2147483647 w 1077"/>
              <a:gd name="T45" fmla="*/ 2147483647 h 935"/>
              <a:gd name="T46" fmla="*/ 2147483647 w 1077"/>
              <a:gd name="T47" fmla="*/ 2147483647 h 935"/>
              <a:gd name="T48" fmla="*/ 2147483647 w 1077"/>
              <a:gd name="T49" fmla="*/ 2147483647 h 935"/>
              <a:gd name="T50" fmla="*/ 2147483647 w 1077"/>
              <a:gd name="T51" fmla="*/ 2147483647 h 935"/>
              <a:gd name="T52" fmla="*/ 2147483647 w 1077"/>
              <a:gd name="T53" fmla="*/ 2147483647 h 935"/>
              <a:gd name="T54" fmla="*/ 2147483647 w 1077"/>
              <a:gd name="T55" fmla="*/ 2147483647 h 935"/>
              <a:gd name="T56" fmla="*/ 2147483647 w 1077"/>
              <a:gd name="T57" fmla="*/ 2147483647 h 935"/>
              <a:gd name="T58" fmla="*/ 2147483647 w 1077"/>
              <a:gd name="T59" fmla="*/ 2147483647 h 935"/>
              <a:gd name="T60" fmla="*/ 2147483647 w 1077"/>
              <a:gd name="T61" fmla="*/ 2147483647 h 935"/>
              <a:gd name="T62" fmla="*/ 2147483647 w 1077"/>
              <a:gd name="T63" fmla="*/ 2147483647 h 935"/>
              <a:gd name="T64" fmla="*/ 2147483647 w 1077"/>
              <a:gd name="T65" fmla="*/ 2147483647 h 935"/>
              <a:gd name="T66" fmla="*/ 2147483647 w 1077"/>
              <a:gd name="T67" fmla="*/ 2147483647 h 935"/>
              <a:gd name="T68" fmla="*/ 2147483647 w 1077"/>
              <a:gd name="T69" fmla="*/ 2147483647 h 935"/>
              <a:gd name="T70" fmla="*/ 2147483647 w 1077"/>
              <a:gd name="T71" fmla="*/ 2147483647 h 935"/>
              <a:gd name="T72" fmla="*/ 2147483647 w 1077"/>
              <a:gd name="T73" fmla="*/ 2147483647 h 935"/>
              <a:gd name="T74" fmla="*/ 2147483647 w 1077"/>
              <a:gd name="T75" fmla="*/ 2147483647 h 935"/>
              <a:gd name="T76" fmla="*/ 2147483647 w 1077"/>
              <a:gd name="T77" fmla="*/ 2147483647 h 935"/>
              <a:gd name="T78" fmla="*/ 2147483647 w 1077"/>
              <a:gd name="T79" fmla="*/ 2147483647 h 935"/>
              <a:gd name="T80" fmla="*/ 2147483647 w 1077"/>
              <a:gd name="T81" fmla="*/ 2147483647 h 935"/>
              <a:gd name="T82" fmla="*/ 2147483647 w 1077"/>
              <a:gd name="T83" fmla="*/ 2147483647 h 935"/>
              <a:gd name="T84" fmla="*/ 2147483647 w 1077"/>
              <a:gd name="T85" fmla="*/ 2147483647 h 935"/>
              <a:gd name="T86" fmla="*/ 2147483647 w 1077"/>
              <a:gd name="T87" fmla="*/ 2147483647 h 935"/>
              <a:gd name="T88" fmla="*/ 2147483647 w 1077"/>
              <a:gd name="T89" fmla="*/ 2147483647 h 935"/>
              <a:gd name="T90" fmla="*/ 2147483647 w 1077"/>
              <a:gd name="T91" fmla="*/ 2147483647 h 935"/>
              <a:gd name="T92" fmla="*/ 2147483647 w 1077"/>
              <a:gd name="T93" fmla="*/ 2147483647 h 935"/>
              <a:gd name="T94" fmla="*/ 2147483647 w 1077"/>
              <a:gd name="T95" fmla="*/ 2147483647 h 935"/>
              <a:gd name="T96" fmla="*/ 2147483647 w 1077"/>
              <a:gd name="T97" fmla="*/ 2147483647 h 935"/>
              <a:gd name="T98" fmla="*/ 2147483647 w 1077"/>
              <a:gd name="T99" fmla="*/ 2147483647 h 935"/>
              <a:gd name="T100" fmla="*/ 2147483647 w 1077"/>
              <a:gd name="T101" fmla="*/ 2147483647 h 935"/>
              <a:gd name="T102" fmla="*/ 2147483647 w 1077"/>
              <a:gd name="T103" fmla="*/ 2147483647 h 935"/>
              <a:gd name="T104" fmla="*/ 2147483647 w 1077"/>
              <a:gd name="T105" fmla="*/ 2147483647 h 935"/>
              <a:gd name="T106" fmla="*/ 2147483647 w 1077"/>
              <a:gd name="T107" fmla="*/ 2147483647 h 935"/>
              <a:gd name="T108" fmla="*/ 2147483647 w 1077"/>
              <a:gd name="T109" fmla="*/ 2147483647 h 935"/>
              <a:gd name="T110" fmla="*/ 2147483647 w 1077"/>
              <a:gd name="T111" fmla="*/ 2147483647 h 935"/>
              <a:gd name="T112" fmla="*/ 2147483647 w 1077"/>
              <a:gd name="T113" fmla="*/ 2147483647 h 935"/>
              <a:gd name="T114" fmla="*/ 2147483647 w 1077"/>
              <a:gd name="T115" fmla="*/ 2147483647 h 935"/>
              <a:gd name="T116" fmla="*/ 2147483647 w 1077"/>
              <a:gd name="T117" fmla="*/ 2147483647 h 935"/>
              <a:gd name="T118" fmla="*/ 2147483647 w 1077"/>
              <a:gd name="T119" fmla="*/ 2147483647 h 935"/>
              <a:gd name="T120" fmla="*/ 2147483647 w 1077"/>
              <a:gd name="T121" fmla="*/ 2147483647 h 935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077"/>
              <a:gd name="T184" fmla="*/ 0 h 935"/>
              <a:gd name="T185" fmla="*/ 1077 w 1077"/>
              <a:gd name="T186" fmla="*/ 935 h 935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077" h="935">
                <a:moveTo>
                  <a:pt x="718" y="935"/>
                </a:moveTo>
                <a:lnTo>
                  <a:pt x="709" y="920"/>
                </a:lnTo>
                <a:lnTo>
                  <a:pt x="699" y="906"/>
                </a:lnTo>
                <a:lnTo>
                  <a:pt x="692" y="891"/>
                </a:lnTo>
                <a:lnTo>
                  <a:pt x="683" y="877"/>
                </a:lnTo>
                <a:lnTo>
                  <a:pt x="681" y="850"/>
                </a:lnTo>
                <a:lnTo>
                  <a:pt x="679" y="824"/>
                </a:lnTo>
                <a:lnTo>
                  <a:pt x="676" y="809"/>
                </a:lnTo>
                <a:lnTo>
                  <a:pt x="673" y="798"/>
                </a:lnTo>
                <a:lnTo>
                  <a:pt x="670" y="785"/>
                </a:lnTo>
                <a:lnTo>
                  <a:pt x="666" y="773"/>
                </a:lnTo>
                <a:lnTo>
                  <a:pt x="659" y="762"/>
                </a:lnTo>
                <a:lnTo>
                  <a:pt x="654" y="752"/>
                </a:lnTo>
                <a:lnTo>
                  <a:pt x="646" y="743"/>
                </a:lnTo>
                <a:lnTo>
                  <a:pt x="637" y="734"/>
                </a:lnTo>
                <a:lnTo>
                  <a:pt x="628" y="726"/>
                </a:lnTo>
                <a:lnTo>
                  <a:pt x="616" y="720"/>
                </a:lnTo>
                <a:lnTo>
                  <a:pt x="604" y="714"/>
                </a:lnTo>
                <a:lnTo>
                  <a:pt x="590" y="710"/>
                </a:lnTo>
                <a:lnTo>
                  <a:pt x="593" y="701"/>
                </a:lnTo>
                <a:lnTo>
                  <a:pt x="594" y="692"/>
                </a:lnTo>
                <a:lnTo>
                  <a:pt x="594" y="683"/>
                </a:lnTo>
                <a:lnTo>
                  <a:pt x="593" y="675"/>
                </a:lnTo>
                <a:lnTo>
                  <a:pt x="590" y="667"/>
                </a:lnTo>
                <a:lnTo>
                  <a:pt x="586" y="661"/>
                </a:lnTo>
                <a:lnTo>
                  <a:pt x="580" y="656"/>
                </a:lnTo>
                <a:lnTo>
                  <a:pt x="571" y="652"/>
                </a:lnTo>
                <a:lnTo>
                  <a:pt x="565" y="634"/>
                </a:lnTo>
                <a:lnTo>
                  <a:pt x="560" y="615"/>
                </a:lnTo>
                <a:lnTo>
                  <a:pt x="556" y="599"/>
                </a:lnTo>
                <a:lnTo>
                  <a:pt x="552" y="582"/>
                </a:lnTo>
                <a:lnTo>
                  <a:pt x="536" y="576"/>
                </a:lnTo>
                <a:lnTo>
                  <a:pt x="519" y="573"/>
                </a:lnTo>
                <a:lnTo>
                  <a:pt x="504" y="571"/>
                </a:lnTo>
                <a:lnTo>
                  <a:pt x="490" y="573"/>
                </a:lnTo>
                <a:lnTo>
                  <a:pt x="483" y="574"/>
                </a:lnTo>
                <a:lnTo>
                  <a:pt x="477" y="576"/>
                </a:lnTo>
                <a:lnTo>
                  <a:pt x="470" y="579"/>
                </a:lnTo>
                <a:lnTo>
                  <a:pt x="464" y="582"/>
                </a:lnTo>
                <a:lnTo>
                  <a:pt x="457" y="587"/>
                </a:lnTo>
                <a:lnTo>
                  <a:pt x="452" y="592"/>
                </a:lnTo>
                <a:lnTo>
                  <a:pt x="446" y="597"/>
                </a:lnTo>
                <a:lnTo>
                  <a:pt x="441" y="604"/>
                </a:lnTo>
                <a:lnTo>
                  <a:pt x="433" y="599"/>
                </a:lnTo>
                <a:lnTo>
                  <a:pt x="426" y="591"/>
                </a:lnTo>
                <a:lnTo>
                  <a:pt x="420" y="584"/>
                </a:lnTo>
                <a:lnTo>
                  <a:pt x="415" y="576"/>
                </a:lnTo>
                <a:lnTo>
                  <a:pt x="405" y="560"/>
                </a:lnTo>
                <a:lnTo>
                  <a:pt x="398" y="543"/>
                </a:lnTo>
                <a:lnTo>
                  <a:pt x="385" y="535"/>
                </a:lnTo>
                <a:lnTo>
                  <a:pt x="373" y="526"/>
                </a:lnTo>
                <a:lnTo>
                  <a:pt x="362" y="514"/>
                </a:lnTo>
                <a:lnTo>
                  <a:pt x="352" y="502"/>
                </a:lnTo>
                <a:lnTo>
                  <a:pt x="344" y="489"/>
                </a:lnTo>
                <a:lnTo>
                  <a:pt x="336" y="475"/>
                </a:lnTo>
                <a:lnTo>
                  <a:pt x="329" y="459"/>
                </a:lnTo>
                <a:lnTo>
                  <a:pt x="323" y="444"/>
                </a:lnTo>
                <a:lnTo>
                  <a:pt x="312" y="411"/>
                </a:lnTo>
                <a:lnTo>
                  <a:pt x="303" y="379"/>
                </a:lnTo>
                <a:lnTo>
                  <a:pt x="296" y="347"/>
                </a:lnTo>
                <a:lnTo>
                  <a:pt x="288" y="319"/>
                </a:lnTo>
                <a:lnTo>
                  <a:pt x="242" y="325"/>
                </a:lnTo>
                <a:lnTo>
                  <a:pt x="212" y="329"/>
                </a:lnTo>
                <a:lnTo>
                  <a:pt x="201" y="331"/>
                </a:lnTo>
                <a:lnTo>
                  <a:pt x="192" y="332"/>
                </a:lnTo>
                <a:lnTo>
                  <a:pt x="183" y="332"/>
                </a:lnTo>
                <a:lnTo>
                  <a:pt x="175" y="331"/>
                </a:lnTo>
                <a:lnTo>
                  <a:pt x="156" y="307"/>
                </a:lnTo>
                <a:lnTo>
                  <a:pt x="140" y="285"/>
                </a:lnTo>
                <a:lnTo>
                  <a:pt x="124" y="266"/>
                </a:lnTo>
                <a:lnTo>
                  <a:pt x="109" y="249"/>
                </a:lnTo>
                <a:lnTo>
                  <a:pt x="100" y="242"/>
                </a:lnTo>
                <a:lnTo>
                  <a:pt x="91" y="236"/>
                </a:lnTo>
                <a:lnTo>
                  <a:pt x="80" y="232"/>
                </a:lnTo>
                <a:lnTo>
                  <a:pt x="68" y="228"/>
                </a:lnTo>
                <a:lnTo>
                  <a:pt x="55" y="225"/>
                </a:lnTo>
                <a:lnTo>
                  <a:pt x="40" y="225"/>
                </a:lnTo>
                <a:lnTo>
                  <a:pt x="24" y="226"/>
                </a:lnTo>
                <a:lnTo>
                  <a:pt x="6" y="229"/>
                </a:lnTo>
                <a:lnTo>
                  <a:pt x="2" y="212"/>
                </a:lnTo>
                <a:lnTo>
                  <a:pt x="0" y="197"/>
                </a:lnTo>
                <a:lnTo>
                  <a:pt x="22" y="186"/>
                </a:lnTo>
                <a:lnTo>
                  <a:pt x="41" y="177"/>
                </a:lnTo>
                <a:lnTo>
                  <a:pt x="50" y="176"/>
                </a:lnTo>
                <a:lnTo>
                  <a:pt x="59" y="174"/>
                </a:lnTo>
                <a:lnTo>
                  <a:pt x="68" y="177"/>
                </a:lnTo>
                <a:lnTo>
                  <a:pt x="79" y="184"/>
                </a:lnTo>
                <a:lnTo>
                  <a:pt x="108" y="182"/>
                </a:lnTo>
                <a:lnTo>
                  <a:pt x="134" y="181"/>
                </a:lnTo>
                <a:lnTo>
                  <a:pt x="144" y="180"/>
                </a:lnTo>
                <a:lnTo>
                  <a:pt x="154" y="177"/>
                </a:lnTo>
                <a:lnTo>
                  <a:pt x="162" y="173"/>
                </a:lnTo>
                <a:lnTo>
                  <a:pt x="170" y="169"/>
                </a:lnTo>
                <a:lnTo>
                  <a:pt x="176" y="163"/>
                </a:lnTo>
                <a:lnTo>
                  <a:pt x="182" y="156"/>
                </a:lnTo>
                <a:lnTo>
                  <a:pt x="187" y="148"/>
                </a:lnTo>
                <a:lnTo>
                  <a:pt x="189" y="138"/>
                </a:lnTo>
                <a:lnTo>
                  <a:pt x="192" y="126"/>
                </a:lnTo>
                <a:lnTo>
                  <a:pt x="193" y="113"/>
                </a:lnTo>
                <a:lnTo>
                  <a:pt x="193" y="98"/>
                </a:lnTo>
                <a:lnTo>
                  <a:pt x="192" y="81"/>
                </a:lnTo>
                <a:lnTo>
                  <a:pt x="222" y="70"/>
                </a:lnTo>
                <a:lnTo>
                  <a:pt x="249" y="59"/>
                </a:lnTo>
                <a:lnTo>
                  <a:pt x="257" y="57"/>
                </a:lnTo>
                <a:lnTo>
                  <a:pt x="264" y="56"/>
                </a:lnTo>
                <a:lnTo>
                  <a:pt x="270" y="55"/>
                </a:lnTo>
                <a:lnTo>
                  <a:pt x="278" y="55"/>
                </a:lnTo>
                <a:lnTo>
                  <a:pt x="284" y="56"/>
                </a:lnTo>
                <a:lnTo>
                  <a:pt x="292" y="59"/>
                </a:lnTo>
                <a:lnTo>
                  <a:pt x="300" y="61"/>
                </a:lnTo>
                <a:lnTo>
                  <a:pt x="308" y="65"/>
                </a:lnTo>
                <a:lnTo>
                  <a:pt x="321" y="65"/>
                </a:lnTo>
                <a:lnTo>
                  <a:pt x="333" y="64"/>
                </a:lnTo>
                <a:lnTo>
                  <a:pt x="346" y="63"/>
                </a:lnTo>
                <a:lnTo>
                  <a:pt x="356" y="60"/>
                </a:lnTo>
                <a:lnTo>
                  <a:pt x="378" y="53"/>
                </a:lnTo>
                <a:lnTo>
                  <a:pt x="400" y="44"/>
                </a:lnTo>
                <a:lnTo>
                  <a:pt x="442" y="25"/>
                </a:lnTo>
                <a:lnTo>
                  <a:pt x="486" y="7"/>
                </a:lnTo>
                <a:lnTo>
                  <a:pt x="517" y="4"/>
                </a:lnTo>
                <a:lnTo>
                  <a:pt x="547" y="3"/>
                </a:lnTo>
                <a:lnTo>
                  <a:pt x="578" y="1"/>
                </a:lnTo>
                <a:lnTo>
                  <a:pt x="610" y="0"/>
                </a:lnTo>
                <a:lnTo>
                  <a:pt x="621" y="9"/>
                </a:lnTo>
                <a:lnTo>
                  <a:pt x="628" y="17"/>
                </a:lnTo>
                <a:lnTo>
                  <a:pt x="633" y="26"/>
                </a:lnTo>
                <a:lnTo>
                  <a:pt x="641" y="43"/>
                </a:lnTo>
                <a:lnTo>
                  <a:pt x="653" y="43"/>
                </a:lnTo>
                <a:lnTo>
                  <a:pt x="666" y="43"/>
                </a:lnTo>
                <a:lnTo>
                  <a:pt x="679" y="43"/>
                </a:lnTo>
                <a:lnTo>
                  <a:pt x="692" y="44"/>
                </a:lnTo>
                <a:lnTo>
                  <a:pt x="698" y="27"/>
                </a:lnTo>
                <a:lnTo>
                  <a:pt x="706" y="9"/>
                </a:lnTo>
                <a:lnTo>
                  <a:pt x="718" y="9"/>
                </a:lnTo>
                <a:lnTo>
                  <a:pt x="731" y="9"/>
                </a:lnTo>
                <a:lnTo>
                  <a:pt x="731" y="43"/>
                </a:lnTo>
                <a:lnTo>
                  <a:pt x="729" y="76"/>
                </a:lnTo>
                <a:lnTo>
                  <a:pt x="729" y="109"/>
                </a:lnTo>
                <a:lnTo>
                  <a:pt x="731" y="142"/>
                </a:lnTo>
                <a:lnTo>
                  <a:pt x="732" y="158"/>
                </a:lnTo>
                <a:lnTo>
                  <a:pt x="735" y="174"/>
                </a:lnTo>
                <a:lnTo>
                  <a:pt x="737" y="190"/>
                </a:lnTo>
                <a:lnTo>
                  <a:pt x="742" y="204"/>
                </a:lnTo>
                <a:lnTo>
                  <a:pt x="748" y="219"/>
                </a:lnTo>
                <a:lnTo>
                  <a:pt x="754" y="233"/>
                </a:lnTo>
                <a:lnTo>
                  <a:pt x="763" y="247"/>
                </a:lnTo>
                <a:lnTo>
                  <a:pt x="774" y="260"/>
                </a:lnTo>
                <a:lnTo>
                  <a:pt x="763" y="275"/>
                </a:lnTo>
                <a:lnTo>
                  <a:pt x="755" y="286"/>
                </a:lnTo>
                <a:lnTo>
                  <a:pt x="753" y="293"/>
                </a:lnTo>
                <a:lnTo>
                  <a:pt x="750" y="299"/>
                </a:lnTo>
                <a:lnTo>
                  <a:pt x="749" y="307"/>
                </a:lnTo>
                <a:lnTo>
                  <a:pt x="748" y="316"/>
                </a:lnTo>
                <a:lnTo>
                  <a:pt x="776" y="331"/>
                </a:lnTo>
                <a:lnTo>
                  <a:pt x="805" y="346"/>
                </a:lnTo>
                <a:lnTo>
                  <a:pt x="819" y="353"/>
                </a:lnTo>
                <a:lnTo>
                  <a:pt x="835" y="358"/>
                </a:lnTo>
                <a:lnTo>
                  <a:pt x="849" y="363"/>
                </a:lnTo>
                <a:lnTo>
                  <a:pt x="865" y="366"/>
                </a:lnTo>
                <a:lnTo>
                  <a:pt x="875" y="360"/>
                </a:lnTo>
                <a:lnTo>
                  <a:pt x="884" y="359"/>
                </a:lnTo>
                <a:lnTo>
                  <a:pt x="892" y="359"/>
                </a:lnTo>
                <a:lnTo>
                  <a:pt x="901" y="362"/>
                </a:lnTo>
                <a:lnTo>
                  <a:pt x="915" y="370"/>
                </a:lnTo>
                <a:lnTo>
                  <a:pt x="928" y="377"/>
                </a:lnTo>
                <a:lnTo>
                  <a:pt x="935" y="380"/>
                </a:lnTo>
                <a:lnTo>
                  <a:pt x="941" y="381"/>
                </a:lnTo>
                <a:lnTo>
                  <a:pt x="947" y="381"/>
                </a:lnTo>
                <a:lnTo>
                  <a:pt x="953" y="377"/>
                </a:lnTo>
                <a:lnTo>
                  <a:pt x="960" y="370"/>
                </a:lnTo>
                <a:lnTo>
                  <a:pt x="966" y="359"/>
                </a:lnTo>
                <a:lnTo>
                  <a:pt x="973" y="344"/>
                </a:lnTo>
                <a:lnTo>
                  <a:pt x="979" y="323"/>
                </a:lnTo>
                <a:lnTo>
                  <a:pt x="1004" y="324"/>
                </a:lnTo>
                <a:lnTo>
                  <a:pt x="1017" y="324"/>
                </a:lnTo>
                <a:lnTo>
                  <a:pt x="1023" y="325"/>
                </a:lnTo>
                <a:lnTo>
                  <a:pt x="1027" y="329"/>
                </a:lnTo>
                <a:lnTo>
                  <a:pt x="1022" y="351"/>
                </a:lnTo>
                <a:lnTo>
                  <a:pt x="1018" y="372"/>
                </a:lnTo>
                <a:lnTo>
                  <a:pt x="1017" y="394"/>
                </a:lnTo>
                <a:lnTo>
                  <a:pt x="1017" y="418"/>
                </a:lnTo>
                <a:lnTo>
                  <a:pt x="1038" y="420"/>
                </a:lnTo>
                <a:lnTo>
                  <a:pt x="1049" y="422"/>
                </a:lnTo>
                <a:lnTo>
                  <a:pt x="1060" y="422"/>
                </a:lnTo>
                <a:lnTo>
                  <a:pt x="1072" y="419"/>
                </a:lnTo>
                <a:lnTo>
                  <a:pt x="1074" y="429"/>
                </a:lnTo>
                <a:lnTo>
                  <a:pt x="1077" y="441"/>
                </a:lnTo>
                <a:lnTo>
                  <a:pt x="1031" y="446"/>
                </a:lnTo>
                <a:lnTo>
                  <a:pt x="1004" y="450"/>
                </a:lnTo>
                <a:lnTo>
                  <a:pt x="984" y="455"/>
                </a:lnTo>
                <a:lnTo>
                  <a:pt x="960" y="463"/>
                </a:lnTo>
                <a:lnTo>
                  <a:pt x="960" y="474"/>
                </a:lnTo>
                <a:lnTo>
                  <a:pt x="960" y="484"/>
                </a:lnTo>
                <a:lnTo>
                  <a:pt x="961" y="494"/>
                </a:lnTo>
                <a:lnTo>
                  <a:pt x="961" y="504"/>
                </a:lnTo>
                <a:lnTo>
                  <a:pt x="973" y="506"/>
                </a:lnTo>
                <a:lnTo>
                  <a:pt x="986" y="507"/>
                </a:lnTo>
                <a:lnTo>
                  <a:pt x="997" y="507"/>
                </a:lnTo>
                <a:lnTo>
                  <a:pt x="1010" y="509"/>
                </a:lnTo>
                <a:lnTo>
                  <a:pt x="1022" y="509"/>
                </a:lnTo>
                <a:lnTo>
                  <a:pt x="1035" y="509"/>
                </a:lnTo>
                <a:lnTo>
                  <a:pt x="1047" y="511"/>
                </a:lnTo>
                <a:lnTo>
                  <a:pt x="1057" y="514"/>
                </a:lnTo>
                <a:lnTo>
                  <a:pt x="1047" y="520"/>
                </a:lnTo>
                <a:lnTo>
                  <a:pt x="1036" y="530"/>
                </a:lnTo>
                <a:lnTo>
                  <a:pt x="1036" y="548"/>
                </a:lnTo>
                <a:lnTo>
                  <a:pt x="1035" y="566"/>
                </a:lnTo>
                <a:lnTo>
                  <a:pt x="1034" y="583"/>
                </a:lnTo>
                <a:lnTo>
                  <a:pt x="1030" y="599"/>
                </a:lnTo>
                <a:lnTo>
                  <a:pt x="1027" y="606"/>
                </a:lnTo>
                <a:lnTo>
                  <a:pt x="1023" y="613"/>
                </a:lnTo>
                <a:lnTo>
                  <a:pt x="1018" y="619"/>
                </a:lnTo>
                <a:lnTo>
                  <a:pt x="1013" y="625"/>
                </a:lnTo>
                <a:lnTo>
                  <a:pt x="1006" y="630"/>
                </a:lnTo>
                <a:lnTo>
                  <a:pt x="1000" y="635"/>
                </a:lnTo>
                <a:lnTo>
                  <a:pt x="991" y="639"/>
                </a:lnTo>
                <a:lnTo>
                  <a:pt x="980" y="643"/>
                </a:lnTo>
                <a:lnTo>
                  <a:pt x="952" y="643"/>
                </a:lnTo>
                <a:lnTo>
                  <a:pt x="923" y="644"/>
                </a:lnTo>
                <a:lnTo>
                  <a:pt x="895" y="645"/>
                </a:lnTo>
                <a:lnTo>
                  <a:pt x="865" y="647"/>
                </a:lnTo>
                <a:lnTo>
                  <a:pt x="862" y="658"/>
                </a:lnTo>
                <a:lnTo>
                  <a:pt x="862" y="671"/>
                </a:lnTo>
                <a:lnTo>
                  <a:pt x="869" y="686"/>
                </a:lnTo>
                <a:lnTo>
                  <a:pt x="875" y="700"/>
                </a:lnTo>
                <a:lnTo>
                  <a:pt x="878" y="713"/>
                </a:lnTo>
                <a:lnTo>
                  <a:pt x="879" y="726"/>
                </a:lnTo>
                <a:lnTo>
                  <a:pt x="878" y="738"/>
                </a:lnTo>
                <a:lnTo>
                  <a:pt x="874" y="749"/>
                </a:lnTo>
                <a:lnTo>
                  <a:pt x="870" y="760"/>
                </a:lnTo>
                <a:lnTo>
                  <a:pt x="863" y="770"/>
                </a:lnTo>
                <a:lnTo>
                  <a:pt x="856" y="779"/>
                </a:lnTo>
                <a:lnTo>
                  <a:pt x="846" y="787"/>
                </a:lnTo>
                <a:lnTo>
                  <a:pt x="836" y="795"/>
                </a:lnTo>
                <a:lnTo>
                  <a:pt x="826" y="803"/>
                </a:lnTo>
                <a:lnTo>
                  <a:pt x="813" y="809"/>
                </a:lnTo>
                <a:lnTo>
                  <a:pt x="801" y="814"/>
                </a:lnTo>
                <a:lnTo>
                  <a:pt x="787" y="820"/>
                </a:lnTo>
                <a:lnTo>
                  <a:pt x="774" y="824"/>
                </a:lnTo>
                <a:lnTo>
                  <a:pt x="762" y="851"/>
                </a:lnTo>
                <a:lnTo>
                  <a:pt x="751" y="878"/>
                </a:lnTo>
                <a:lnTo>
                  <a:pt x="744" y="906"/>
                </a:lnTo>
                <a:lnTo>
                  <a:pt x="736" y="935"/>
                </a:lnTo>
                <a:lnTo>
                  <a:pt x="725" y="935"/>
                </a:lnTo>
                <a:lnTo>
                  <a:pt x="718" y="935"/>
                </a:lnTo>
                <a:close/>
              </a:path>
            </a:pathLst>
          </a:custGeom>
          <a:solidFill>
            <a:srgbClr val="00FF00"/>
          </a:solidFill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29" name="Freeform 94"/>
          <p:cNvSpPr>
            <a:spLocks/>
          </p:cNvSpPr>
          <p:nvPr/>
        </p:nvSpPr>
        <p:spPr bwMode="auto">
          <a:xfrm>
            <a:off x="1198563" y="3109913"/>
            <a:ext cx="296862" cy="296862"/>
          </a:xfrm>
          <a:custGeom>
            <a:avLst/>
            <a:gdLst>
              <a:gd name="T0" fmla="*/ 2147483647 w 749"/>
              <a:gd name="T1" fmla="*/ 2147483647 h 748"/>
              <a:gd name="T2" fmla="*/ 2147483647 w 749"/>
              <a:gd name="T3" fmla="*/ 2147483647 h 748"/>
              <a:gd name="T4" fmla="*/ 2147483647 w 749"/>
              <a:gd name="T5" fmla="*/ 2147483647 h 748"/>
              <a:gd name="T6" fmla="*/ 2147483647 w 749"/>
              <a:gd name="T7" fmla="*/ 2147483647 h 748"/>
              <a:gd name="T8" fmla="*/ 2147483647 w 749"/>
              <a:gd name="T9" fmla="*/ 2147483647 h 748"/>
              <a:gd name="T10" fmla="*/ 2147483647 w 749"/>
              <a:gd name="T11" fmla="*/ 2147483647 h 748"/>
              <a:gd name="T12" fmla="*/ 2147483647 w 749"/>
              <a:gd name="T13" fmla="*/ 2147483647 h 748"/>
              <a:gd name="T14" fmla="*/ 2147483647 w 749"/>
              <a:gd name="T15" fmla="*/ 2147483647 h 748"/>
              <a:gd name="T16" fmla="*/ 2147483647 w 749"/>
              <a:gd name="T17" fmla="*/ 2147483647 h 748"/>
              <a:gd name="T18" fmla="*/ 2147483647 w 749"/>
              <a:gd name="T19" fmla="*/ 2147483647 h 748"/>
              <a:gd name="T20" fmla="*/ 2147483647 w 749"/>
              <a:gd name="T21" fmla="*/ 2147483647 h 748"/>
              <a:gd name="T22" fmla="*/ 2147483647 w 749"/>
              <a:gd name="T23" fmla="*/ 2147483647 h 748"/>
              <a:gd name="T24" fmla="*/ 2147483647 w 749"/>
              <a:gd name="T25" fmla="*/ 2147483647 h 748"/>
              <a:gd name="T26" fmla="*/ 2147483647 w 749"/>
              <a:gd name="T27" fmla="*/ 2147483647 h 748"/>
              <a:gd name="T28" fmla="*/ 2147483647 w 749"/>
              <a:gd name="T29" fmla="*/ 2147483647 h 748"/>
              <a:gd name="T30" fmla="*/ 2147483647 w 749"/>
              <a:gd name="T31" fmla="*/ 2147483647 h 748"/>
              <a:gd name="T32" fmla="*/ 2147483647 w 749"/>
              <a:gd name="T33" fmla="*/ 2147483647 h 748"/>
              <a:gd name="T34" fmla="*/ 2147483647 w 749"/>
              <a:gd name="T35" fmla="*/ 2147483647 h 748"/>
              <a:gd name="T36" fmla="*/ 2147483647 w 749"/>
              <a:gd name="T37" fmla="*/ 2147483647 h 748"/>
              <a:gd name="T38" fmla="*/ 2147483647 w 749"/>
              <a:gd name="T39" fmla="*/ 2147483647 h 748"/>
              <a:gd name="T40" fmla="*/ 2147483647 w 749"/>
              <a:gd name="T41" fmla="*/ 2147483647 h 748"/>
              <a:gd name="T42" fmla="*/ 2147483647 w 749"/>
              <a:gd name="T43" fmla="*/ 2147483647 h 748"/>
              <a:gd name="T44" fmla="*/ 2147483647 w 749"/>
              <a:gd name="T45" fmla="*/ 2147483647 h 748"/>
              <a:gd name="T46" fmla="*/ 2147483647 w 749"/>
              <a:gd name="T47" fmla="*/ 2147483647 h 748"/>
              <a:gd name="T48" fmla="*/ 2147483647 w 749"/>
              <a:gd name="T49" fmla="*/ 2147483647 h 748"/>
              <a:gd name="T50" fmla="*/ 2147483647 w 749"/>
              <a:gd name="T51" fmla="*/ 2147483647 h 748"/>
              <a:gd name="T52" fmla="*/ 2147483647 w 749"/>
              <a:gd name="T53" fmla="*/ 0 h 748"/>
              <a:gd name="T54" fmla="*/ 2147483647 w 749"/>
              <a:gd name="T55" fmla="*/ 2147483647 h 748"/>
              <a:gd name="T56" fmla="*/ 2147483647 w 749"/>
              <a:gd name="T57" fmla="*/ 2147483647 h 748"/>
              <a:gd name="T58" fmla="*/ 2147483647 w 749"/>
              <a:gd name="T59" fmla="*/ 2147483647 h 748"/>
              <a:gd name="T60" fmla="*/ 2147483647 w 749"/>
              <a:gd name="T61" fmla="*/ 2147483647 h 748"/>
              <a:gd name="T62" fmla="*/ 2147483647 w 749"/>
              <a:gd name="T63" fmla="*/ 2147483647 h 748"/>
              <a:gd name="T64" fmla="*/ 2147483647 w 749"/>
              <a:gd name="T65" fmla="*/ 2147483647 h 748"/>
              <a:gd name="T66" fmla="*/ 2147483647 w 749"/>
              <a:gd name="T67" fmla="*/ 2147483647 h 748"/>
              <a:gd name="T68" fmla="*/ 2147483647 w 749"/>
              <a:gd name="T69" fmla="*/ 2147483647 h 748"/>
              <a:gd name="T70" fmla="*/ 2147483647 w 749"/>
              <a:gd name="T71" fmla="*/ 2147483647 h 748"/>
              <a:gd name="T72" fmla="*/ 2147483647 w 749"/>
              <a:gd name="T73" fmla="*/ 2147483647 h 748"/>
              <a:gd name="T74" fmla="*/ 2147483647 w 749"/>
              <a:gd name="T75" fmla="*/ 2147483647 h 748"/>
              <a:gd name="T76" fmla="*/ 2147483647 w 749"/>
              <a:gd name="T77" fmla="*/ 2147483647 h 748"/>
              <a:gd name="T78" fmla="*/ 2147483647 w 749"/>
              <a:gd name="T79" fmla="*/ 2147483647 h 748"/>
              <a:gd name="T80" fmla="*/ 2147483647 w 749"/>
              <a:gd name="T81" fmla="*/ 2147483647 h 748"/>
              <a:gd name="T82" fmla="*/ 2147483647 w 749"/>
              <a:gd name="T83" fmla="*/ 2147483647 h 748"/>
              <a:gd name="T84" fmla="*/ 2147483647 w 749"/>
              <a:gd name="T85" fmla="*/ 2147483647 h 748"/>
              <a:gd name="T86" fmla="*/ 2147483647 w 749"/>
              <a:gd name="T87" fmla="*/ 2147483647 h 748"/>
              <a:gd name="T88" fmla="*/ 2147483647 w 749"/>
              <a:gd name="T89" fmla="*/ 2147483647 h 748"/>
              <a:gd name="T90" fmla="*/ 2147483647 w 749"/>
              <a:gd name="T91" fmla="*/ 2147483647 h 748"/>
              <a:gd name="T92" fmla="*/ 2147483647 w 749"/>
              <a:gd name="T93" fmla="*/ 2147483647 h 748"/>
              <a:gd name="T94" fmla="*/ 2147483647 w 749"/>
              <a:gd name="T95" fmla="*/ 2147483647 h 748"/>
              <a:gd name="T96" fmla="*/ 2147483647 w 749"/>
              <a:gd name="T97" fmla="*/ 2147483647 h 748"/>
              <a:gd name="T98" fmla="*/ 2147483647 w 749"/>
              <a:gd name="T99" fmla="*/ 2147483647 h 748"/>
              <a:gd name="T100" fmla="*/ 2147483647 w 749"/>
              <a:gd name="T101" fmla="*/ 2147483647 h 748"/>
              <a:gd name="T102" fmla="*/ 2147483647 w 749"/>
              <a:gd name="T103" fmla="*/ 2147483647 h 748"/>
              <a:gd name="T104" fmla="*/ 2147483647 w 749"/>
              <a:gd name="T105" fmla="*/ 2147483647 h 748"/>
              <a:gd name="T106" fmla="*/ 2147483647 w 749"/>
              <a:gd name="T107" fmla="*/ 2147483647 h 748"/>
              <a:gd name="T108" fmla="*/ 2147483647 w 749"/>
              <a:gd name="T109" fmla="*/ 2147483647 h 748"/>
              <a:gd name="T110" fmla="*/ 2147483647 w 749"/>
              <a:gd name="T111" fmla="*/ 2147483647 h 748"/>
              <a:gd name="T112" fmla="*/ 2147483647 w 749"/>
              <a:gd name="T113" fmla="*/ 2147483647 h 74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749"/>
              <a:gd name="T172" fmla="*/ 0 h 748"/>
              <a:gd name="T173" fmla="*/ 749 w 749"/>
              <a:gd name="T174" fmla="*/ 748 h 74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749" h="748">
                <a:moveTo>
                  <a:pt x="153" y="748"/>
                </a:moveTo>
                <a:lnTo>
                  <a:pt x="128" y="716"/>
                </a:lnTo>
                <a:lnTo>
                  <a:pt x="106" y="689"/>
                </a:lnTo>
                <a:lnTo>
                  <a:pt x="99" y="683"/>
                </a:lnTo>
                <a:lnTo>
                  <a:pt x="94" y="678"/>
                </a:lnTo>
                <a:lnTo>
                  <a:pt x="86" y="673"/>
                </a:lnTo>
                <a:lnTo>
                  <a:pt x="80" y="669"/>
                </a:lnTo>
                <a:lnTo>
                  <a:pt x="72" y="665"/>
                </a:lnTo>
                <a:lnTo>
                  <a:pt x="63" y="661"/>
                </a:lnTo>
                <a:lnTo>
                  <a:pt x="54" y="659"/>
                </a:lnTo>
                <a:lnTo>
                  <a:pt x="43" y="657"/>
                </a:lnTo>
                <a:lnTo>
                  <a:pt x="41" y="640"/>
                </a:lnTo>
                <a:lnTo>
                  <a:pt x="38" y="624"/>
                </a:lnTo>
                <a:lnTo>
                  <a:pt x="34" y="608"/>
                </a:lnTo>
                <a:lnTo>
                  <a:pt x="29" y="594"/>
                </a:lnTo>
                <a:lnTo>
                  <a:pt x="24" y="579"/>
                </a:lnTo>
                <a:lnTo>
                  <a:pt x="17" y="565"/>
                </a:lnTo>
                <a:lnTo>
                  <a:pt x="10" y="551"/>
                </a:lnTo>
                <a:lnTo>
                  <a:pt x="0" y="536"/>
                </a:lnTo>
                <a:lnTo>
                  <a:pt x="25" y="509"/>
                </a:lnTo>
                <a:lnTo>
                  <a:pt x="43" y="487"/>
                </a:lnTo>
                <a:lnTo>
                  <a:pt x="50" y="475"/>
                </a:lnTo>
                <a:lnTo>
                  <a:pt x="55" y="462"/>
                </a:lnTo>
                <a:lnTo>
                  <a:pt x="59" y="447"/>
                </a:lnTo>
                <a:lnTo>
                  <a:pt x="62" y="427"/>
                </a:lnTo>
                <a:lnTo>
                  <a:pt x="76" y="418"/>
                </a:lnTo>
                <a:lnTo>
                  <a:pt x="88" y="409"/>
                </a:lnTo>
                <a:lnTo>
                  <a:pt x="98" y="401"/>
                </a:lnTo>
                <a:lnTo>
                  <a:pt x="106" y="393"/>
                </a:lnTo>
                <a:lnTo>
                  <a:pt x="114" y="385"/>
                </a:lnTo>
                <a:lnTo>
                  <a:pt x="119" y="379"/>
                </a:lnTo>
                <a:lnTo>
                  <a:pt x="123" y="371"/>
                </a:lnTo>
                <a:lnTo>
                  <a:pt x="125" y="363"/>
                </a:lnTo>
                <a:lnTo>
                  <a:pt x="127" y="354"/>
                </a:lnTo>
                <a:lnTo>
                  <a:pt x="128" y="345"/>
                </a:lnTo>
                <a:lnTo>
                  <a:pt x="128" y="335"/>
                </a:lnTo>
                <a:lnTo>
                  <a:pt x="129" y="323"/>
                </a:lnTo>
                <a:lnTo>
                  <a:pt x="128" y="296"/>
                </a:lnTo>
                <a:lnTo>
                  <a:pt x="128" y="262"/>
                </a:lnTo>
                <a:lnTo>
                  <a:pt x="138" y="257"/>
                </a:lnTo>
                <a:lnTo>
                  <a:pt x="149" y="254"/>
                </a:lnTo>
                <a:lnTo>
                  <a:pt x="160" y="250"/>
                </a:lnTo>
                <a:lnTo>
                  <a:pt x="172" y="248"/>
                </a:lnTo>
                <a:lnTo>
                  <a:pt x="172" y="235"/>
                </a:lnTo>
                <a:lnTo>
                  <a:pt x="172" y="223"/>
                </a:lnTo>
                <a:lnTo>
                  <a:pt x="172" y="211"/>
                </a:lnTo>
                <a:lnTo>
                  <a:pt x="172" y="199"/>
                </a:lnTo>
                <a:lnTo>
                  <a:pt x="153" y="186"/>
                </a:lnTo>
                <a:lnTo>
                  <a:pt x="136" y="175"/>
                </a:lnTo>
                <a:lnTo>
                  <a:pt x="136" y="166"/>
                </a:lnTo>
                <a:lnTo>
                  <a:pt x="140" y="158"/>
                </a:lnTo>
                <a:lnTo>
                  <a:pt x="151" y="154"/>
                </a:lnTo>
                <a:lnTo>
                  <a:pt x="166" y="151"/>
                </a:lnTo>
                <a:lnTo>
                  <a:pt x="167" y="138"/>
                </a:lnTo>
                <a:lnTo>
                  <a:pt x="168" y="125"/>
                </a:lnTo>
                <a:lnTo>
                  <a:pt x="171" y="112"/>
                </a:lnTo>
                <a:lnTo>
                  <a:pt x="172" y="99"/>
                </a:lnTo>
                <a:lnTo>
                  <a:pt x="184" y="97"/>
                </a:lnTo>
                <a:lnTo>
                  <a:pt x="197" y="94"/>
                </a:lnTo>
                <a:lnTo>
                  <a:pt x="198" y="81"/>
                </a:lnTo>
                <a:lnTo>
                  <a:pt x="200" y="68"/>
                </a:lnTo>
                <a:lnTo>
                  <a:pt x="201" y="56"/>
                </a:lnTo>
                <a:lnTo>
                  <a:pt x="202" y="43"/>
                </a:lnTo>
                <a:lnTo>
                  <a:pt x="213" y="39"/>
                </a:lnTo>
                <a:lnTo>
                  <a:pt x="224" y="37"/>
                </a:lnTo>
                <a:lnTo>
                  <a:pt x="224" y="45"/>
                </a:lnTo>
                <a:lnTo>
                  <a:pt x="228" y="55"/>
                </a:lnTo>
                <a:lnTo>
                  <a:pt x="235" y="59"/>
                </a:lnTo>
                <a:lnTo>
                  <a:pt x="241" y="60"/>
                </a:lnTo>
                <a:lnTo>
                  <a:pt x="249" y="62"/>
                </a:lnTo>
                <a:lnTo>
                  <a:pt x="255" y="60"/>
                </a:lnTo>
                <a:lnTo>
                  <a:pt x="262" y="59"/>
                </a:lnTo>
                <a:lnTo>
                  <a:pt x="268" y="56"/>
                </a:lnTo>
                <a:lnTo>
                  <a:pt x="275" y="54"/>
                </a:lnTo>
                <a:lnTo>
                  <a:pt x="281" y="50"/>
                </a:lnTo>
                <a:lnTo>
                  <a:pt x="281" y="37"/>
                </a:lnTo>
                <a:lnTo>
                  <a:pt x="281" y="25"/>
                </a:lnTo>
                <a:lnTo>
                  <a:pt x="281" y="13"/>
                </a:lnTo>
                <a:lnTo>
                  <a:pt x="281" y="2"/>
                </a:lnTo>
                <a:lnTo>
                  <a:pt x="288" y="0"/>
                </a:lnTo>
                <a:lnTo>
                  <a:pt x="293" y="0"/>
                </a:lnTo>
                <a:lnTo>
                  <a:pt x="300" y="2"/>
                </a:lnTo>
                <a:lnTo>
                  <a:pt x="307" y="3"/>
                </a:lnTo>
                <a:lnTo>
                  <a:pt x="332" y="11"/>
                </a:lnTo>
                <a:lnTo>
                  <a:pt x="378" y="26"/>
                </a:lnTo>
                <a:lnTo>
                  <a:pt x="382" y="43"/>
                </a:lnTo>
                <a:lnTo>
                  <a:pt x="384" y="56"/>
                </a:lnTo>
                <a:lnTo>
                  <a:pt x="387" y="62"/>
                </a:lnTo>
                <a:lnTo>
                  <a:pt x="389" y="65"/>
                </a:lnTo>
                <a:lnTo>
                  <a:pt x="392" y="68"/>
                </a:lnTo>
                <a:lnTo>
                  <a:pt x="395" y="71"/>
                </a:lnTo>
                <a:lnTo>
                  <a:pt x="402" y="75"/>
                </a:lnTo>
                <a:lnTo>
                  <a:pt x="412" y="77"/>
                </a:lnTo>
                <a:lnTo>
                  <a:pt x="425" y="78"/>
                </a:lnTo>
                <a:lnTo>
                  <a:pt x="441" y="81"/>
                </a:lnTo>
                <a:lnTo>
                  <a:pt x="444" y="99"/>
                </a:lnTo>
                <a:lnTo>
                  <a:pt x="447" y="119"/>
                </a:lnTo>
                <a:lnTo>
                  <a:pt x="441" y="119"/>
                </a:lnTo>
                <a:lnTo>
                  <a:pt x="435" y="119"/>
                </a:lnTo>
                <a:lnTo>
                  <a:pt x="434" y="127"/>
                </a:lnTo>
                <a:lnTo>
                  <a:pt x="434" y="133"/>
                </a:lnTo>
                <a:lnTo>
                  <a:pt x="434" y="140"/>
                </a:lnTo>
                <a:lnTo>
                  <a:pt x="435" y="145"/>
                </a:lnTo>
                <a:lnTo>
                  <a:pt x="436" y="150"/>
                </a:lnTo>
                <a:lnTo>
                  <a:pt x="439" y="154"/>
                </a:lnTo>
                <a:lnTo>
                  <a:pt x="443" y="158"/>
                </a:lnTo>
                <a:lnTo>
                  <a:pt x="447" y="160"/>
                </a:lnTo>
                <a:lnTo>
                  <a:pt x="455" y="166"/>
                </a:lnTo>
                <a:lnTo>
                  <a:pt x="465" y="169"/>
                </a:lnTo>
                <a:lnTo>
                  <a:pt x="477" y="172"/>
                </a:lnTo>
                <a:lnTo>
                  <a:pt x="490" y="175"/>
                </a:lnTo>
                <a:lnTo>
                  <a:pt x="513" y="212"/>
                </a:lnTo>
                <a:lnTo>
                  <a:pt x="538" y="250"/>
                </a:lnTo>
                <a:lnTo>
                  <a:pt x="564" y="287"/>
                </a:lnTo>
                <a:lnTo>
                  <a:pt x="589" y="324"/>
                </a:lnTo>
                <a:lnTo>
                  <a:pt x="581" y="326"/>
                </a:lnTo>
                <a:lnTo>
                  <a:pt x="574" y="328"/>
                </a:lnTo>
                <a:lnTo>
                  <a:pt x="574" y="340"/>
                </a:lnTo>
                <a:lnTo>
                  <a:pt x="574" y="353"/>
                </a:lnTo>
                <a:lnTo>
                  <a:pt x="574" y="366"/>
                </a:lnTo>
                <a:lnTo>
                  <a:pt x="574" y="379"/>
                </a:lnTo>
                <a:lnTo>
                  <a:pt x="582" y="385"/>
                </a:lnTo>
                <a:lnTo>
                  <a:pt x="590" y="391"/>
                </a:lnTo>
                <a:lnTo>
                  <a:pt x="599" y="395"/>
                </a:lnTo>
                <a:lnTo>
                  <a:pt x="607" y="396"/>
                </a:lnTo>
                <a:lnTo>
                  <a:pt x="626" y="398"/>
                </a:lnTo>
                <a:lnTo>
                  <a:pt x="647" y="400"/>
                </a:lnTo>
                <a:lnTo>
                  <a:pt x="654" y="410"/>
                </a:lnTo>
                <a:lnTo>
                  <a:pt x="660" y="419"/>
                </a:lnTo>
                <a:lnTo>
                  <a:pt x="665" y="428"/>
                </a:lnTo>
                <a:lnTo>
                  <a:pt x="669" y="437"/>
                </a:lnTo>
                <a:lnTo>
                  <a:pt x="677" y="458"/>
                </a:lnTo>
                <a:lnTo>
                  <a:pt x="683" y="480"/>
                </a:lnTo>
                <a:lnTo>
                  <a:pt x="695" y="490"/>
                </a:lnTo>
                <a:lnTo>
                  <a:pt x="706" y="499"/>
                </a:lnTo>
                <a:lnTo>
                  <a:pt x="715" y="506"/>
                </a:lnTo>
                <a:lnTo>
                  <a:pt x="723" y="516"/>
                </a:lnTo>
                <a:lnTo>
                  <a:pt x="729" y="523"/>
                </a:lnTo>
                <a:lnTo>
                  <a:pt x="734" y="531"/>
                </a:lnTo>
                <a:lnTo>
                  <a:pt x="739" y="540"/>
                </a:lnTo>
                <a:lnTo>
                  <a:pt x="742" y="549"/>
                </a:lnTo>
                <a:lnTo>
                  <a:pt x="745" y="558"/>
                </a:lnTo>
                <a:lnTo>
                  <a:pt x="747" y="569"/>
                </a:lnTo>
                <a:lnTo>
                  <a:pt x="749" y="579"/>
                </a:lnTo>
                <a:lnTo>
                  <a:pt x="749" y="591"/>
                </a:lnTo>
                <a:lnTo>
                  <a:pt x="749" y="617"/>
                </a:lnTo>
                <a:lnTo>
                  <a:pt x="747" y="648"/>
                </a:lnTo>
                <a:lnTo>
                  <a:pt x="729" y="660"/>
                </a:lnTo>
                <a:lnTo>
                  <a:pt x="712" y="673"/>
                </a:lnTo>
                <a:lnTo>
                  <a:pt x="706" y="670"/>
                </a:lnTo>
                <a:lnTo>
                  <a:pt x="698" y="668"/>
                </a:lnTo>
                <a:lnTo>
                  <a:pt x="690" y="663"/>
                </a:lnTo>
                <a:lnTo>
                  <a:pt x="682" y="657"/>
                </a:lnTo>
                <a:lnTo>
                  <a:pt x="664" y="644"/>
                </a:lnTo>
                <a:lnTo>
                  <a:pt x="646" y="630"/>
                </a:lnTo>
                <a:lnTo>
                  <a:pt x="613" y="599"/>
                </a:lnTo>
                <a:lnTo>
                  <a:pt x="589" y="573"/>
                </a:lnTo>
                <a:lnTo>
                  <a:pt x="546" y="573"/>
                </a:lnTo>
                <a:lnTo>
                  <a:pt x="504" y="573"/>
                </a:lnTo>
                <a:lnTo>
                  <a:pt x="462" y="573"/>
                </a:lnTo>
                <a:lnTo>
                  <a:pt x="419" y="573"/>
                </a:lnTo>
                <a:lnTo>
                  <a:pt x="417" y="596"/>
                </a:lnTo>
                <a:lnTo>
                  <a:pt x="414" y="620"/>
                </a:lnTo>
                <a:lnTo>
                  <a:pt x="412" y="643"/>
                </a:lnTo>
                <a:lnTo>
                  <a:pt x="408" y="666"/>
                </a:lnTo>
                <a:lnTo>
                  <a:pt x="374" y="690"/>
                </a:lnTo>
                <a:lnTo>
                  <a:pt x="349" y="705"/>
                </a:lnTo>
                <a:lnTo>
                  <a:pt x="323" y="720"/>
                </a:lnTo>
                <a:lnTo>
                  <a:pt x="283" y="741"/>
                </a:lnTo>
                <a:lnTo>
                  <a:pt x="250" y="742"/>
                </a:lnTo>
                <a:lnTo>
                  <a:pt x="218" y="743"/>
                </a:lnTo>
                <a:lnTo>
                  <a:pt x="185" y="746"/>
                </a:lnTo>
                <a:lnTo>
                  <a:pt x="153" y="748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30" name="Freeform 95"/>
          <p:cNvSpPr>
            <a:spLocks/>
          </p:cNvSpPr>
          <p:nvPr/>
        </p:nvSpPr>
        <p:spPr bwMode="auto">
          <a:xfrm>
            <a:off x="1420813" y="3079750"/>
            <a:ext cx="207962" cy="242888"/>
          </a:xfrm>
          <a:custGeom>
            <a:avLst/>
            <a:gdLst>
              <a:gd name="T0" fmla="*/ 2147483647 w 523"/>
              <a:gd name="T1" fmla="*/ 2147483647 h 610"/>
              <a:gd name="T2" fmla="*/ 2147483647 w 523"/>
              <a:gd name="T3" fmla="*/ 2147483647 h 610"/>
              <a:gd name="T4" fmla="*/ 2147483647 w 523"/>
              <a:gd name="T5" fmla="*/ 2147483647 h 610"/>
              <a:gd name="T6" fmla="*/ 2147483647 w 523"/>
              <a:gd name="T7" fmla="*/ 2147483647 h 610"/>
              <a:gd name="T8" fmla="*/ 2147483647 w 523"/>
              <a:gd name="T9" fmla="*/ 2147483647 h 610"/>
              <a:gd name="T10" fmla="*/ 2147483647 w 523"/>
              <a:gd name="T11" fmla="*/ 2147483647 h 610"/>
              <a:gd name="T12" fmla="*/ 2147483647 w 523"/>
              <a:gd name="T13" fmla="*/ 2147483647 h 610"/>
              <a:gd name="T14" fmla="*/ 2147483647 w 523"/>
              <a:gd name="T15" fmla="*/ 2147483647 h 610"/>
              <a:gd name="T16" fmla="*/ 2147483647 w 523"/>
              <a:gd name="T17" fmla="*/ 2147483647 h 610"/>
              <a:gd name="T18" fmla="*/ 2147483647 w 523"/>
              <a:gd name="T19" fmla="*/ 2147483647 h 610"/>
              <a:gd name="T20" fmla="*/ 2147483647 w 523"/>
              <a:gd name="T21" fmla="*/ 2147483647 h 610"/>
              <a:gd name="T22" fmla="*/ 2147483647 w 523"/>
              <a:gd name="T23" fmla="*/ 2147483647 h 610"/>
              <a:gd name="T24" fmla="*/ 2147483647 w 523"/>
              <a:gd name="T25" fmla="*/ 2147483647 h 610"/>
              <a:gd name="T26" fmla="*/ 2147483647 w 523"/>
              <a:gd name="T27" fmla="*/ 2147483647 h 610"/>
              <a:gd name="T28" fmla="*/ 2147483647 w 523"/>
              <a:gd name="T29" fmla="*/ 2147483647 h 610"/>
              <a:gd name="T30" fmla="*/ 2147483647 w 523"/>
              <a:gd name="T31" fmla="*/ 2147483647 h 610"/>
              <a:gd name="T32" fmla="*/ 2147483647 w 523"/>
              <a:gd name="T33" fmla="*/ 2147483647 h 610"/>
              <a:gd name="T34" fmla="*/ 2147483647 w 523"/>
              <a:gd name="T35" fmla="*/ 2147483647 h 610"/>
              <a:gd name="T36" fmla="*/ 2147483647 w 523"/>
              <a:gd name="T37" fmla="*/ 2147483647 h 610"/>
              <a:gd name="T38" fmla="*/ 2147483647 w 523"/>
              <a:gd name="T39" fmla="*/ 2147483647 h 610"/>
              <a:gd name="T40" fmla="*/ 2147483647 w 523"/>
              <a:gd name="T41" fmla="*/ 2147483647 h 610"/>
              <a:gd name="T42" fmla="*/ 2147483647 w 523"/>
              <a:gd name="T43" fmla="*/ 2147483647 h 610"/>
              <a:gd name="T44" fmla="*/ 2147483647 w 523"/>
              <a:gd name="T45" fmla="*/ 2147483647 h 610"/>
              <a:gd name="T46" fmla="*/ 2147483647 w 523"/>
              <a:gd name="T47" fmla="*/ 2147483647 h 610"/>
              <a:gd name="T48" fmla="*/ 2147483647 w 523"/>
              <a:gd name="T49" fmla="*/ 2147483647 h 610"/>
              <a:gd name="T50" fmla="*/ 2147483647 w 523"/>
              <a:gd name="T51" fmla="*/ 2147483647 h 610"/>
              <a:gd name="T52" fmla="*/ 2147483647 w 523"/>
              <a:gd name="T53" fmla="*/ 2147483647 h 610"/>
              <a:gd name="T54" fmla="*/ 2147483647 w 523"/>
              <a:gd name="T55" fmla="*/ 2147483647 h 610"/>
              <a:gd name="T56" fmla="*/ 2147483647 w 523"/>
              <a:gd name="T57" fmla="*/ 2147483647 h 610"/>
              <a:gd name="T58" fmla="*/ 2147483647 w 523"/>
              <a:gd name="T59" fmla="*/ 2147483647 h 610"/>
              <a:gd name="T60" fmla="*/ 2147483647 w 523"/>
              <a:gd name="T61" fmla="*/ 2147483647 h 610"/>
              <a:gd name="T62" fmla="*/ 2147483647 w 523"/>
              <a:gd name="T63" fmla="*/ 2147483647 h 610"/>
              <a:gd name="T64" fmla="*/ 2147483647 w 523"/>
              <a:gd name="T65" fmla="*/ 0 h 610"/>
              <a:gd name="T66" fmla="*/ 2147483647 w 523"/>
              <a:gd name="T67" fmla="*/ 2147483647 h 610"/>
              <a:gd name="T68" fmla="*/ 2147483647 w 523"/>
              <a:gd name="T69" fmla="*/ 2147483647 h 610"/>
              <a:gd name="T70" fmla="*/ 2147483647 w 523"/>
              <a:gd name="T71" fmla="*/ 2147483647 h 610"/>
              <a:gd name="T72" fmla="*/ 2147483647 w 523"/>
              <a:gd name="T73" fmla="*/ 2147483647 h 610"/>
              <a:gd name="T74" fmla="*/ 2147483647 w 523"/>
              <a:gd name="T75" fmla="*/ 2147483647 h 610"/>
              <a:gd name="T76" fmla="*/ 2147483647 w 523"/>
              <a:gd name="T77" fmla="*/ 2147483647 h 610"/>
              <a:gd name="T78" fmla="*/ 2147483647 w 523"/>
              <a:gd name="T79" fmla="*/ 2147483647 h 610"/>
              <a:gd name="T80" fmla="*/ 2147483647 w 523"/>
              <a:gd name="T81" fmla="*/ 2147483647 h 610"/>
              <a:gd name="T82" fmla="*/ 2147483647 w 523"/>
              <a:gd name="T83" fmla="*/ 2147483647 h 610"/>
              <a:gd name="T84" fmla="*/ 2147483647 w 523"/>
              <a:gd name="T85" fmla="*/ 2147483647 h 610"/>
              <a:gd name="T86" fmla="*/ 2147483647 w 523"/>
              <a:gd name="T87" fmla="*/ 2147483647 h 610"/>
              <a:gd name="T88" fmla="*/ 2147483647 w 523"/>
              <a:gd name="T89" fmla="*/ 2147483647 h 610"/>
              <a:gd name="T90" fmla="*/ 2147483647 w 523"/>
              <a:gd name="T91" fmla="*/ 2147483647 h 610"/>
              <a:gd name="T92" fmla="*/ 2147483647 w 523"/>
              <a:gd name="T93" fmla="*/ 2147483647 h 610"/>
              <a:gd name="T94" fmla="*/ 2147483647 w 523"/>
              <a:gd name="T95" fmla="*/ 2147483647 h 610"/>
              <a:gd name="T96" fmla="*/ 2147483647 w 523"/>
              <a:gd name="T97" fmla="*/ 2147483647 h 610"/>
              <a:gd name="T98" fmla="*/ 2147483647 w 523"/>
              <a:gd name="T99" fmla="*/ 2147483647 h 610"/>
              <a:gd name="T100" fmla="*/ 2147483647 w 523"/>
              <a:gd name="T101" fmla="*/ 2147483647 h 610"/>
              <a:gd name="T102" fmla="*/ 2147483647 w 523"/>
              <a:gd name="T103" fmla="*/ 2147483647 h 610"/>
              <a:gd name="T104" fmla="*/ 2147483647 w 523"/>
              <a:gd name="T105" fmla="*/ 2147483647 h 610"/>
              <a:gd name="T106" fmla="*/ 2147483647 w 523"/>
              <a:gd name="T107" fmla="*/ 2147483647 h 610"/>
              <a:gd name="T108" fmla="*/ 2147483647 w 523"/>
              <a:gd name="T109" fmla="*/ 2147483647 h 610"/>
              <a:gd name="T110" fmla="*/ 2147483647 w 523"/>
              <a:gd name="T111" fmla="*/ 2147483647 h 610"/>
              <a:gd name="T112" fmla="*/ 2147483647 w 523"/>
              <a:gd name="T113" fmla="*/ 2147483647 h 610"/>
              <a:gd name="T114" fmla="*/ 2147483647 w 523"/>
              <a:gd name="T115" fmla="*/ 2147483647 h 610"/>
              <a:gd name="T116" fmla="*/ 2147483647 w 523"/>
              <a:gd name="T117" fmla="*/ 2147483647 h 610"/>
              <a:gd name="T118" fmla="*/ 2147483647 w 523"/>
              <a:gd name="T119" fmla="*/ 2147483647 h 610"/>
              <a:gd name="T120" fmla="*/ 2147483647 w 523"/>
              <a:gd name="T121" fmla="*/ 2147483647 h 610"/>
              <a:gd name="T122" fmla="*/ 2147483647 w 523"/>
              <a:gd name="T123" fmla="*/ 2147483647 h 610"/>
              <a:gd name="T124" fmla="*/ 2147483647 w 523"/>
              <a:gd name="T125" fmla="*/ 2147483647 h 61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523"/>
              <a:gd name="T190" fmla="*/ 0 h 610"/>
              <a:gd name="T191" fmla="*/ 523 w 523"/>
              <a:gd name="T192" fmla="*/ 610 h 610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523" h="610">
                <a:moveTo>
                  <a:pt x="193" y="610"/>
                </a:moveTo>
                <a:lnTo>
                  <a:pt x="188" y="600"/>
                </a:lnTo>
                <a:lnTo>
                  <a:pt x="181" y="590"/>
                </a:lnTo>
                <a:lnTo>
                  <a:pt x="175" y="582"/>
                </a:lnTo>
                <a:lnTo>
                  <a:pt x="168" y="574"/>
                </a:lnTo>
                <a:lnTo>
                  <a:pt x="151" y="561"/>
                </a:lnTo>
                <a:lnTo>
                  <a:pt x="133" y="547"/>
                </a:lnTo>
                <a:lnTo>
                  <a:pt x="127" y="522"/>
                </a:lnTo>
                <a:lnTo>
                  <a:pt x="120" y="502"/>
                </a:lnTo>
                <a:lnTo>
                  <a:pt x="116" y="495"/>
                </a:lnTo>
                <a:lnTo>
                  <a:pt x="112" y="488"/>
                </a:lnTo>
                <a:lnTo>
                  <a:pt x="108" y="482"/>
                </a:lnTo>
                <a:lnTo>
                  <a:pt x="103" y="476"/>
                </a:lnTo>
                <a:lnTo>
                  <a:pt x="98" y="472"/>
                </a:lnTo>
                <a:lnTo>
                  <a:pt x="92" y="469"/>
                </a:lnTo>
                <a:lnTo>
                  <a:pt x="84" y="465"/>
                </a:lnTo>
                <a:lnTo>
                  <a:pt x="76" y="462"/>
                </a:lnTo>
                <a:lnTo>
                  <a:pt x="56" y="459"/>
                </a:lnTo>
                <a:lnTo>
                  <a:pt x="30" y="457"/>
                </a:lnTo>
                <a:lnTo>
                  <a:pt x="27" y="448"/>
                </a:lnTo>
                <a:lnTo>
                  <a:pt x="24" y="441"/>
                </a:lnTo>
                <a:lnTo>
                  <a:pt x="21" y="430"/>
                </a:lnTo>
                <a:lnTo>
                  <a:pt x="20" y="413"/>
                </a:lnTo>
                <a:lnTo>
                  <a:pt x="25" y="409"/>
                </a:lnTo>
                <a:lnTo>
                  <a:pt x="33" y="406"/>
                </a:lnTo>
                <a:lnTo>
                  <a:pt x="30" y="389"/>
                </a:lnTo>
                <a:lnTo>
                  <a:pt x="27" y="372"/>
                </a:lnTo>
                <a:lnTo>
                  <a:pt x="20" y="368"/>
                </a:lnTo>
                <a:lnTo>
                  <a:pt x="15" y="363"/>
                </a:lnTo>
                <a:lnTo>
                  <a:pt x="11" y="359"/>
                </a:lnTo>
                <a:lnTo>
                  <a:pt x="8" y="353"/>
                </a:lnTo>
                <a:lnTo>
                  <a:pt x="4" y="341"/>
                </a:lnTo>
                <a:lnTo>
                  <a:pt x="0" y="328"/>
                </a:lnTo>
                <a:lnTo>
                  <a:pt x="24" y="320"/>
                </a:lnTo>
                <a:lnTo>
                  <a:pt x="42" y="312"/>
                </a:lnTo>
                <a:lnTo>
                  <a:pt x="50" y="309"/>
                </a:lnTo>
                <a:lnTo>
                  <a:pt x="56" y="303"/>
                </a:lnTo>
                <a:lnTo>
                  <a:pt x="62" y="299"/>
                </a:lnTo>
                <a:lnTo>
                  <a:pt x="67" y="294"/>
                </a:lnTo>
                <a:lnTo>
                  <a:pt x="71" y="289"/>
                </a:lnTo>
                <a:lnTo>
                  <a:pt x="73" y="284"/>
                </a:lnTo>
                <a:lnTo>
                  <a:pt x="75" y="277"/>
                </a:lnTo>
                <a:lnTo>
                  <a:pt x="76" y="272"/>
                </a:lnTo>
                <a:lnTo>
                  <a:pt x="77" y="259"/>
                </a:lnTo>
                <a:lnTo>
                  <a:pt x="76" y="247"/>
                </a:lnTo>
                <a:lnTo>
                  <a:pt x="71" y="219"/>
                </a:lnTo>
                <a:lnTo>
                  <a:pt x="62" y="188"/>
                </a:lnTo>
                <a:lnTo>
                  <a:pt x="59" y="172"/>
                </a:lnTo>
                <a:lnTo>
                  <a:pt x="56" y="155"/>
                </a:lnTo>
                <a:lnTo>
                  <a:pt x="55" y="138"/>
                </a:lnTo>
                <a:lnTo>
                  <a:pt x="56" y="120"/>
                </a:lnTo>
                <a:lnTo>
                  <a:pt x="73" y="108"/>
                </a:lnTo>
                <a:lnTo>
                  <a:pt x="82" y="102"/>
                </a:lnTo>
                <a:lnTo>
                  <a:pt x="89" y="98"/>
                </a:lnTo>
                <a:lnTo>
                  <a:pt x="97" y="96"/>
                </a:lnTo>
                <a:lnTo>
                  <a:pt x="97" y="89"/>
                </a:lnTo>
                <a:lnTo>
                  <a:pt x="97" y="83"/>
                </a:lnTo>
                <a:lnTo>
                  <a:pt x="125" y="65"/>
                </a:lnTo>
                <a:lnTo>
                  <a:pt x="153" y="46"/>
                </a:lnTo>
                <a:lnTo>
                  <a:pt x="167" y="37"/>
                </a:lnTo>
                <a:lnTo>
                  <a:pt x="181" y="28"/>
                </a:lnTo>
                <a:lnTo>
                  <a:pt x="196" y="21"/>
                </a:lnTo>
                <a:lnTo>
                  <a:pt x="211" y="15"/>
                </a:lnTo>
                <a:lnTo>
                  <a:pt x="211" y="7"/>
                </a:lnTo>
                <a:lnTo>
                  <a:pt x="211" y="0"/>
                </a:lnTo>
                <a:lnTo>
                  <a:pt x="218" y="0"/>
                </a:lnTo>
                <a:lnTo>
                  <a:pt x="226" y="0"/>
                </a:lnTo>
                <a:lnTo>
                  <a:pt x="231" y="13"/>
                </a:lnTo>
                <a:lnTo>
                  <a:pt x="237" y="28"/>
                </a:lnTo>
                <a:lnTo>
                  <a:pt x="255" y="29"/>
                </a:lnTo>
                <a:lnTo>
                  <a:pt x="274" y="31"/>
                </a:lnTo>
                <a:lnTo>
                  <a:pt x="293" y="34"/>
                </a:lnTo>
                <a:lnTo>
                  <a:pt x="311" y="37"/>
                </a:lnTo>
                <a:lnTo>
                  <a:pt x="315" y="47"/>
                </a:lnTo>
                <a:lnTo>
                  <a:pt x="319" y="54"/>
                </a:lnTo>
                <a:lnTo>
                  <a:pt x="326" y="59"/>
                </a:lnTo>
                <a:lnTo>
                  <a:pt x="335" y="63"/>
                </a:lnTo>
                <a:lnTo>
                  <a:pt x="340" y="80"/>
                </a:lnTo>
                <a:lnTo>
                  <a:pt x="347" y="96"/>
                </a:lnTo>
                <a:lnTo>
                  <a:pt x="362" y="96"/>
                </a:lnTo>
                <a:lnTo>
                  <a:pt x="378" y="96"/>
                </a:lnTo>
                <a:lnTo>
                  <a:pt x="395" y="98"/>
                </a:lnTo>
                <a:lnTo>
                  <a:pt x="412" y="99"/>
                </a:lnTo>
                <a:lnTo>
                  <a:pt x="421" y="91"/>
                </a:lnTo>
                <a:lnTo>
                  <a:pt x="429" y="85"/>
                </a:lnTo>
                <a:lnTo>
                  <a:pt x="436" y="81"/>
                </a:lnTo>
                <a:lnTo>
                  <a:pt x="443" y="78"/>
                </a:lnTo>
                <a:lnTo>
                  <a:pt x="449" y="77"/>
                </a:lnTo>
                <a:lnTo>
                  <a:pt x="456" y="77"/>
                </a:lnTo>
                <a:lnTo>
                  <a:pt x="461" y="78"/>
                </a:lnTo>
                <a:lnTo>
                  <a:pt x="468" y="81"/>
                </a:lnTo>
                <a:lnTo>
                  <a:pt x="492" y="96"/>
                </a:lnTo>
                <a:lnTo>
                  <a:pt x="523" y="115"/>
                </a:lnTo>
                <a:lnTo>
                  <a:pt x="521" y="121"/>
                </a:lnTo>
                <a:lnTo>
                  <a:pt x="517" y="126"/>
                </a:lnTo>
                <a:lnTo>
                  <a:pt x="508" y="134"/>
                </a:lnTo>
                <a:lnTo>
                  <a:pt x="492" y="147"/>
                </a:lnTo>
                <a:lnTo>
                  <a:pt x="486" y="167"/>
                </a:lnTo>
                <a:lnTo>
                  <a:pt x="479" y="185"/>
                </a:lnTo>
                <a:lnTo>
                  <a:pt x="474" y="204"/>
                </a:lnTo>
                <a:lnTo>
                  <a:pt x="470" y="223"/>
                </a:lnTo>
                <a:lnTo>
                  <a:pt x="466" y="242"/>
                </a:lnTo>
                <a:lnTo>
                  <a:pt x="465" y="262"/>
                </a:lnTo>
                <a:lnTo>
                  <a:pt x="462" y="280"/>
                </a:lnTo>
                <a:lnTo>
                  <a:pt x="462" y="299"/>
                </a:lnTo>
                <a:lnTo>
                  <a:pt x="462" y="337"/>
                </a:lnTo>
                <a:lnTo>
                  <a:pt x="465" y="376"/>
                </a:lnTo>
                <a:lnTo>
                  <a:pt x="470" y="417"/>
                </a:lnTo>
                <a:lnTo>
                  <a:pt x="477" y="458"/>
                </a:lnTo>
                <a:lnTo>
                  <a:pt x="469" y="470"/>
                </a:lnTo>
                <a:lnTo>
                  <a:pt x="461" y="480"/>
                </a:lnTo>
                <a:lnTo>
                  <a:pt x="452" y="489"/>
                </a:lnTo>
                <a:lnTo>
                  <a:pt x="443" y="498"/>
                </a:lnTo>
                <a:lnTo>
                  <a:pt x="434" y="505"/>
                </a:lnTo>
                <a:lnTo>
                  <a:pt x="423" y="510"/>
                </a:lnTo>
                <a:lnTo>
                  <a:pt x="413" y="515"/>
                </a:lnTo>
                <a:lnTo>
                  <a:pt x="402" y="519"/>
                </a:lnTo>
                <a:lnTo>
                  <a:pt x="380" y="526"/>
                </a:lnTo>
                <a:lnTo>
                  <a:pt x="356" y="530"/>
                </a:lnTo>
                <a:lnTo>
                  <a:pt x="330" y="534"/>
                </a:lnTo>
                <a:lnTo>
                  <a:pt x="302" y="535"/>
                </a:lnTo>
                <a:lnTo>
                  <a:pt x="291" y="547"/>
                </a:lnTo>
                <a:lnTo>
                  <a:pt x="278" y="557"/>
                </a:lnTo>
                <a:lnTo>
                  <a:pt x="265" y="567"/>
                </a:lnTo>
                <a:lnTo>
                  <a:pt x="252" y="577"/>
                </a:lnTo>
                <a:lnTo>
                  <a:pt x="223" y="593"/>
                </a:lnTo>
                <a:lnTo>
                  <a:pt x="193" y="610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31" name="Freeform 96"/>
          <p:cNvSpPr>
            <a:spLocks/>
          </p:cNvSpPr>
          <p:nvPr/>
        </p:nvSpPr>
        <p:spPr bwMode="auto">
          <a:xfrm>
            <a:off x="1289050" y="3006725"/>
            <a:ext cx="214313" cy="198438"/>
          </a:xfrm>
          <a:custGeom>
            <a:avLst/>
            <a:gdLst>
              <a:gd name="T0" fmla="*/ 2147483647 w 539"/>
              <a:gd name="T1" fmla="*/ 2147483647 h 502"/>
              <a:gd name="T2" fmla="*/ 2147483647 w 539"/>
              <a:gd name="T3" fmla="*/ 2147483647 h 502"/>
              <a:gd name="T4" fmla="*/ 2147483647 w 539"/>
              <a:gd name="T5" fmla="*/ 2147483647 h 502"/>
              <a:gd name="T6" fmla="*/ 2147483647 w 539"/>
              <a:gd name="T7" fmla="*/ 2147483647 h 502"/>
              <a:gd name="T8" fmla="*/ 2147483647 w 539"/>
              <a:gd name="T9" fmla="*/ 2147483647 h 502"/>
              <a:gd name="T10" fmla="*/ 2147483647 w 539"/>
              <a:gd name="T11" fmla="*/ 2147483647 h 502"/>
              <a:gd name="T12" fmla="*/ 2147483647 w 539"/>
              <a:gd name="T13" fmla="*/ 2147483647 h 502"/>
              <a:gd name="T14" fmla="*/ 2147483647 w 539"/>
              <a:gd name="T15" fmla="*/ 2147483647 h 502"/>
              <a:gd name="T16" fmla="*/ 2147483647 w 539"/>
              <a:gd name="T17" fmla="*/ 2147483647 h 502"/>
              <a:gd name="T18" fmla="*/ 2147483647 w 539"/>
              <a:gd name="T19" fmla="*/ 2147483647 h 502"/>
              <a:gd name="T20" fmla="*/ 2147483647 w 539"/>
              <a:gd name="T21" fmla="*/ 2147483647 h 502"/>
              <a:gd name="T22" fmla="*/ 2147483647 w 539"/>
              <a:gd name="T23" fmla="*/ 2147483647 h 502"/>
              <a:gd name="T24" fmla="*/ 2147483647 w 539"/>
              <a:gd name="T25" fmla="*/ 2147483647 h 502"/>
              <a:gd name="T26" fmla="*/ 2147483647 w 539"/>
              <a:gd name="T27" fmla="*/ 2147483647 h 502"/>
              <a:gd name="T28" fmla="*/ 2147483647 w 539"/>
              <a:gd name="T29" fmla="*/ 2147483647 h 502"/>
              <a:gd name="T30" fmla="*/ 2147483647 w 539"/>
              <a:gd name="T31" fmla="*/ 2147483647 h 502"/>
              <a:gd name="T32" fmla="*/ 2147483647 w 539"/>
              <a:gd name="T33" fmla="*/ 2147483647 h 502"/>
              <a:gd name="T34" fmla="*/ 2147483647 w 539"/>
              <a:gd name="T35" fmla="*/ 2147483647 h 502"/>
              <a:gd name="T36" fmla="*/ 2147483647 w 539"/>
              <a:gd name="T37" fmla="*/ 2147483647 h 502"/>
              <a:gd name="T38" fmla="*/ 2147483647 w 539"/>
              <a:gd name="T39" fmla="*/ 2147483647 h 502"/>
              <a:gd name="T40" fmla="*/ 2147483647 w 539"/>
              <a:gd name="T41" fmla="*/ 2147483647 h 502"/>
              <a:gd name="T42" fmla="*/ 2147483647 w 539"/>
              <a:gd name="T43" fmla="*/ 2147483647 h 502"/>
              <a:gd name="T44" fmla="*/ 2147483647 w 539"/>
              <a:gd name="T45" fmla="*/ 2147483647 h 502"/>
              <a:gd name="T46" fmla="*/ 2147483647 w 539"/>
              <a:gd name="T47" fmla="*/ 2147483647 h 502"/>
              <a:gd name="T48" fmla="*/ 2147483647 w 539"/>
              <a:gd name="T49" fmla="*/ 2147483647 h 502"/>
              <a:gd name="T50" fmla="*/ 2147483647 w 539"/>
              <a:gd name="T51" fmla="*/ 2147483647 h 502"/>
              <a:gd name="T52" fmla="*/ 2147483647 w 539"/>
              <a:gd name="T53" fmla="*/ 2147483647 h 502"/>
              <a:gd name="T54" fmla="*/ 2147483647 w 539"/>
              <a:gd name="T55" fmla="*/ 2147483647 h 502"/>
              <a:gd name="T56" fmla="*/ 2147483647 w 539"/>
              <a:gd name="T57" fmla="*/ 2147483647 h 502"/>
              <a:gd name="T58" fmla="*/ 2147483647 w 539"/>
              <a:gd name="T59" fmla="*/ 2147483647 h 502"/>
              <a:gd name="T60" fmla="*/ 2147483647 w 539"/>
              <a:gd name="T61" fmla="*/ 2147483647 h 502"/>
              <a:gd name="T62" fmla="*/ 2147483647 w 539"/>
              <a:gd name="T63" fmla="*/ 2147483647 h 502"/>
              <a:gd name="T64" fmla="*/ 2147483647 w 539"/>
              <a:gd name="T65" fmla="*/ 2147483647 h 502"/>
              <a:gd name="T66" fmla="*/ 2147483647 w 539"/>
              <a:gd name="T67" fmla="*/ 2147483647 h 502"/>
              <a:gd name="T68" fmla="*/ 2147483647 w 539"/>
              <a:gd name="T69" fmla="*/ 2147483647 h 502"/>
              <a:gd name="T70" fmla="*/ 2147483647 w 539"/>
              <a:gd name="T71" fmla="*/ 2147483647 h 502"/>
              <a:gd name="T72" fmla="*/ 2147483647 w 539"/>
              <a:gd name="T73" fmla="*/ 2147483647 h 502"/>
              <a:gd name="T74" fmla="*/ 2147483647 w 539"/>
              <a:gd name="T75" fmla="*/ 2147483647 h 502"/>
              <a:gd name="T76" fmla="*/ 2147483647 w 539"/>
              <a:gd name="T77" fmla="*/ 2147483647 h 502"/>
              <a:gd name="T78" fmla="*/ 2147483647 w 539"/>
              <a:gd name="T79" fmla="*/ 2147483647 h 502"/>
              <a:gd name="T80" fmla="*/ 2147483647 w 539"/>
              <a:gd name="T81" fmla="*/ 2147483647 h 502"/>
              <a:gd name="T82" fmla="*/ 2147483647 w 539"/>
              <a:gd name="T83" fmla="*/ 2147483647 h 502"/>
              <a:gd name="T84" fmla="*/ 2147483647 w 539"/>
              <a:gd name="T85" fmla="*/ 2147483647 h 502"/>
              <a:gd name="T86" fmla="*/ 2147483647 w 539"/>
              <a:gd name="T87" fmla="*/ 2147483647 h 502"/>
              <a:gd name="T88" fmla="*/ 2147483647 w 539"/>
              <a:gd name="T89" fmla="*/ 2147483647 h 502"/>
              <a:gd name="T90" fmla="*/ 2147483647 w 539"/>
              <a:gd name="T91" fmla="*/ 2147483647 h 502"/>
              <a:gd name="T92" fmla="*/ 2147483647 w 539"/>
              <a:gd name="T93" fmla="*/ 2147483647 h 502"/>
              <a:gd name="T94" fmla="*/ 2147483647 w 539"/>
              <a:gd name="T95" fmla="*/ 2147483647 h 502"/>
              <a:gd name="T96" fmla="*/ 2147483647 w 539"/>
              <a:gd name="T97" fmla="*/ 2147483647 h 502"/>
              <a:gd name="T98" fmla="*/ 2147483647 w 539"/>
              <a:gd name="T99" fmla="*/ 2147483647 h 502"/>
              <a:gd name="T100" fmla="*/ 2147483647 w 539"/>
              <a:gd name="T101" fmla="*/ 2147483647 h 502"/>
              <a:gd name="T102" fmla="*/ 2147483647 w 539"/>
              <a:gd name="T103" fmla="*/ 2147483647 h 502"/>
              <a:gd name="T104" fmla="*/ 2147483647 w 539"/>
              <a:gd name="T105" fmla="*/ 2147483647 h 502"/>
              <a:gd name="T106" fmla="*/ 2147483647 w 539"/>
              <a:gd name="T107" fmla="*/ 2147483647 h 502"/>
              <a:gd name="T108" fmla="*/ 2147483647 w 539"/>
              <a:gd name="T109" fmla="*/ 2147483647 h 502"/>
              <a:gd name="T110" fmla="*/ 2147483647 w 539"/>
              <a:gd name="T111" fmla="*/ 2147483647 h 502"/>
              <a:gd name="T112" fmla="*/ 2147483647 w 539"/>
              <a:gd name="T113" fmla="*/ 2147483647 h 502"/>
              <a:gd name="T114" fmla="*/ 2147483647 w 539"/>
              <a:gd name="T115" fmla="*/ 2147483647 h 502"/>
              <a:gd name="T116" fmla="*/ 2147483647 w 539"/>
              <a:gd name="T117" fmla="*/ 2147483647 h 502"/>
              <a:gd name="T118" fmla="*/ 2147483647 w 539"/>
              <a:gd name="T119" fmla="*/ 2147483647 h 502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539"/>
              <a:gd name="T181" fmla="*/ 0 h 502"/>
              <a:gd name="T182" fmla="*/ 539 w 539"/>
              <a:gd name="T183" fmla="*/ 502 h 502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539" h="502">
                <a:moveTo>
                  <a:pt x="314" y="502"/>
                </a:moveTo>
                <a:lnTo>
                  <a:pt x="304" y="483"/>
                </a:lnTo>
                <a:lnTo>
                  <a:pt x="294" y="467"/>
                </a:lnTo>
                <a:lnTo>
                  <a:pt x="285" y="454"/>
                </a:lnTo>
                <a:lnTo>
                  <a:pt x="276" y="443"/>
                </a:lnTo>
                <a:lnTo>
                  <a:pt x="266" y="433"/>
                </a:lnTo>
                <a:lnTo>
                  <a:pt x="253" y="424"/>
                </a:lnTo>
                <a:lnTo>
                  <a:pt x="237" y="418"/>
                </a:lnTo>
                <a:lnTo>
                  <a:pt x="218" y="411"/>
                </a:lnTo>
                <a:lnTo>
                  <a:pt x="218" y="401"/>
                </a:lnTo>
                <a:lnTo>
                  <a:pt x="218" y="392"/>
                </a:lnTo>
                <a:lnTo>
                  <a:pt x="224" y="392"/>
                </a:lnTo>
                <a:lnTo>
                  <a:pt x="231" y="392"/>
                </a:lnTo>
                <a:lnTo>
                  <a:pt x="229" y="377"/>
                </a:lnTo>
                <a:lnTo>
                  <a:pt x="228" y="363"/>
                </a:lnTo>
                <a:lnTo>
                  <a:pt x="227" y="349"/>
                </a:lnTo>
                <a:lnTo>
                  <a:pt x="226" y="335"/>
                </a:lnTo>
                <a:lnTo>
                  <a:pt x="212" y="332"/>
                </a:lnTo>
                <a:lnTo>
                  <a:pt x="199" y="331"/>
                </a:lnTo>
                <a:lnTo>
                  <a:pt x="186" y="328"/>
                </a:lnTo>
                <a:lnTo>
                  <a:pt x="173" y="327"/>
                </a:lnTo>
                <a:lnTo>
                  <a:pt x="172" y="314"/>
                </a:lnTo>
                <a:lnTo>
                  <a:pt x="171" y="301"/>
                </a:lnTo>
                <a:lnTo>
                  <a:pt x="170" y="289"/>
                </a:lnTo>
                <a:lnTo>
                  <a:pt x="168" y="277"/>
                </a:lnTo>
                <a:lnTo>
                  <a:pt x="140" y="267"/>
                </a:lnTo>
                <a:lnTo>
                  <a:pt x="111" y="255"/>
                </a:lnTo>
                <a:lnTo>
                  <a:pt x="95" y="251"/>
                </a:lnTo>
                <a:lnTo>
                  <a:pt x="80" y="247"/>
                </a:lnTo>
                <a:lnTo>
                  <a:pt x="65" y="246"/>
                </a:lnTo>
                <a:lnTo>
                  <a:pt x="50" y="249"/>
                </a:lnTo>
                <a:lnTo>
                  <a:pt x="39" y="234"/>
                </a:lnTo>
                <a:lnTo>
                  <a:pt x="29" y="223"/>
                </a:lnTo>
                <a:lnTo>
                  <a:pt x="24" y="217"/>
                </a:lnTo>
                <a:lnTo>
                  <a:pt x="17" y="214"/>
                </a:lnTo>
                <a:lnTo>
                  <a:pt x="10" y="210"/>
                </a:lnTo>
                <a:lnTo>
                  <a:pt x="0" y="206"/>
                </a:lnTo>
                <a:lnTo>
                  <a:pt x="2" y="195"/>
                </a:lnTo>
                <a:lnTo>
                  <a:pt x="3" y="186"/>
                </a:lnTo>
                <a:lnTo>
                  <a:pt x="7" y="178"/>
                </a:lnTo>
                <a:lnTo>
                  <a:pt x="11" y="173"/>
                </a:lnTo>
                <a:lnTo>
                  <a:pt x="23" y="163"/>
                </a:lnTo>
                <a:lnTo>
                  <a:pt x="39" y="150"/>
                </a:lnTo>
                <a:lnTo>
                  <a:pt x="49" y="149"/>
                </a:lnTo>
                <a:lnTo>
                  <a:pt x="58" y="147"/>
                </a:lnTo>
                <a:lnTo>
                  <a:pt x="67" y="145"/>
                </a:lnTo>
                <a:lnTo>
                  <a:pt x="75" y="141"/>
                </a:lnTo>
                <a:lnTo>
                  <a:pt x="82" y="137"/>
                </a:lnTo>
                <a:lnTo>
                  <a:pt x="89" y="133"/>
                </a:lnTo>
                <a:lnTo>
                  <a:pt x="94" y="128"/>
                </a:lnTo>
                <a:lnTo>
                  <a:pt x="99" y="122"/>
                </a:lnTo>
                <a:lnTo>
                  <a:pt x="103" y="116"/>
                </a:lnTo>
                <a:lnTo>
                  <a:pt x="107" y="109"/>
                </a:lnTo>
                <a:lnTo>
                  <a:pt x="111" y="103"/>
                </a:lnTo>
                <a:lnTo>
                  <a:pt x="114" y="95"/>
                </a:lnTo>
                <a:lnTo>
                  <a:pt x="116" y="77"/>
                </a:lnTo>
                <a:lnTo>
                  <a:pt x="118" y="57"/>
                </a:lnTo>
                <a:lnTo>
                  <a:pt x="125" y="50"/>
                </a:lnTo>
                <a:lnTo>
                  <a:pt x="133" y="44"/>
                </a:lnTo>
                <a:lnTo>
                  <a:pt x="140" y="41"/>
                </a:lnTo>
                <a:lnTo>
                  <a:pt x="146" y="37"/>
                </a:lnTo>
                <a:lnTo>
                  <a:pt x="162" y="31"/>
                </a:lnTo>
                <a:lnTo>
                  <a:pt x="181" y="28"/>
                </a:lnTo>
                <a:lnTo>
                  <a:pt x="184" y="20"/>
                </a:lnTo>
                <a:lnTo>
                  <a:pt x="186" y="13"/>
                </a:lnTo>
                <a:lnTo>
                  <a:pt x="201" y="20"/>
                </a:lnTo>
                <a:lnTo>
                  <a:pt x="216" y="25"/>
                </a:lnTo>
                <a:lnTo>
                  <a:pt x="231" y="31"/>
                </a:lnTo>
                <a:lnTo>
                  <a:pt x="245" y="38"/>
                </a:lnTo>
                <a:lnTo>
                  <a:pt x="245" y="44"/>
                </a:lnTo>
                <a:lnTo>
                  <a:pt x="246" y="50"/>
                </a:lnTo>
                <a:lnTo>
                  <a:pt x="249" y="54"/>
                </a:lnTo>
                <a:lnTo>
                  <a:pt x="253" y="57"/>
                </a:lnTo>
                <a:lnTo>
                  <a:pt x="257" y="61"/>
                </a:lnTo>
                <a:lnTo>
                  <a:pt x="261" y="64"/>
                </a:lnTo>
                <a:lnTo>
                  <a:pt x="266" y="67"/>
                </a:lnTo>
                <a:lnTo>
                  <a:pt x="271" y="68"/>
                </a:lnTo>
                <a:lnTo>
                  <a:pt x="283" y="70"/>
                </a:lnTo>
                <a:lnTo>
                  <a:pt x="294" y="72"/>
                </a:lnTo>
                <a:lnTo>
                  <a:pt x="306" y="72"/>
                </a:lnTo>
                <a:lnTo>
                  <a:pt x="315" y="72"/>
                </a:lnTo>
                <a:lnTo>
                  <a:pt x="319" y="61"/>
                </a:lnTo>
                <a:lnTo>
                  <a:pt x="323" y="51"/>
                </a:lnTo>
                <a:lnTo>
                  <a:pt x="327" y="41"/>
                </a:lnTo>
                <a:lnTo>
                  <a:pt x="331" y="31"/>
                </a:lnTo>
                <a:lnTo>
                  <a:pt x="358" y="22"/>
                </a:lnTo>
                <a:lnTo>
                  <a:pt x="387" y="15"/>
                </a:lnTo>
                <a:lnTo>
                  <a:pt x="414" y="7"/>
                </a:lnTo>
                <a:lnTo>
                  <a:pt x="443" y="0"/>
                </a:lnTo>
                <a:lnTo>
                  <a:pt x="444" y="24"/>
                </a:lnTo>
                <a:lnTo>
                  <a:pt x="445" y="47"/>
                </a:lnTo>
                <a:lnTo>
                  <a:pt x="447" y="72"/>
                </a:lnTo>
                <a:lnTo>
                  <a:pt x="448" y="96"/>
                </a:lnTo>
                <a:lnTo>
                  <a:pt x="471" y="95"/>
                </a:lnTo>
                <a:lnTo>
                  <a:pt x="496" y="94"/>
                </a:lnTo>
                <a:lnTo>
                  <a:pt x="508" y="94"/>
                </a:lnTo>
                <a:lnTo>
                  <a:pt x="520" y="95"/>
                </a:lnTo>
                <a:lnTo>
                  <a:pt x="530" y="98"/>
                </a:lnTo>
                <a:lnTo>
                  <a:pt x="539" y="102"/>
                </a:lnTo>
                <a:lnTo>
                  <a:pt x="538" y="122"/>
                </a:lnTo>
                <a:lnTo>
                  <a:pt x="536" y="143"/>
                </a:lnTo>
                <a:lnTo>
                  <a:pt x="535" y="165"/>
                </a:lnTo>
                <a:lnTo>
                  <a:pt x="534" y="186"/>
                </a:lnTo>
                <a:lnTo>
                  <a:pt x="512" y="197"/>
                </a:lnTo>
                <a:lnTo>
                  <a:pt x="492" y="210"/>
                </a:lnTo>
                <a:lnTo>
                  <a:pt x="473" y="224"/>
                </a:lnTo>
                <a:lnTo>
                  <a:pt x="454" y="238"/>
                </a:lnTo>
                <a:lnTo>
                  <a:pt x="417" y="269"/>
                </a:lnTo>
                <a:lnTo>
                  <a:pt x="378" y="301"/>
                </a:lnTo>
                <a:lnTo>
                  <a:pt x="378" y="323"/>
                </a:lnTo>
                <a:lnTo>
                  <a:pt x="380" y="344"/>
                </a:lnTo>
                <a:lnTo>
                  <a:pt x="383" y="366"/>
                </a:lnTo>
                <a:lnTo>
                  <a:pt x="386" y="387"/>
                </a:lnTo>
                <a:lnTo>
                  <a:pt x="388" y="409"/>
                </a:lnTo>
                <a:lnTo>
                  <a:pt x="391" y="431"/>
                </a:lnTo>
                <a:lnTo>
                  <a:pt x="392" y="454"/>
                </a:lnTo>
                <a:lnTo>
                  <a:pt x="391" y="478"/>
                </a:lnTo>
                <a:lnTo>
                  <a:pt x="375" y="485"/>
                </a:lnTo>
                <a:lnTo>
                  <a:pt x="362" y="491"/>
                </a:lnTo>
                <a:lnTo>
                  <a:pt x="344" y="495"/>
                </a:lnTo>
                <a:lnTo>
                  <a:pt x="314" y="502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32" name="Freeform 97"/>
          <p:cNvSpPr>
            <a:spLocks/>
          </p:cNvSpPr>
          <p:nvPr/>
        </p:nvSpPr>
        <p:spPr bwMode="auto">
          <a:xfrm>
            <a:off x="1074738" y="2914650"/>
            <a:ext cx="230187" cy="239713"/>
          </a:xfrm>
          <a:custGeom>
            <a:avLst/>
            <a:gdLst>
              <a:gd name="T0" fmla="*/ 2147483647 w 580"/>
              <a:gd name="T1" fmla="*/ 2147483647 h 605"/>
              <a:gd name="T2" fmla="*/ 2147483647 w 580"/>
              <a:gd name="T3" fmla="*/ 2147483647 h 605"/>
              <a:gd name="T4" fmla="*/ 2147483647 w 580"/>
              <a:gd name="T5" fmla="*/ 2147483647 h 605"/>
              <a:gd name="T6" fmla="*/ 2147483647 w 580"/>
              <a:gd name="T7" fmla="*/ 2147483647 h 605"/>
              <a:gd name="T8" fmla="*/ 2147483647 w 580"/>
              <a:gd name="T9" fmla="*/ 2147483647 h 605"/>
              <a:gd name="T10" fmla="*/ 2147483647 w 580"/>
              <a:gd name="T11" fmla="*/ 2147483647 h 605"/>
              <a:gd name="T12" fmla="*/ 2147483647 w 580"/>
              <a:gd name="T13" fmla="*/ 2147483647 h 605"/>
              <a:gd name="T14" fmla="*/ 2147483647 w 580"/>
              <a:gd name="T15" fmla="*/ 2147483647 h 605"/>
              <a:gd name="T16" fmla="*/ 2147483647 w 580"/>
              <a:gd name="T17" fmla="*/ 2147483647 h 605"/>
              <a:gd name="T18" fmla="*/ 2147483647 w 580"/>
              <a:gd name="T19" fmla="*/ 2147483647 h 605"/>
              <a:gd name="T20" fmla="*/ 2147483647 w 580"/>
              <a:gd name="T21" fmla="*/ 2147483647 h 605"/>
              <a:gd name="T22" fmla="*/ 2147483647 w 580"/>
              <a:gd name="T23" fmla="*/ 2147483647 h 605"/>
              <a:gd name="T24" fmla="*/ 2147483647 w 580"/>
              <a:gd name="T25" fmla="*/ 2147483647 h 605"/>
              <a:gd name="T26" fmla="*/ 2147483647 w 580"/>
              <a:gd name="T27" fmla="*/ 2147483647 h 605"/>
              <a:gd name="T28" fmla="*/ 2147483647 w 580"/>
              <a:gd name="T29" fmla="*/ 2147483647 h 605"/>
              <a:gd name="T30" fmla="*/ 2147483647 w 580"/>
              <a:gd name="T31" fmla="*/ 2147483647 h 605"/>
              <a:gd name="T32" fmla="*/ 2147483647 w 580"/>
              <a:gd name="T33" fmla="*/ 2147483647 h 605"/>
              <a:gd name="T34" fmla="*/ 2147483647 w 580"/>
              <a:gd name="T35" fmla="*/ 2147483647 h 605"/>
              <a:gd name="T36" fmla="*/ 2147483647 w 580"/>
              <a:gd name="T37" fmla="*/ 2147483647 h 605"/>
              <a:gd name="T38" fmla="*/ 2147483647 w 580"/>
              <a:gd name="T39" fmla="*/ 2147483647 h 605"/>
              <a:gd name="T40" fmla="*/ 2147483647 w 580"/>
              <a:gd name="T41" fmla="*/ 2147483647 h 605"/>
              <a:gd name="T42" fmla="*/ 2147483647 w 580"/>
              <a:gd name="T43" fmla="*/ 2147483647 h 605"/>
              <a:gd name="T44" fmla="*/ 2147483647 w 580"/>
              <a:gd name="T45" fmla="*/ 2147483647 h 605"/>
              <a:gd name="T46" fmla="*/ 2147483647 w 580"/>
              <a:gd name="T47" fmla="*/ 2147483647 h 605"/>
              <a:gd name="T48" fmla="*/ 0 w 580"/>
              <a:gd name="T49" fmla="*/ 2147483647 h 605"/>
              <a:gd name="T50" fmla="*/ 2147483647 w 580"/>
              <a:gd name="T51" fmla="*/ 2147483647 h 605"/>
              <a:gd name="T52" fmla="*/ 2147483647 w 580"/>
              <a:gd name="T53" fmla="*/ 2147483647 h 605"/>
              <a:gd name="T54" fmla="*/ 2147483647 w 580"/>
              <a:gd name="T55" fmla="*/ 2147483647 h 605"/>
              <a:gd name="T56" fmla="*/ 2147483647 w 580"/>
              <a:gd name="T57" fmla="*/ 2147483647 h 605"/>
              <a:gd name="T58" fmla="*/ 2147483647 w 580"/>
              <a:gd name="T59" fmla="*/ 2147483647 h 605"/>
              <a:gd name="T60" fmla="*/ 2147483647 w 580"/>
              <a:gd name="T61" fmla="*/ 2147483647 h 605"/>
              <a:gd name="T62" fmla="*/ 2147483647 w 580"/>
              <a:gd name="T63" fmla="*/ 2147483647 h 605"/>
              <a:gd name="T64" fmla="*/ 2147483647 w 580"/>
              <a:gd name="T65" fmla="*/ 2147483647 h 605"/>
              <a:gd name="T66" fmla="*/ 2147483647 w 580"/>
              <a:gd name="T67" fmla="*/ 0 h 605"/>
              <a:gd name="T68" fmla="*/ 2147483647 w 580"/>
              <a:gd name="T69" fmla="*/ 2147483647 h 605"/>
              <a:gd name="T70" fmla="*/ 2147483647 w 580"/>
              <a:gd name="T71" fmla="*/ 2147483647 h 605"/>
              <a:gd name="T72" fmla="*/ 2147483647 w 580"/>
              <a:gd name="T73" fmla="*/ 2147483647 h 605"/>
              <a:gd name="T74" fmla="*/ 2147483647 w 580"/>
              <a:gd name="T75" fmla="*/ 2147483647 h 605"/>
              <a:gd name="T76" fmla="*/ 2147483647 w 580"/>
              <a:gd name="T77" fmla="*/ 2147483647 h 605"/>
              <a:gd name="T78" fmla="*/ 2147483647 w 580"/>
              <a:gd name="T79" fmla="*/ 2147483647 h 605"/>
              <a:gd name="T80" fmla="*/ 2147483647 w 580"/>
              <a:gd name="T81" fmla="*/ 2147483647 h 605"/>
              <a:gd name="T82" fmla="*/ 2147483647 w 580"/>
              <a:gd name="T83" fmla="*/ 2147483647 h 605"/>
              <a:gd name="T84" fmla="*/ 2147483647 w 580"/>
              <a:gd name="T85" fmla="*/ 2147483647 h 605"/>
              <a:gd name="T86" fmla="*/ 2147483647 w 580"/>
              <a:gd name="T87" fmla="*/ 2147483647 h 605"/>
              <a:gd name="T88" fmla="*/ 2147483647 w 580"/>
              <a:gd name="T89" fmla="*/ 2147483647 h 605"/>
              <a:gd name="T90" fmla="*/ 2147483647 w 580"/>
              <a:gd name="T91" fmla="*/ 2147483647 h 605"/>
              <a:gd name="T92" fmla="*/ 2147483647 w 580"/>
              <a:gd name="T93" fmla="*/ 2147483647 h 605"/>
              <a:gd name="T94" fmla="*/ 2147483647 w 580"/>
              <a:gd name="T95" fmla="*/ 2147483647 h 605"/>
              <a:gd name="T96" fmla="*/ 2147483647 w 580"/>
              <a:gd name="T97" fmla="*/ 2147483647 h 605"/>
              <a:gd name="T98" fmla="*/ 2147483647 w 580"/>
              <a:gd name="T99" fmla="*/ 2147483647 h 605"/>
              <a:gd name="T100" fmla="*/ 2147483647 w 580"/>
              <a:gd name="T101" fmla="*/ 2147483647 h 605"/>
              <a:gd name="T102" fmla="*/ 2147483647 w 580"/>
              <a:gd name="T103" fmla="*/ 2147483647 h 605"/>
              <a:gd name="T104" fmla="*/ 2147483647 w 580"/>
              <a:gd name="T105" fmla="*/ 2147483647 h 605"/>
              <a:gd name="T106" fmla="*/ 2147483647 w 580"/>
              <a:gd name="T107" fmla="*/ 2147483647 h 605"/>
              <a:gd name="T108" fmla="*/ 2147483647 w 580"/>
              <a:gd name="T109" fmla="*/ 2147483647 h 605"/>
              <a:gd name="T110" fmla="*/ 2147483647 w 580"/>
              <a:gd name="T111" fmla="*/ 2147483647 h 605"/>
              <a:gd name="T112" fmla="*/ 2147483647 w 580"/>
              <a:gd name="T113" fmla="*/ 2147483647 h 605"/>
              <a:gd name="T114" fmla="*/ 2147483647 w 580"/>
              <a:gd name="T115" fmla="*/ 2147483647 h 605"/>
              <a:gd name="T116" fmla="*/ 2147483647 w 580"/>
              <a:gd name="T117" fmla="*/ 2147483647 h 605"/>
              <a:gd name="T118" fmla="*/ 2147483647 w 580"/>
              <a:gd name="T119" fmla="*/ 2147483647 h 605"/>
              <a:gd name="T120" fmla="*/ 2147483647 w 580"/>
              <a:gd name="T121" fmla="*/ 2147483647 h 605"/>
              <a:gd name="T122" fmla="*/ 2147483647 w 580"/>
              <a:gd name="T123" fmla="*/ 2147483647 h 605"/>
              <a:gd name="T124" fmla="*/ 2147483647 w 580"/>
              <a:gd name="T125" fmla="*/ 2147483647 h 60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580"/>
              <a:gd name="T190" fmla="*/ 0 h 605"/>
              <a:gd name="T191" fmla="*/ 580 w 580"/>
              <a:gd name="T192" fmla="*/ 605 h 605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580" h="605">
                <a:moveTo>
                  <a:pt x="465" y="605"/>
                </a:moveTo>
                <a:lnTo>
                  <a:pt x="453" y="585"/>
                </a:lnTo>
                <a:lnTo>
                  <a:pt x="441" y="568"/>
                </a:lnTo>
                <a:lnTo>
                  <a:pt x="431" y="553"/>
                </a:lnTo>
                <a:lnTo>
                  <a:pt x="420" y="540"/>
                </a:lnTo>
                <a:lnTo>
                  <a:pt x="409" y="528"/>
                </a:lnTo>
                <a:lnTo>
                  <a:pt x="398" y="517"/>
                </a:lnTo>
                <a:lnTo>
                  <a:pt x="387" y="510"/>
                </a:lnTo>
                <a:lnTo>
                  <a:pt x="375" y="502"/>
                </a:lnTo>
                <a:lnTo>
                  <a:pt x="362" y="495"/>
                </a:lnTo>
                <a:lnTo>
                  <a:pt x="349" y="490"/>
                </a:lnTo>
                <a:lnTo>
                  <a:pt x="335" y="485"/>
                </a:lnTo>
                <a:lnTo>
                  <a:pt x="319" y="481"/>
                </a:lnTo>
                <a:lnTo>
                  <a:pt x="283" y="473"/>
                </a:lnTo>
                <a:lnTo>
                  <a:pt x="240" y="465"/>
                </a:lnTo>
                <a:lnTo>
                  <a:pt x="227" y="456"/>
                </a:lnTo>
                <a:lnTo>
                  <a:pt x="220" y="451"/>
                </a:lnTo>
                <a:lnTo>
                  <a:pt x="217" y="445"/>
                </a:lnTo>
                <a:lnTo>
                  <a:pt x="215" y="437"/>
                </a:lnTo>
                <a:lnTo>
                  <a:pt x="207" y="437"/>
                </a:lnTo>
                <a:lnTo>
                  <a:pt x="201" y="437"/>
                </a:lnTo>
                <a:lnTo>
                  <a:pt x="191" y="419"/>
                </a:lnTo>
                <a:lnTo>
                  <a:pt x="181" y="404"/>
                </a:lnTo>
                <a:lnTo>
                  <a:pt x="173" y="394"/>
                </a:lnTo>
                <a:lnTo>
                  <a:pt x="164" y="385"/>
                </a:lnTo>
                <a:lnTo>
                  <a:pt x="156" y="378"/>
                </a:lnTo>
                <a:lnTo>
                  <a:pt x="149" y="373"/>
                </a:lnTo>
                <a:lnTo>
                  <a:pt x="141" y="370"/>
                </a:lnTo>
                <a:lnTo>
                  <a:pt x="132" y="368"/>
                </a:lnTo>
                <a:lnTo>
                  <a:pt x="115" y="365"/>
                </a:lnTo>
                <a:lnTo>
                  <a:pt x="94" y="361"/>
                </a:lnTo>
                <a:lnTo>
                  <a:pt x="82" y="359"/>
                </a:lnTo>
                <a:lnTo>
                  <a:pt x="70" y="355"/>
                </a:lnTo>
                <a:lnTo>
                  <a:pt x="56" y="348"/>
                </a:lnTo>
                <a:lnTo>
                  <a:pt x="42" y="340"/>
                </a:lnTo>
                <a:lnTo>
                  <a:pt x="48" y="330"/>
                </a:lnTo>
                <a:lnTo>
                  <a:pt x="54" y="318"/>
                </a:lnTo>
                <a:lnTo>
                  <a:pt x="57" y="307"/>
                </a:lnTo>
                <a:lnTo>
                  <a:pt x="60" y="294"/>
                </a:lnTo>
                <a:lnTo>
                  <a:pt x="61" y="282"/>
                </a:lnTo>
                <a:lnTo>
                  <a:pt x="61" y="269"/>
                </a:lnTo>
                <a:lnTo>
                  <a:pt x="61" y="257"/>
                </a:lnTo>
                <a:lnTo>
                  <a:pt x="60" y="244"/>
                </a:lnTo>
                <a:lnTo>
                  <a:pt x="47" y="236"/>
                </a:lnTo>
                <a:lnTo>
                  <a:pt x="33" y="229"/>
                </a:lnTo>
                <a:lnTo>
                  <a:pt x="20" y="221"/>
                </a:lnTo>
                <a:lnTo>
                  <a:pt x="7" y="214"/>
                </a:lnTo>
                <a:lnTo>
                  <a:pt x="4" y="197"/>
                </a:lnTo>
                <a:lnTo>
                  <a:pt x="2" y="180"/>
                </a:lnTo>
                <a:lnTo>
                  <a:pt x="0" y="166"/>
                </a:lnTo>
                <a:lnTo>
                  <a:pt x="0" y="152"/>
                </a:lnTo>
                <a:lnTo>
                  <a:pt x="2" y="139"/>
                </a:lnTo>
                <a:lnTo>
                  <a:pt x="3" y="126"/>
                </a:lnTo>
                <a:lnTo>
                  <a:pt x="5" y="115"/>
                </a:lnTo>
                <a:lnTo>
                  <a:pt x="11" y="104"/>
                </a:lnTo>
                <a:lnTo>
                  <a:pt x="16" y="95"/>
                </a:lnTo>
                <a:lnTo>
                  <a:pt x="24" y="85"/>
                </a:lnTo>
                <a:lnTo>
                  <a:pt x="31" y="76"/>
                </a:lnTo>
                <a:lnTo>
                  <a:pt x="42" y="70"/>
                </a:lnTo>
                <a:lnTo>
                  <a:pt x="54" y="62"/>
                </a:lnTo>
                <a:lnTo>
                  <a:pt x="67" y="57"/>
                </a:lnTo>
                <a:lnTo>
                  <a:pt x="82" y="52"/>
                </a:lnTo>
                <a:lnTo>
                  <a:pt x="99" y="46"/>
                </a:lnTo>
                <a:lnTo>
                  <a:pt x="103" y="35"/>
                </a:lnTo>
                <a:lnTo>
                  <a:pt x="108" y="23"/>
                </a:lnTo>
                <a:lnTo>
                  <a:pt x="113" y="11"/>
                </a:lnTo>
                <a:lnTo>
                  <a:pt x="119" y="0"/>
                </a:lnTo>
                <a:lnTo>
                  <a:pt x="137" y="0"/>
                </a:lnTo>
                <a:lnTo>
                  <a:pt x="156" y="0"/>
                </a:lnTo>
                <a:lnTo>
                  <a:pt x="163" y="15"/>
                </a:lnTo>
                <a:lnTo>
                  <a:pt x="168" y="33"/>
                </a:lnTo>
                <a:lnTo>
                  <a:pt x="178" y="32"/>
                </a:lnTo>
                <a:lnTo>
                  <a:pt x="188" y="31"/>
                </a:lnTo>
                <a:lnTo>
                  <a:pt x="195" y="28"/>
                </a:lnTo>
                <a:lnTo>
                  <a:pt x="204" y="26"/>
                </a:lnTo>
                <a:lnTo>
                  <a:pt x="212" y="22"/>
                </a:lnTo>
                <a:lnTo>
                  <a:pt x="221" y="19"/>
                </a:lnTo>
                <a:lnTo>
                  <a:pt x="229" y="17"/>
                </a:lnTo>
                <a:lnTo>
                  <a:pt x="240" y="15"/>
                </a:lnTo>
                <a:lnTo>
                  <a:pt x="264" y="24"/>
                </a:lnTo>
                <a:lnTo>
                  <a:pt x="289" y="33"/>
                </a:lnTo>
                <a:lnTo>
                  <a:pt x="312" y="41"/>
                </a:lnTo>
                <a:lnTo>
                  <a:pt x="337" y="50"/>
                </a:lnTo>
                <a:lnTo>
                  <a:pt x="340" y="75"/>
                </a:lnTo>
                <a:lnTo>
                  <a:pt x="342" y="97"/>
                </a:lnTo>
                <a:lnTo>
                  <a:pt x="345" y="106"/>
                </a:lnTo>
                <a:lnTo>
                  <a:pt x="348" y="114"/>
                </a:lnTo>
                <a:lnTo>
                  <a:pt x="350" y="122"/>
                </a:lnTo>
                <a:lnTo>
                  <a:pt x="354" y="128"/>
                </a:lnTo>
                <a:lnTo>
                  <a:pt x="359" y="135"/>
                </a:lnTo>
                <a:lnTo>
                  <a:pt x="364" y="140"/>
                </a:lnTo>
                <a:lnTo>
                  <a:pt x="372" y="145"/>
                </a:lnTo>
                <a:lnTo>
                  <a:pt x="380" y="149"/>
                </a:lnTo>
                <a:lnTo>
                  <a:pt x="388" y="152"/>
                </a:lnTo>
                <a:lnTo>
                  <a:pt x="398" y="156"/>
                </a:lnTo>
                <a:lnTo>
                  <a:pt x="410" y="158"/>
                </a:lnTo>
                <a:lnTo>
                  <a:pt x="422" y="160"/>
                </a:lnTo>
                <a:lnTo>
                  <a:pt x="430" y="174"/>
                </a:lnTo>
                <a:lnTo>
                  <a:pt x="435" y="188"/>
                </a:lnTo>
                <a:lnTo>
                  <a:pt x="437" y="203"/>
                </a:lnTo>
                <a:lnTo>
                  <a:pt x="439" y="217"/>
                </a:lnTo>
                <a:lnTo>
                  <a:pt x="437" y="247"/>
                </a:lnTo>
                <a:lnTo>
                  <a:pt x="436" y="277"/>
                </a:lnTo>
                <a:lnTo>
                  <a:pt x="454" y="301"/>
                </a:lnTo>
                <a:lnTo>
                  <a:pt x="476" y="331"/>
                </a:lnTo>
                <a:lnTo>
                  <a:pt x="501" y="366"/>
                </a:lnTo>
                <a:lnTo>
                  <a:pt x="526" y="404"/>
                </a:lnTo>
                <a:lnTo>
                  <a:pt x="538" y="424"/>
                </a:lnTo>
                <a:lnTo>
                  <a:pt x="548" y="442"/>
                </a:lnTo>
                <a:lnTo>
                  <a:pt x="558" y="461"/>
                </a:lnTo>
                <a:lnTo>
                  <a:pt x="566" y="478"/>
                </a:lnTo>
                <a:lnTo>
                  <a:pt x="573" y="495"/>
                </a:lnTo>
                <a:lnTo>
                  <a:pt x="578" y="511"/>
                </a:lnTo>
                <a:lnTo>
                  <a:pt x="580" y="527"/>
                </a:lnTo>
                <a:lnTo>
                  <a:pt x="580" y="538"/>
                </a:lnTo>
                <a:lnTo>
                  <a:pt x="562" y="538"/>
                </a:lnTo>
                <a:lnTo>
                  <a:pt x="547" y="538"/>
                </a:lnTo>
                <a:lnTo>
                  <a:pt x="544" y="528"/>
                </a:lnTo>
                <a:lnTo>
                  <a:pt x="541" y="517"/>
                </a:lnTo>
                <a:lnTo>
                  <a:pt x="528" y="516"/>
                </a:lnTo>
                <a:lnTo>
                  <a:pt x="517" y="516"/>
                </a:lnTo>
                <a:lnTo>
                  <a:pt x="509" y="524"/>
                </a:lnTo>
                <a:lnTo>
                  <a:pt x="502" y="534"/>
                </a:lnTo>
                <a:lnTo>
                  <a:pt x="495" y="546"/>
                </a:lnTo>
                <a:lnTo>
                  <a:pt x="488" y="558"/>
                </a:lnTo>
                <a:lnTo>
                  <a:pt x="475" y="582"/>
                </a:lnTo>
                <a:lnTo>
                  <a:pt x="465" y="605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33" name="Freeform 98"/>
          <p:cNvSpPr>
            <a:spLocks/>
          </p:cNvSpPr>
          <p:nvPr/>
        </p:nvSpPr>
        <p:spPr bwMode="auto">
          <a:xfrm>
            <a:off x="1433513" y="2632075"/>
            <a:ext cx="234950" cy="307975"/>
          </a:xfrm>
          <a:custGeom>
            <a:avLst/>
            <a:gdLst>
              <a:gd name="T0" fmla="*/ 2147483647 w 594"/>
              <a:gd name="T1" fmla="*/ 2147483647 h 779"/>
              <a:gd name="T2" fmla="*/ 2147483647 w 594"/>
              <a:gd name="T3" fmla="*/ 2147483647 h 779"/>
              <a:gd name="T4" fmla="*/ 2147483647 w 594"/>
              <a:gd name="T5" fmla="*/ 2147483647 h 779"/>
              <a:gd name="T6" fmla="*/ 2147483647 w 594"/>
              <a:gd name="T7" fmla="*/ 2147483647 h 779"/>
              <a:gd name="T8" fmla="*/ 2147483647 w 594"/>
              <a:gd name="T9" fmla="*/ 2147483647 h 779"/>
              <a:gd name="T10" fmla="*/ 2147483647 w 594"/>
              <a:gd name="T11" fmla="*/ 2147483647 h 779"/>
              <a:gd name="T12" fmla="*/ 2147483647 w 594"/>
              <a:gd name="T13" fmla="*/ 2147483647 h 779"/>
              <a:gd name="T14" fmla="*/ 2147483647 w 594"/>
              <a:gd name="T15" fmla="*/ 2147483647 h 779"/>
              <a:gd name="T16" fmla="*/ 2147483647 w 594"/>
              <a:gd name="T17" fmla="*/ 2147483647 h 779"/>
              <a:gd name="T18" fmla="*/ 2147483647 w 594"/>
              <a:gd name="T19" fmla="*/ 2147483647 h 779"/>
              <a:gd name="T20" fmla="*/ 2147483647 w 594"/>
              <a:gd name="T21" fmla="*/ 2147483647 h 779"/>
              <a:gd name="T22" fmla="*/ 2147483647 w 594"/>
              <a:gd name="T23" fmla="*/ 2147483647 h 779"/>
              <a:gd name="T24" fmla="*/ 2147483647 w 594"/>
              <a:gd name="T25" fmla="*/ 2147483647 h 779"/>
              <a:gd name="T26" fmla="*/ 2147483647 w 594"/>
              <a:gd name="T27" fmla="*/ 2147483647 h 779"/>
              <a:gd name="T28" fmla="*/ 2147483647 w 594"/>
              <a:gd name="T29" fmla="*/ 2147483647 h 779"/>
              <a:gd name="T30" fmla="*/ 2147483647 w 594"/>
              <a:gd name="T31" fmla="*/ 2147483647 h 779"/>
              <a:gd name="T32" fmla="*/ 2147483647 w 594"/>
              <a:gd name="T33" fmla="*/ 2147483647 h 779"/>
              <a:gd name="T34" fmla="*/ 2147483647 w 594"/>
              <a:gd name="T35" fmla="*/ 2147483647 h 779"/>
              <a:gd name="T36" fmla="*/ 2147483647 w 594"/>
              <a:gd name="T37" fmla="*/ 2147483647 h 779"/>
              <a:gd name="T38" fmla="*/ 2147483647 w 594"/>
              <a:gd name="T39" fmla="*/ 2147483647 h 779"/>
              <a:gd name="T40" fmla="*/ 2147483647 w 594"/>
              <a:gd name="T41" fmla="*/ 2147483647 h 779"/>
              <a:gd name="T42" fmla="*/ 2147483647 w 594"/>
              <a:gd name="T43" fmla="*/ 2147483647 h 779"/>
              <a:gd name="T44" fmla="*/ 2147483647 w 594"/>
              <a:gd name="T45" fmla="*/ 2147483647 h 779"/>
              <a:gd name="T46" fmla="*/ 2147483647 w 594"/>
              <a:gd name="T47" fmla="*/ 0 h 779"/>
              <a:gd name="T48" fmla="*/ 2147483647 w 594"/>
              <a:gd name="T49" fmla="*/ 2147483647 h 779"/>
              <a:gd name="T50" fmla="*/ 2147483647 w 594"/>
              <a:gd name="T51" fmla="*/ 2147483647 h 779"/>
              <a:gd name="T52" fmla="*/ 2147483647 w 594"/>
              <a:gd name="T53" fmla="*/ 2147483647 h 779"/>
              <a:gd name="T54" fmla="*/ 2147483647 w 594"/>
              <a:gd name="T55" fmla="*/ 2147483647 h 779"/>
              <a:gd name="T56" fmla="*/ 2147483647 w 594"/>
              <a:gd name="T57" fmla="*/ 2147483647 h 779"/>
              <a:gd name="T58" fmla="*/ 2147483647 w 594"/>
              <a:gd name="T59" fmla="*/ 2147483647 h 779"/>
              <a:gd name="T60" fmla="*/ 2147483647 w 594"/>
              <a:gd name="T61" fmla="*/ 2147483647 h 779"/>
              <a:gd name="T62" fmla="*/ 2147483647 w 594"/>
              <a:gd name="T63" fmla="*/ 2147483647 h 779"/>
              <a:gd name="T64" fmla="*/ 2147483647 w 594"/>
              <a:gd name="T65" fmla="*/ 2147483647 h 779"/>
              <a:gd name="T66" fmla="*/ 2147483647 w 594"/>
              <a:gd name="T67" fmla="*/ 2147483647 h 779"/>
              <a:gd name="T68" fmla="*/ 2147483647 w 594"/>
              <a:gd name="T69" fmla="*/ 2147483647 h 779"/>
              <a:gd name="T70" fmla="*/ 2147483647 w 594"/>
              <a:gd name="T71" fmla="*/ 2147483647 h 779"/>
              <a:gd name="T72" fmla="*/ 2147483647 w 594"/>
              <a:gd name="T73" fmla="*/ 2147483647 h 779"/>
              <a:gd name="T74" fmla="*/ 2147483647 w 594"/>
              <a:gd name="T75" fmla="*/ 2147483647 h 779"/>
              <a:gd name="T76" fmla="*/ 2147483647 w 594"/>
              <a:gd name="T77" fmla="*/ 2147483647 h 779"/>
              <a:gd name="T78" fmla="*/ 2147483647 w 594"/>
              <a:gd name="T79" fmla="*/ 2147483647 h 779"/>
              <a:gd name="T80" fmla="*/ 2147483647 w 594"/>
              <a:gd name="T81" fmla="*/ 2147483647 h 779"/>
              <a:gd name="T82" fmla="*/ 2147483647 w 594"/>
              <a:gd name="T83" fmla="*/ 2147483647 h 779"/>
              <a:gd name="T84" fmla="*/ 2147483647 w 594"/>
              <a:gd name="T85" fmla="*/ 2147483647 h 779"/>
              <a:gd name="T86" fmla="*/ 2147483647 w 594"/>
              <a:gd name="T87" fmla="*/ 2147483647 h 779"/>
              <a:gd name="T88" fmla="*/ 2147483647 w 594"/>
              <a:gd name="T89" fmla="*/ 2147483647 h 779"/>
              <a:gd name="T90" fmla="*/ 2147483647 w 594"/>
              <a:gd name="T91" fmla="*/ 2147483647 h 779"/>
              <a:gd name="T92" fmla="*/ 2147483647 w 594"/>
              <a:gd name="T93" fmla="*/ 2147483647 h 779"/>
              <a:gd name="T94" fmla="*/ 2147483647 w 594"/>
              <a:gd name="T95" fmla="*/ 2147483647 h 779"/>
              <a:gd name="T96" fmla="*/ 2147483647 w 594"/>
              <a:gd name="T97" fmla="*/ 2147483647 h 779"/>
              <a:gd name="T98" fmla="*/ 2147483647 w 594"/>
              <a:gd name="T99" fmla="*/ 2147483647 h 779"/>
              <a:gd name="T100" fmla="*/ 2147483647 w 594"/>
              <a:gd name="T101" fmla="*/ 2147483647 h 779"/>
              <a:gd name="T102" fmla="*/ 2147483647 w 594"/>
              <a:gd name="T103" fmla="*/ 2147483647 h 779"/>
              <a:gd name="T104" fmla="*/ 2147483647 w 594"/>
              <a:gd name="T105" fmla="*/ 2147483647 h 779"/>
              <a:gd name="T106" fmla="*/ 2147483647 w 594"/>
              <a:gd name="T107" fmla="*/ 2147483647 h 779"/>
              <a:gd name="T108" fmla="*/ 2147483647 w 594"/>
              <a:gd name="T109" fmla="*/ 2147483647 h 779"/>
              <a:gd name="T110" fmla="*/ 2147483647 w 594"/>
              <a:gd name="T111" fmla="*/ 2147483647 h 779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94"/>
              <a:gd name="T169" fmla="*/ 0 h 779"/>
              <a:gd name="T170" fmla="*/ 594 w 594"/>
              <a:gd name="T171" fmla="*/ 779 h 779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94" h="779">
                <a:moveTo>
                  <a:pt x="189" y="779"/>
                </a:moveTo>
                <a:lnTo>
                  <a:pt x="179" y="771"/>
                </a:lnTo>
                <a:lnTo>
                  <a:pt x="168" y="765"/>
                </a:lnTo>
                <a:lnTo>
                  <a:pt x="168" y="750"/>
                </a:lnTo>
                <a:lnTo>
                  <a:pt x="168" y="739"/>
                </a:lnTo>
                <a:lnTo>
                  <a:pt x="183" y="726"/>
                </a:lnTo>
                <a:lnTo>
                  <a:pt x="193" y="715"/>
                </a:lnTo>
                <a:lnTo>
                  <a:pt x="201" y="705"/>
                </a:lnTo>
                <a:lnTo>
                  <a:pt x="207" y="696"/>
                </a:lnTo>
                <a:lnTo>
                  <a:pt x="210" y="684"/>
                </a:lnTo>
                <a:lnTo>
                  <a:pt x="211" y="671"/>
                </a:lnTo>
                <a:lnTo>
                  <a:pt x="211" y="655"/>
                </a:lnTo>
                <a:lnTo>
                  <a:pt x="211" y="636"/>
                </a:lnTo>
                <a:lnTo>
                  <a:pt x="216" y="623"/>
                </a:lnTo>
                <a:lnTo>
                  <a:pt x="222" y="611"/>
                </a:lnTo>
                <a:lnTo>
                  <a:pt x="223" y="606"/>
                </a:lnTo>
                <a:lnTo>
                  <a:pt x="224" y="599"/>
                </a:lnTo>
                <a:lnTo>
                  <a:pt x="224" y="593"/>
                </a:lnTo>
                <a:lnTo>
                  <a:pt x="222" y="584"/>
                </a:lnTo>
                <a:lnTo>
                  <a:pt x="205" y="579"/>
                </a:lnTo>
                <a:lnTo>
                  <a:pt x="189" y="571"/>
                </a:lnTo>
                <a:lnTo>
                  <a:pt x="175" y="562"/>
                </a:lnTo>
                <a:lnTo>
                  <a:pt x="162" y="551"/>
                </a:lnTo>
                <a:lnTo>
                  <a:pt x="155" y="545"/>
                </a:lnTo>
                <a:lnTo>
                  <a:pt x="151" y="538"/>
                </a:lnTo>
                <a:lnTo>
                  <a:pt x="146" y="532"/>
                </a:lnTo>
                <a:lnTo>
                  <a:pt x="142" y="524"/>
                </a:lnTo>
                <a:lnTo>
                  <a:pt x="140" y="516"/>
                </a:lnTo>
                <a:lnTo>
                  <a:pt x="137" y="507"/>
                </a:lnTo>
                <a:lnTo>
                  <a:pt x="136" y="498"/>
                </a:lnTo>
                <a:lnTo>
                  <a:pt x="136" y="488"/>
                </a:lnTo>
                <a:lnTo>
                  <a:pt x="142" y="482"/>
                </a:lnTo>
                <a:lnTo>
                  <a:pt x="149" y="475"/>
                </a:lnTo>
                <a:lnTo>
                  <a:pt x="154" y="468"/>
                </a:lnTo>
                <a:lnTo>
                  <a:pt x="158" y="460"/>
                </a:lnTo>
                <a:lnTo>
                  <a:pt x="166" y="445"/>
                </a:lnTo>
                <a:lnTo>
                  <a:pt x="170" y="428"/>
                </a:lnTo>
                <a:lnTo>
                  <a:pt x="175" y="393"/>
                </a:lnTo>
                <a:lnTo>
                  <a:pt x="177" y="355"/>
                </a:lnTo>
                <a:lnTo>
                  <a:pt x="175" y="348"/>
                </a:lnTo>
                <a:lnTo>
                  <a:pt x="170" y="343"/>
                </a:lnTo>
                <a:lnTo>
                  <a:pt x="164" y="337"/>
                </a:lnTo>
                <a:lnTo>
                  <a:pt x="159" y="333"/>
                </a:lnTo>
                <a:lnTo>
                  <a:pt x="146" y="324"/>
                </a:lnTo>
                <a:lnTo>
                  <a:pt x="132" y="316"/>
                </a:lnTo>
                <a:lnTo>
                  <a:pt x="116" y="309"/>
                </a:lnTo>
                <a:lnTo>
                  <a:pt x="101" y="304"/>
                </a:lnTo>
                <a:lnTo>
                  <a:pt x="85" y="300"/>
                </a:lnTo>
                <a:lnTo>
                  <a:pt x="71" y="296"/>
                </a:lnTo>
                <a:lnTo>
                  <a:pt x="55" y="273"/>
                </a:lnTo>
                <a:lnTo>
                  <a:pt x="38" y="252"/>
                </a:lnTo>
                <a:lnTo>
                  <a:pt x="30" y="243"/>
                </a:lnTo>
                <a:lnTo>
                  <a:pt x="21" y="233"/>
                </a:lnTo>
                <a:lnTo>
                  <a:pt x="11" y="223"/>
                </a:lnTo>
                <a:lnTo>
                  <a:pt x="0" y="216"/>
                </a:lnTo>
                <a:lnTo>
                  <a:pt x="3" y="203"/>
                </a:lnTo>
                <a:lnTo>
                  <a:pt x="8" y="191"/>
                </a:lnTo>
                <a:lnTo>
                  <a:pt x="13" y="181"/>
                </a:lnTo>
                <a:lnTo>
                  <a:pt x="20" y="170"/>
                </a:lnTo>
                <a:lnTo>
                  <a:pt x="37" y="151"/>
                </a:lnTo>
                <a:lnTo>
                  <a:pt x="55" y="132"/>
                </a:lnTo>
                <a:lnTo>
                  <a:pt x="73" y="114"/>
                </a:lnTo>
                <a:lnTo>
                  <a:pt x="91" y="95"/>
                </a:lnTo>
                <a:lnTo>
                  <a:pt x="99" y="84"/>
                </a:lnTo>
                <a:lnTo>
                  <a:pt x="107" y="73"/>
                </a:lnTo>
                <a:lnTo>
                  <a:pt x="114" y="61"/>
                </a:lnTo>
                <a:lnTo>
                  <a:pt x="119" y="48"/>
                </a:lnTo>
                <a:lnTo>
                  <a:pt x="181" y="19"/>
                </a:lnTo>
                <a:lnTo>
                  <a:pt x="216" y="5"/>
                </a:lnTo>
                <a:lnTo>
                  <a:pt x="225" y="1"/>
                </a:lnTo>
                <a:lnTo>
                  <a:pt x="232" y="0"/>
                </a:lnTo>
                <a:lnTo>
                  <a:pt x="237" y="0"/>
                </a:lnTo>
                <a:lnTo>
                  <a:pt x="241" y="0"/>
                </a:lnTo>
                <a:lnTo>
                  <a:pt x="246" y="13"/>
                </a:lnTo>
                <a:lnTo>
                  <a:pt x="253" y="24"/>
                </a:lnTo>
                <a:lnTo>
                  <a:pt x="261" y="35"/>
                </a:lnTo>
                <a:lnTo>
                  <a:pt x="268" y="45"/>
                </a:lnTo>
                <a:lnTo>
                  <a:pt x="279" y="53"/>
                </a:lnTo>
                <a:lnTo>
                  <a:pt x="289" y="61"/>
                </a:lnTo>
                <a:lnTo>
                  <a:pt x="300" y="67"/>
                </a:lnTo>
                <a:lnTo>
                  <a:pt x="311" y="74"/>
                </a:lnTo>
                <a:lnTo>
                  <a:pt x="336" y="84"/>
                </a:lnTo>
                <a:lnTo>
                  <a:pt x="363" y="93"/>
                </a:lnTo>
                <a:lnTo>
                  <a:pt x="389" y="101"/>
                </a:lnTo>
                <a:lnTo>
                  <a:pt x="417" y="109"/>
                </a:lnTo>
                <a:lnTo>
                  <a:pt x="421" y="114"/>
                </a:lnTo>
                <a:lnTo>
                  <a:pt x="426" y="117"/>
                </a:lnTo>
                <a:lnTo>
                  <a:pt x="432" y="119"/>
                </a:lnTo>
                <a:lnTo>
                  <a:pt x="438" y="122"/>
                </a:lnTo>
                <a:lnTo>
                  <a:pt x="452" y="123"/>
                </a:lnTo>
                <a:lnTo>
                  <a:pt x="466" y="122"/>
                </a:lnTo>
                <a:lnTo>
                  <a:pt x="495" y="117"/>
                </a:lnTo>
                <a:lnTo>
                  <a:pt x="522" y="113"/>
                </a:lnTo>
                <a:lnTo>
                  <a:pt x="535" y="121"/>
                </a:lnTo>
                <a:lnTo>
                  <a:pt x="548" y="127"/>
                </a:lnTo>
                <a:lnTo>
                  <a:pt x="562" y="135"/>
                </a:lnTo>
                <a:lnTo>
                  <a:pt x="575" y="142"/>
                </a:lnTo>
                <a:lnTo>
                  <a:pt x="583" y="155"/>
                </a:lnTo>
                <a:lnTo>
                  <a:pt x="587" y="168"/>
                </a:lnTo>
                <a:lnTo>
                  <a:pt x="590" y="181"/>
                </a:lnTo>
                <a:lnTo>
                  <a:pt x="591" y="194"/>
                </a:lnTo>
                <a:lnTo>
                  <a:pt x="591" y="208"/>
                </a:lnTo>
                <a:lnTo>
                  <a:pt x="590" y="222"/>
                </a:lnTo>
                <a:lnTo>
                  <a:pt x="586" y="237"/>
                </a:lnTo>
                <a:lnTo>
                  <a:pt x="582" y="251"/>
                </a:lnTo>
                <a:lnTo>
                  <a:pt x="572" y="279"/>
                </a:lnTo>
                <a:lnTo>
                  <a:pt x="559" y="309"/>
                </a:lnTo>
                <a:lnTo>
                  <a:pt x="544" y="339"/>
                </a:lnTo>
                <a:lnTo>
                  <a:pt x="530" y="369"/>
                </a:lnTo>
                <a:lnTo>
                  <a:pt x="518" y="399"/>
                </a:lnTo>
                <a:lnTo>
                  <a:pt x="508" y="428"/>
                </a:lnTo>
                <a:lnTo>
                  <a:pt x="505" y="442"/>
                </a:lnTo>
                <a:lnTo>
                  <a:pt x="503" y="456"/>
                </a:lnTo>
                <a:lnTo>
                  <a:pt x="501" y="469"/>
                </a:lnTo>
                <a:lnTo>
                  <a:pt x="503" y="484"/>
                </a:lnTo>
                <a:lnTo>
                  <a:pt x="505" y="497"/>
                </a:lnTo>
                <a:lnTo>
                  <a:pt x="509" y="510"/>
                </a:lnTo>
                <a:lnTo>
                  <a:pt x="514" y="521"/>
                </a:lnTo>
                <a:lnTo>
                  <a:pt x="523" y="533"/>
                </a:lnTo>
                <a:lnTo>
                  <a:pt x="534" y="545"/>
                </a:lnTo>
                <a:lnTo>
                  <a:pt x="547" y="557"/>
                </a:lnTo>
                <a:lnTo>
                  <a:pt x="561" y="567"/>
                </a:lnTo>
                <a:lnTo>
                  <a:pt x="579" y="577"/>
                </a:lnTo>
                <a:lnTo>
                  <a:pt x="583" y="584"/>
                </a:lnTo>
                <a:lnTo>
                  <a:pt x="587" y="592"/>
                </a:lnTo>
                <a:lnTo>
                  <a:pt x="590" y="599"/>
                </a:lnTo>
                <a:lnTo>
                  <a:pt x="591" y="607"/>
                </a:lnTo>
                <a:lnTo>
                  <a:pt x="594" y="624"/>
                </a:lnTo>
                <a:lnTo>
                  <a:pt x="594" y="641"/>
                </a:lnTo>
                <a:lnTo>
                  <a:pt x="592" y="658"/>
                </a:lnTo>
                <a:lnTo>
                  <a:pt x="588" y="675"/>
                </a:lnTo>
                <a:lnTo>
                  <a:pt x="585" y="692"/>
                </a:lnTo>
                <a:lnTo>
                  <a:pt x="579" y="707"/>
                </a:lnTo>
                <a:lnTo>
                  <a:pt x="570" y="711"/>
                </a:lnTo>
                <a:lnTo>
                  <a:pt x="561" y="713"/>
                </a:lnTo>
                <a:lnTo>
                  <a:pt x="553" y="714"/>
                </a:lnTo>
                <a:lnTo>
                  <a:pt x="546" y="714"/>
                </a:lnTo>
                <a:lnTo>
                  <a:pt x="530" y="713"/>
                </a:lnTo>
                <a:lnTo>
                  <a:pt x="516" y="711"/>
                </a:lnTo>
                <a:lnTo>
                  <a:pt x="503" y="709"/>
                </a:lnTo>
                <a:lnTo>
                  <a:pt x="488" y="707"/>
                </a:lnTo>
                <a:lnTo>
                  <a:pt x="482" y="709"/>
                </a:lnTo>
                <a:lnTo>
                  <a:pt x="474" y="710"/>
                </a:lnTo>
                <a:lnTo>
                  <a:pt x="466" y="713"/>
                </a:lnTo>
                <a:lnTo>
                  <a:pt x="458" y="717"/>
                </a:lnTo>
                <a:lnTo>
                  <a:pt x="436" y="717"/>
                </a:lnTo>
                <a:lnTo>
                  <a:pt x="413" y="717"/>
                </a:lnTo>
                <a:lnTo>
                  <a:pt x="391" y="717"/>
                </a:lnTo>
                <a:lnTo>
                  <a:pt x="369" y="717"/>
                </a:lnTo>
                <a:lnTo>
                  <a:pt x="356" y="723"/>
                </a:lnTo>
                <a:lnTo>
                  <a:pt x="343" y="730"/>
                </a:lnTo>
                <a:lnTo>
                  <a:pt x="331" y="733"/>
                </a:lnTo>
                <a:lnTo>
                  <a:pt x="319" y="737"/>
                </a:lnTo>
                <a:lnTo>
                  <a:pt x="309" y="737"/>
                </a:lnTo>
                <a:lnTo>
                  <a:pt x="297" y="736"/>
                </a:lnTo>
                <a:lnTo>
                  <a:pt x="292" y="735"/>
                </a:lnTo>
                <a:lnTo>
                  <a:pt x="287" y="732"/>
                </a:lnTo>
                <a:lnTo>
                  <a:pt x="280" y="730"/>
                </a:lnTo>
                <a:lnTo>
                  <a:pt x="274" y="724"/>
                </a:lnTo>
                <a:lnTo>
                  <a:pt x="262" y="724"/>
                </a:lnTo>
                <a:lnTo>
                  <a:pt x="252" y="726"/>
                </a:lnTo>
                <a:lnTo>
                  <a:pt x="240" y="726"/>
                </a:lnTo>
                <a:lnTo>
                  <a:pt x="228" y="727"/>
                </a:lnTo>
                <a:lnTo>
                  <a:pt x="228" y="737"/>
                </a:lnTo>
                <a:lnTo>
                  <a:pt x="228" y="748"/>
                </a:lnTo>
                <a:lnTo>
                  <a:pt x="228" y="759"/>
                </a:lnTo>
                <a:lnTo>
                  <a:pt x="228" y="771"/>
                </a:lnTo>
                <a:lnTo>
                  <a:pt x="209" y="774"/>
                </a:lnTo>
                <a:lnTo>
                  <a:pt x="189" y="779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34" name="Freeform 99"/>
          <p:cNvSpPr>
            <a:spLocks/>
          </p:cNvSpPr>
          <p:nvPr/>
        </p:nvSpPr>
        <p:spPr bwMode="auto">
          <a:xfrm>
            <a:off x="1944688" y="3492500"/>
            <a:ext cx="588962" cy="644525"/>
          </a:xfrm>
          <a:custGeom>
            <a:avLst/>
            <a:gdLst>
              <a:gd name="T0" fmla="*/ 2147483647 w 1486"/>
              <a:gd name="T1" fmla="*/ 2147483647 h 1625"/>
              <a:gd name="T2" fmla="*/ 2147483647 w 1486"/>
              <a:gd name="T3" fmla="*/ 2147483647 h 1625"/>
              <a:gd name="T4" fmla="*/ 2147483647 w 1486"/>
              <a:gd name="T5" fmla="*/ 2147483647 h 1625"/>
              <a:gd name="T6" fmla="*/ 2147483647 w 1486"/>
              <a:gd name="T7" fmla="*/ 2147483647 h 1625"/>
              <a:gd name="T8" fmla="*/ 2147483647 w 1486"/>
              <a:gd name="T9" fmla="*/ 2147483647 h 1625"/>
              <a:gd name="T10" fmla="*/ 2147483647 w 1486"/>
              <a:gd name="T11" fmla="*/ 2147483647 h 1625"/>
              <a:gd name="T12" fmla="*/ 2147483647 w 1486"/>
              <a:gd name="T13" fmla="*/ 2147483647 h 1625"/>
              <a:gd name="T14" fmla="*/ 2147483647 w 1486"/>
              <a:gd name="T15" fmla="*/ 2147483647 h 1625"/>
              <a:gd name="T16" fmla="*/ 2147483647 w 1486"/>
              <a:gd name="T17" fmla="*/ 2147483647 h 1625"/>
              <a:gd name="T18" fmla="*/ 2147483647 w 1486"/>
              <a:gd name="T19" fmla="*/ 2147483647 h 1625"/>
              <a:gd name="T20" fmla="*/ 2147483647 w 1486"/>
              <a:gd name="T21" fmla="*/ 2147483647 h 1625"/>
              <a:gd name="T22" fmla="*/ 2147483647 w 1486"/>
              <a:gd name="T23" fmla="*/ 2147483647 h 1625"/>
              <a:gd name="T24" fmla="*/ 2147483647 w 1486"/>
              <a:gd name="T25" fmla="*/ 2147483647 h 1625"/>
              <a:gd name="T26" fmla="*/ 2147483647 w 1486"/>
              <a:gd name="T27" fmla="*/ 2147483647 h 1625"/>
              <a:gd name="T28" fmla="*/ 2147483647 w 1486"/>
              <a:gd name="T29" fmla="*/ 2147483647 h 1625"/>
              <a:gd name="T30" fmla="*/ 2147483647 w 1486"/>
              <a:gd name="T31" fmla="*/ 2147483647 h 1625"/>
              <a:gd name="T32" fmla="*/ 2147483647 w 1486"/>
              <a:gd name="T33" fmla="*/ 2147483647 h 1625"/>
              <a:gd name="T34" fmla="*/ 2147483647 w 1486"/>
              <a:gd name="T35" fmla="*/ 2147483647 h 1625"/>
              <a:gd name="T36" fmla="*/ 2147483647 w 1486"/>
              <a:gd name="T37" fmla="*/ 2147483647 h 1625"/>
              <a:gd name="T38" fmla="*/ 2147483647 w 1486"/>
              <a:gd name="T39" fmla="*/ 2147483647 h 1625"/>
              <a:gd name="T40" fmla="*/ 2147483647 w 1486"/>
              <a:gd name="T41" fmla="*/ 2147483647 h 1625"/>
              <a:gd name="T42" fmla="*/ 2147483647 w 1486"/>
              <a:gd name="T43" fmla="*/ 2147483647 h 1625"/>
              <a:gd name="T44" fmla="*/ 2147483647 w 1486"/>
              <a:gd name="T45" fmla="*/ 2147483647 h 1625"/>
              <a:gd name="T46" fmla="*/ 2147483647 w 1486"/>
              <a:gd name="T47" fmla="*/ 2147483647 h 1625"/>
              <a:gd name="T48" fmla="*/ 2147483647 w 1486"/>
              <a:gd name="T49" fmla="*/ 2147483647 h 1625"/>
              <a:gd name="T50" fmla="*/ 2147483647 w 1486"/>
              <a:gd name="T51" fmla="*/ 2147483647 h 1625"/>
              <a:gd name="T52" fmla="*/ 2147483647 w 1486"/>
              <a:gd name="T53" fmla="*/ 2147483647 h 1625"/>
              <a:gd name="T54" fmla="*/ 2147483647 w 1486"/>
              <a:gd name="T55" fmla="*/ 2147483647 h 1625"/>
              <a:gd name="T56" fmla="*/ 2147483647 w 1486"/>
              <a:gd name="T57" fmla="*/ 2147483647 h 1625"/>
              <a:gd name="T58" fmla="*/ 2147483647 w 1486"/>
              <a:gd name="T59" fmla="*/ 2147483647 h 1625"/>
              <a:gd name="T60" fmla="*/ 2147483647 w 1486"/>
              <a:gd name="T61" fmla="*/ 2147483647 h 1625"/>
              <a:gd name="T62" fmla="*/ 2147483647 w 1486"/>
              <a:gd name="T63" fmla="*/ 2147483647 h 1625"/>
              <a:gd name="T64" fmla="*/ 2147483647 w 1486"/>
              <a:gd name="T65" fmla="*/ 2147483647 h 1625"/>
              <a:gd name="T66" fmla="*/ 2147483647 w 1486"/>
              <a:gd name="T67" fmla="*/ 2147483647 h 1625"/>
              <a:gd name="T68" fmla="*/ 2147483647 w 1486"/>
              <a:gd name="T69" fmla="*/ 2147483647 h 1625"/>
              <a:gd name="T70" fmla="*/ 2147483647 w 1486"/>
              <a:gd name="T71" fmla="*/ 2147483647 h 1625"/>
              <a:gd name="T72" fmla="*/ 2147483647 w 1486"/>
              <a:gd name="T73" fmla="*/ 2147483647 h 1625"/>
              <a:gd name="T74" fmla="*/ 2147483647 w 1486"/>
              <a:gd name="T75" fmla="*/ 2147483647 h 1625"/>
              <a:gd name="T76" fmla="*/ 2147483647 w 1486"/>
              <a:gd name="T77" fmla="*/ 2147483647 h 1625"/>
              <a:gd name="T78" fmla="*/ 2147483647 w 1486"/>
              <a:gd name="T79" fmla="*/ 2147483647 h 1625"/>
              <a:gd name="T80" fmla="*/ 2147483647 w 1486"/>
              <a:gd name="T81" fmla="*/ 2147483647 h 1625"/>
              <a:gd name="T82" fmla="*/ 2147483647 w 1486"/>
              <a:gd name="T83" fmla="*/ 2147483647 h 1625"/>
              <a:gd name="T84" fmla="*/ 2147483647 w 1486"/>
              <a:gd name="T85" fmla="*/ 2147483647 h 1625"/>
              <a:gd name="T86" fmla="*/ 2147483647 w 1486"/>
              <a:gd name="T87" fmla="*/ 2147483647 h 1625"/>
              <a:gd name="T88" fmla="*/ 2147483647 w 1486"/>
              <a:gd name="T89" fmla="*/ 2147483647 h 1625"/>
              <a:gd name="T90" fmla="*/ 2147483647 w 1486"/>
              <a:gd name="T91" fmla="*/ 2147483647 h 1625"/>
              <a:gd name="T92" fmla="*/ 2147483647 w 1486"/>
              <a:gd name="T93" fmla="*/ 2147483647 h 1625"/>
              <a:gd name="T94" fmla="*/ 2147483647 w 1486"/>
              <a:gd name="T95" fmla="*/ 2147483647 h 1625"/>
              <a:gd name="T96" fmla="*/ 2147483647 w 1486"/>
              <a:gd name="T97" fmla="*/ 2147483647 h 1625"/>
              <a:gd name="T98" fmla="*/ 2147483647 w 1486"/>
              <a:gd name="T99" fmla="*/ 2147483647 h 1625"/>
              <a:gd name="T100" fmla="*/ 2147483647 w 1486"/>
              <a:gd name="T101" fmla="*/ 2147483647 h 1625"/>
              <a:gd name="T102" fmla="*/ 2147483647 w 1486"/>
              <a:gd name="T103" fmla="*/ 2147483647 h 1625"/>
              <a:gd name="T104" fmla="*/ 2147483647 w 1486"/>
              <a:gd name="T105" fmla="*/ 2147483647 h 1625"/>
              <a:gd name="T106" fmla="*/ 2147483647 w 1486"/>
              <a:gd name="T107" fmla="*/ 2147483647 h 162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486"/>
              <a:gd name="T163" fmla="*/ 0 h 1625"/>
              <a:gd name="T164" fmla="*/ 1486 w 1486"/>
              <a:gd name="T165" fmla="*/ 1625 h 1625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486" h="1625">
                <a:moveTo>
                  <a:pt x="1342" y="1625"/>
                </a:moveTo>
                <a:lnTo>
                  <a:pt x="1317" y="1605"/>
                </a:lnTo>
                <a:lnTo>
                  <a:pt x="1295" y="1590"/>
                </a:lnTo>
                <a:lnTo>
                  <a:pt x="1266" y="1573"/>
                </a:lnTo>
                <a:lnTo>
                  <a:pt x="1219" y="1547"/>
                </a:lnTo>
                <a:lnTo>
                  <a:pt x="1214" y="1535"/>
                </a:lnTo>
                <a:lnTo>
                  <a:pt x="1209" y="1525"/>
                </a:lnTo>
                <a:lnTo>
                  <a:pt x="1204" y="1517"/>
                </a:lnTo>
                <a:lnTo>
                  <a:pt x="1198" y="1512"/>
                </a:lnTo>
                <a:lnTo>
                  <a:pt x="1193" y="1508"/>
                </a:lnTo>
                <a:lnTo>
                  <a:pt x="1187" y="1505"/>
                </a:lnTo>
                <a:lnTo>
                  <a:pt x="1180" y="1505"/>
                </a:lnTo>
                <a:lnTo>
                  <a:pt x="1174" y="1505"/>
                </a:lnTo>
                <a:lnTo>
                  <a:pt x="1158" y="1508"/>
                </a:lnTo>
                <a:lnTo>
                  <a:pt x="1141" y="1513"/>
                </a:lnTo>
                <a:lnTo>
                  <a:pt x="1131" y="1514"/>
                </a:lnTo>
                <a:lnTo>
                  <a:pt x="1120" y="1516"/>
                </a:lnTo>
                <a:lnTo>
                  <a:pt x="1109" y="1517"/>
                </a:lnTo>
                <a:lnTo>
                  <a:pt x="1096" y="1517"/>
                </a:lnTo>
                <a:lnTo>
                  <a:pt x="1070" y="1483"/>
                </a:lnTo>
                <a:lnTo>
                  <a:pt x="1054" y="1462"/>
                </a:lnTo>
                <a:lnTo>
                  <a:pt x="1041" y="1441"/>
                </a:lnTo>
                <a:lnTo>
                  <a:pt x="1024" y="1413"/>
                </a:lnTo>
                <a:lnTo>
                  <a:pt x="1024" y="1378"/>
                </a:lnTo>
                <a:lnTo>
                  <a:pt x="1023" y="1344"/>
                </a:lnTo>
                <a:lnTo>
                  <a:pt x="1023" y="1310"/>
                </a:lnTo>
                <a:lnTo>
                  <a:pt x="1023" y="1276"/>
                </a:lnTo>
                <a:lnTo>
                  <a:pt x="997" y="1261"/>
                </a:lnTo>
                <a:lnTo>
                  <a:pt x="976" y="1249"/>
                </a:lnTo>
                <a:lnTo>
                  <a:pt x="966" y="1245"/>
                </a:lnTo>
                <a:lnTo>
                  <a:pt x="955" y="1241"/>
                </a:lnTo>
                <a:lnTo>
                  <a:pt x="946" y="1239"/>
                </a:lnTo>
                <a:lnTo>
                  <a:pt x="936" y="1236"/>
                </a:lnTo>
                <a:lnTo>
                  <a:pt x="916" y="1235"/>
                </a:lnTo>
                <a:lnTo>
                  <a:pt x="893" y="1235"/>
                </a:lnTo>
                <a:lnTo>
                  <a:pt x="867" y="1236"/>
                </a:lnTo>
                <a:lnTo>
                  <a:pt x="835" y="1240"/>
                </a:lnTo>
                <a:lnTo>
                  <a:pt x="828" y="1222"/>
                </a:lnTo>
                <a:lnTo>
                  <a:pt x="819" y="1205"/>
                </a:lnTo>
                <a:lnTo>
                  <a:pt x="807" y="1189"/>
                </a:lnTo>
                <a:lnTo>
                  <a:pt x="795" y="1175"/>
                </a:lnTo>
                <a:lnTo>
                  <a:pt x="781" y="1162"/>
                </a:lnTo>
                <a:lnTo>
                  <a:pt x="766" y="1151"/>
                </a:lnTo>
                <a:lnTo>
                  <a:pt x="751" y="1141"/>
                </a:lnTo>
                <a:lnTo>
                  <a:pt x="734" y="1133"/>
                </a:lnTo>
                <a:lnTo>
                  <a:pt x="717" y="1127"/>
                </a:lnTo>
                <a:lnTo>
                  <a:pt x="699" y="1121"/>
                </a:lnTo>
                <a:lnTo>
                  <a:pt x="681" y="1119"/>
                </a:lnTo>
                <a:lnTo>
                  <a:pt x="662" y="1119"/>
                </a:lnTo>
                <a:lnTo>
                  <a:pt x="643" y="1120"/>
                </a:lnTo>
                <a:lnTo>
                  <a:pt x="623" y="1124"/>
                </a:lnTo>
                <a:lnTo>
                  <a:pt x="605" y="1131"/>
                </a:lnTo>
                <a:lnTo>
                  <a:pt x="586" y="1140"/>
                </a:lnTo>
                <a:lnTo>
                  <a:pt x="571" y="1140"/>
                </a:lnTo>
                <a:lnTo>
                  <a:pt x="558" y="1137"/>
                </a:lnTo>
                <a:lnTo>
                  <a:pt x="545" y="1134"/>
                </a:lnTo>
                <a:lnTo>
                  <a:pt x="535" y="1129"/>
                </a:lnTo>
                <a:lnTo>
                  <a:pt x="525" y="1124"/>
                </a:lnTo>
                <a:lnTo>
                  <a:pt x="517" y="1119"/>
                </a:lnTo>
                <a:lnTo>
                  <a:pt x="509" y="1111"/>
                </a:lnTo>
                <a:lnTo>
                  <a:pt x="501" y="1103"/>
                </a:lnTo>
                <a:lnTo>
                  <a:pt x="496" y="1094"/>
                </a:lnTo>
                <a:lnTo>
                  <a:pt x="491" y="1084"/>
                </a:lnTo>
                <a:lnTo>
                  <a:pt x="485" y="1073"/>
                </a:lnTo>
                <a:lnTo>
                  <a:pt x="482" y="1063"/>
                </a:lnTo>
                <a:lnTo>
                  <a:pt x="475" y="1038"/>
                </a:lnTo>
                <a:lnTo>
                  <a:pt x="471" y="1012"/>
                </a:lnTo>
                <a:lnTo>
                  <a:pt x="453" y="1007"/>
                </a:lnTo>
                <a:lnTo>
                  <a:pt x="436" y="1003"/>
                </a:lnTo>
                <a:lnTo>
                  <a:pt x="427" y="1002"/>
                </a:lnTo>
                <a:lnTo>
                  <a:pt x="418" y="1000"/>
                </a:lnTo>
                <a:lnTo>
                  <a:pt x="407" y="1000"/>
                </a:lnTo>
                <a:lnTo>
                  <a:pt x="397" y="1002"/>
                </a:lnTo>
                <a:lnTo>
                  <a:pt x="384" y="1019"/>
                </a:lnTo>
                <a:lnTo>
                  <a:pt x="372" y="1038"/>
                </a:lnTo>
                <a:lnTo>
                  <a:pt x="370" y="1011"/>
                </a:lnTo>
                <a:lnTo>
                  <a:pt x="368" y="982"/>
                </a:lnTo>
                <a:lnTo>
                  <a:pt x="367" y="954"/>
                </a:lnTo>
                <a:lnTo>
                  <a:pt x="366" y="924"/>
                </a:lnTo>
                <a:lnTo>
                  <a:pt x="364" y="909"/>
                </a:lnTo>
                <a:lnTo>
                  <a:pt x="362" y="895"/>
                </a:lnTo>
                <a:lnTo>
                  <a:pt x="359" y="881"/>
                </a:lnTo>
                <a:lnTo>
                  <a:pt x="357" y="866"/>
                </a:lnTo>
                <a:lnTo>
                  <a:pt x="351" y="853"/>
                </a:lnTo>
                <a:lnTo>
                  <a:pt x="346" y="840"/>
                </a:lnTo>
                <a:lnTo>
                  <a:pt x="340" y="829"/>
                </a:lnTo>
                <a:lnTo>
                  <a:pt x="332" y="817"/>
                </a:lnTo>
                <a:lnTo>
                  <a:pt x="331" y="792"/>
                </a:lnTo>
                <a:lnTo>
                  <a:pt x="329" y="769"/>
                </a:lnTo>
                <a:lnTo>
                  <a:pt x="328" y="745"/>
                </a:lnTo>
                <a:lnTo>
                  <a:pt x="328" y="722"/>
                </a:lnTo>
                <a:lnTo>
                  <a:pt x="299" y="703"/>
                </a:lnTo>
                <a:lnTo>
                  <a:pt x="272" y="684"/>
                </a:lnTo>
                <a:lnTo>
                  <a:pt x="258" y="677"/>
                </a:lnTo>
                <a:lnTo>
                  <a:pt x="243" y="669"/>
                </a:lnTo>
                <a:lnTo>
                  <a:pt x="228" y="662"/>
                </a:lnTo>
                <a:lnTo>
                  <a:pt x="212" y="657"/>
                </a:lnTo>
                <a:lnTo>
                  <a:pt x="211" y="632"/>
                </a:lnTo>
                <a:lnTo>
                  <a:pt x="210" y="608"/>
                </a:lnTo>
                <a:lnTo>
                  <a:pt x="208" y="584"/>
                </a:lnTo>
                <a:lnTo>
                  <a:pt x="207" y="561"/>
                </a:lnTo>
                <a:lnTo>
                  <a:pt x="185" y="556"/>
                </a:lnTo>
                <a:lnTo>
                  <a:pt x="164" y="549"/>
                </a:lnTo>
                <a:lnTo>
                  <a:pt x="142" y="544"/>
                </a:lnTo>
                <a:lnTo>
                  <a:pt x="121" y="537"/>
                </a:lnTo>
                <a:lnTo>
                  <a:pt x="99" y="543"/>
                </a:lnTo>
                <a:lnTo>
                  <a:pt x="82" y="544"/>
                </a:lnTo>
                <a:lnTo>
                  <a:pt x="76" y="543"/>
                </a:lnTo>
                <a:lnTo>
                  <a:pt x="70" y="543"/>
                </a:lnTo>
                <a:lnTo>
                  <a:pt x="65" y="540"/>
                </a:lnTo>
                <a:lnTo>
                  <a:pt x="60" y="537"/>
                </a:lnTo>
                <a:lnTo>
                  <a:pt x="57" y="535"/>
                </a:lnTo>
                <a:lnTo>
                  <a:pt x="54" y="530"/>
                </a:lnTo>
                <a:lnTo>
                  <a:pt x="51" y="526"/>
                </a:lnTo>
                <a:lnTo>
                  <a:pt x="50" y="519"/>
                </a:lnTo>
                <a:lnTo>
                  <a:pt x="46" y="506"/>
                </a:lnTo>
                <a:lnTo>
                  <a:pt x="43" y="489"/>
                </a:lnTo>
                <a:lnTo>
                  <a:pt x="24" y="468"/>
                </a:lnTo>
                <a:lnTo>
                  <a:pt x="7" y="451"/>
                </a:lnTo>
                <a:lnTo>
                  <a:pt x="4" y="448"/>
                </a:lnTo>
                <a:lnTo>
                  <a:pt x="3" y="442"/>
                </a:lnTo>
                <a:lnTo>
                  <a:pt x="0" y="438"/>
                </a:lnTo>
                <a:lnTo>
                  <a:pt x="0" y="433"/>
                </a:lnTo>
                <a:lnTo>
                  <a:pt x="0" y="427"/>
                </a:lnTo>
                <a:lnTo>
                  <a:pt x="2" y="420"/>
                </a:lnTo>
                <a:lnTo>
                  <a:pt x="4" y="414"/>
                </a:lnTo>
                <a:lnTo>
                  <a:pt x="7" y="405"/>
                </a:lnTo>
                <a:lnTo>
                  <a:pt x="39" y="403"/>
                </a:lnTo>
                <a:lnTo>
                  <a:pt x="70" y="403"/>
                </a:lnTo>
                <a:lnTo>
                  <a:pt x="103" y="403"/>
                </a:lnTo>
                <a:lnTo>
                  <a:pt x="136" y="403"/>
                </a:lnTo>
                <a:lnTo>
                  <a:pt x="176" y="368"/>
                </a:lnTo>
                <a:lnTo>
                  <a:pt x="215" y="337"/>
                </a:lnTo>
                <a:lnTo>
                  <a:pt x="236" y="323"/>
                </a:lnTo>
                <a:lnTo>
                  <a:pt x="257" y="308"/>
                </a:lnTo>
                <a:lnTo>
                  <a:pt x="280" y="297"/>
                </a:lnTo>
                <a:lnTo>
                  <a:pt x="303" y="286"/>
                </a:lnTo>
                <a:lnTo>
                  <a:pt x="306" y="278"/>
                </a:lnTo>
                <a:lnTo>
                  <a:pt x="309" y="272"/>
                </a:lnTo>
                <a:lnTo>
                  <a:pt x="331" y="265"/>
                </a:lnTo>
                <a:lnTo>
                  <a:pt x="353" y="258"/>
                </a:lnTo>
                <a:lnTo>
                  <a:pt x="374" y="251"/>
                </a:lnTo>
                <a:lnTo>
                  <a:pt x="396" y="246"/>
                </a:lnTo>
                <a:lnTo>
                  <a:pt x="415" y="219"/>
                </a:lnTo>
                <a:lnTo>
                  <a:pt x="435" y="193"/>
                </a:lnTo>
                <a:lnTo>
                  <a:pt x="445" y="180"/>
                </a:lnTo>
                <a:lnTo>
                  <a:pt x="454" y="167"/>
                </a:lnTo>
                <a:lnTo>
                  <a:pt x="463" y="152"/>
                </a:lnTo>
                <a:lnTo>
                  <a:pt x="471" y="138"/>
                </a:lnTo>
                <a:lnTo>
                  <a:pt x="500" y="129"/>
                </a:lnTo>
                <a:lnTo>
                  <a:pt x="526" y="120"/>
                </a:lnTo>
                <a:lnTo>
                  <a:pt x="536" y="115"/>
                </a:lnTo>
                <a:lnTo>
                  <a:pt x="547" y="108"/>
                </a:lnTo>
                <a:lnTo>
                  <a:pt x="557" y="102"/>
                </a:lnTo>
                <a:lnTo>
                  <a:pt x="566" y="95"/>
                </a:lnTo>
                <a:lnTo>
                  <a:pt x="574" y="87"/>
                </a:lnTo>
                <a:lnTo>
                  <a:pt x="583" y="78"/>
                </a:lnTo>
                <a:lnTo>
                  <a:pt x="590" y="69"/>
                </a:lnTo>
                <a:lnTo>
                  <a:pt x="597" y="59"/>
                </a:lnTo>
                <a:lnTo>
                  <a:pt x="610" y="35"/>
                </a:lnTo>
                <a:lnTo>
                  <a:pt x="622" y="7"/>
                </a:lnTo>
                <a:lnTo>
                  <a:pt x="631" y="3"/>
                </a:lnTo>
                <a:lnTo>
                  <a:pt x="636" y="0"/>
                </a:lnTo>
                <a:lnTo>
                  <a:pt x="644" y="0"/>
                </a:lnTo>
                <a:lnTo>
                  <a:pt x="657" y="1"/>
                </a:lnTo>
                <a:lnTo>
                  <a:pt x="664" y="13"/>
                </a:lnTo>
                <a:lnTo>
                  <a:pt x="669" y="23"/>
                </a:lnTo>
                <a:lnTo>
                  <a:pt x="673" y="35"/>
                </a:lnTo>
                <a:lnTo>
                  <a:pt x="677" y="46"/>
                </a:lnTo>
                <a:lnTo>
                  <a:pt x="682" y="68"/>
                </a:lnTo>
                <a:lnTo>
                  <a:pt x="687" y="89"/>
                </a:lnTo>
                <a:lnTo>
                  <a:pt x="694" y="109"/>
                </a:lnTo>
                <a:lnTo>
                  <a:pt x="701" y="130"/>
                </a:lnTo>
                <a:lnTo>
                  <a:pt x="708" y="142"/>
                </a:lnTo>
                <a:lnTo>
                  <a:pt x="716" y="152"/>
                </a:lnTo>
                <a:lnTo>
                  <a:pt x="724" y="163"/>
                </a:lnTo>
                <a:lnTo>
                  <a:pt x="734" y="174"/>
                </a:lnTo>
                <a:lnTo>
                  <a:pt x="734" y="190"/>
                </a:lnTo>
                <a:lnTo>
                  <a:pt x="734" y="207"/>
                </a:lnTo>
                <a:lnTo>
                  <a:pt x="733" y="223"/>
                </a:lnTo>
                <a:lnTo>
                  <a:pt x="730" y="237"/>
                </a:lnTo>
                <a:lnTo>
                  <a:pt x="725" y="267"/>
                </a:lnTo>
                <a:lnTo>
                  <a:pt x="722" y="294"/>
                </a:lnTo>
                <a:lnTo>
                  <a:pt x="722" y="308"/>
                </a:lnTo>
                <a:lnTo>
                  <a:pt x="724" y="321"/>
                </a:lnTo>
                <a:lnTo>
                  <a:pt x="726" y="334"/>
                </a:lnTo>
                <a:lnTo>
                  <a:pt x="730" y="347"/>
                </a:lnTo>
                <a:lnTo>
                  <a:pt x="737" y="360"/>
                </a:lnTo>
                <a:lnTo>
                  <a:pt x="746" y="372"/>
                </a:lnTo>
                <a:lnTo>
                  <a:pt x="757" y="385"/>
                </a:lnTo>
                <a:lnTo>
                  <a:pt x="773" y="397"/>
                </a:lnTo>
                <a:lnTo>
                  <a:pt x="778" y="424"/>
                </a:lnTo>
                <a:lnTo>
                  <a:pt x="785" y="453"/>
                </a:lnTo>
                <a:lnTo>
                  <a:pt x="793" y="480"/>
                </a:lnTo>
                <a:lnTo>
                  <a:pt x="799" y="509"/>
                </a:lnTo>
                <a:lnTo>
                  <a:pt x="794" y="544"/>
                </a:lnTo>
                <a:lnTo>
                  <a:pt x="785" y="578"/>
                </a:lnTo>
                <a:lnTo>
                  <a:pt x="781" y="596"/>
                </a:lnTo>
                <a:lnTo>
                  <a:pt x="777" y="613"/>
                </a:lnTo>
                <a:lnTo>
                  <a:pt x="774" y="630"/>
                </a:lnTo>
                <a:lnTo>
                  <a:pt x="773" y="645"/>
                </a:lnTo>
                <a:lnTo>
                  <a:pt x="772" y="662"/>
                </a:lnTo>
                <a:lnTo>
                  <a:pt x="774" y="678"/>
                </a:lnTo>
                <a:lnTo>
                  <a:pt x="777" y="693"/>
                </a:lnTo>
                <a:lnTo>
                  <a:pt x="783" y="708"/>
                </a:lnTo>
                <a:lnTo>
                  <a:pt x="787" y="714"/>
                </a:lnTo>
                <a:lnTo>
                  <a:pt x="793" y="722"/>
                </a:lnTo>
                <a:lnTo>
                  <a:pt x="798" y="729"/>
                </a:lnTo>
                <a:lnTo>
                  <a:pt x="804" y="735"/>
                </a:lnTo>
                <a:lnTo>
                  <a:pt x="811" y="742"/>
                </a:lnTo>
                <a:lnTo>
                  <a:pt x="819" y="748"/>
                </a:lnTo>
                <a:lnTo>
                  <a:pt x="828" y="755"/>
                </a:lnTo>
                <a:lnTo>
                  <a:pt x="838" y="761"/>
                </a:lnTo>
                <a:lnTo>
                  <a:pt x="845" y="751"/>
                </a:lnTo>
                <a:lnTo>
                  <a:pt x="852" y="740"/>
                </a:lnTo>
                <a:lnTo>
                  <a:pt x="860" y="731"/>
                </a:lnTo>
                <a:lnTo>
                  <a:pt x="867" y="721"/>
                </a:lnTo>
                <a:lnTo>
                  <a:pt x="880" y="718"/>
                </a:lnTo>
                <a:lnTo>
                  <a:pt x="894" y="718"/>
                </a:lnTo>
                <a:lnTo>
                  <a:pt x="898" y="736"/>
                </a:lnTo>
                <a:lnTo>
                  <a:pt x="903" y="755"/>
                </a:lnTo>
                <a:lnTo>
                  <a:pt x="907" y="773"/>
                </a:lnTo>
                <a:lnTo>
                  <a:pt x="914" y="791"/>
                </a:lnTo>
                <a:lnTo>
                  <a:pt x="897" y="795"/>
                </a:lnTo>
                <a:lnTo>
                  <a:pt x="880" y="798"/>
                </a:lnTo>
                <a:lnTo>
                  <a:pt x="864" y="800"/>
                </a:lnTo>
                <a:lnTo>
                  <a:pt x="847" y="803"/>
                </a:lnTo>
                <a:lnTo>
                  <a:pt x="848" y="816"/>
                </a:lnTo>
                <a:lnTo>
                  <a:pt x="851" y="829"/>
                </a:lnTo>
                <a:lnTo>
                  <a:pt x="852" y="842"/>
                </a:lnTo>
                <a:lnTo>
                  <a:pt x="854" y="855"/>
                </a:lnTo>
                <a:lnTo>
                  <a:pt x="869" y="864"/>
                </a:lnTo>
                <a:lnTo>
                  <a:pt x="886" y="874"/>
                </a:lnTo>
                <a:lnTo>
                  <a:pt x="872" y="911"/>
                </a:lnTo>
                <a:lnTo>
                  <a:pt x="860" y="945"/>
                </a:lnTo>
                <a:lnTo>
                  <a:pt x="856" y="961"/>
                </a:lnTo>
                <a:lnTo>
                  <a:pt x="854" y="978"/>
                </a:lnTo>
                <a:lnTo>
                  <a:pt x="852" y="998"/>
                </a:lnTo>
                <a:lnTo>
                  <a:pt x="854" y="1019"/>
                </a:lnTo>
                <a:lnTo>
                  <a:pt x="865" y="1020"/>
                </a:lnTo>
                <a:lnTo>
                  <a:pt x="877" y="1023"/>
                </a:lnTo>
                <a:lnTo>
                  <a:pt x="887" y="1025"/>
                </a:lnTo>
                <a:lnTo>
                  <a:pt x="899" y="1028"/>
                </a:lnTo>
                <a:lnTo>
                  <a:pt x="904" y="1039"/>
                </a:lnTo>
                <a:lnTo>
                  <a:pt x="908" y="1051"/>
                </a:lnTo>
                <a:lnTo>
                  <a:pt x="912" y="1063"/>
                </a:lnTo>
                <a:lnTo>
                  <a:pt x="917" y="1075"/>
                </a:lnTo>
                <a:lnTo>
                  <a:pt x="924" y="1077"/>
                </a:lnTo>
                <a:lnTo>
                  <a:pt x="930" y="1079"/>
                </a:lnTo>
                <a:lnTo>
                  <a:pt x="937" y="1080"/>
                </a:lnTo>
                <a:lnTo>
                  <a:pt x="942" y="1080"/>
                </a:lnTo>
                <a:lnTo>
                  <a:pt x="954" y="1079"/>
                </a:lnTo>
                <a:lnTo>
                  <a:pt x="966" y="1075"/>
                </a:lnTo>
                <a:lnTo>
                  <a:pt x="977" y="1071"/>
                </a:lnTo>
                <a:lnTo>
                  <a:pt x="989" y="1067"/>
                </a:lnTo>
                <a:lnTo>
                  <a:pt x="1002" y="1063"/>
                </a:lnTo>
                <a:lnTo>
                  <a:pt x="1015" y="1060"/>
                </a:lnTo>
                <a:lnTo>
                  <a:pt x="1021" y="1077"/>
                </a:lnTo>
                <a:lnTo>
                  <a:pt x="1029" y="1092"/>
                </a:lnTo>
                <a:lnTo>
                  <a:pt x="1038" y="1106"/>
                </a:lnTo>
                <a:lnTo>
                  <a:pt x="1050" y="1118"/>
                </a:lnTo>
                <a:lnTo>
                  <a:pt x="1057" y="1123"/>
                </a:lnTo>
                <a:lnTo>
                  <a:pt x="1063" y="1128"/>
                </a:lnTo>
                <a:lnTo>
                  <a:pt x="1071" y="1132"/>
                </a:lnTo>
                <a:lnTo>
                  <a:pt x="1079" y="1136"/>
                </a:lnTo>
                <a:lnTo>
                  <a:pt x="1087" y="1138"/>
                </a:lnTo>
                <a:lnTo>
                  <a:pt x="1096" y="1140"/>
                </a:lnTo>
                <a:lnTo>
                  <a:pt x="1103" y="1141"/>
                </a:lnTo>
                <a:lnTo>
                  <a:pt x="1113" y="1141"/>
                </a:lnTo>
                <a:lnTo>
                  <a:pt x="1122" y="1132"/>
                </a:lnTo>
                <a:lnTo>
                  <a:pt x="1129" y="1121"/>
                </a:lnTo>
                <a:lnTo>
                  <a:pt x="1136" y="1110"/>
                </a:lnTo>
                <a:lnTo>
                  <a:pt x="1141" y="1098"/>
                </a:lnTo>
                <a:lnTo>
                  <a:pt x="1152" y="1075"/>
                </a:lnTo>
                <a:lnTo>
                  <a:pt x="1161" y="1050"/>
                </a:lnTo>
                <a:lnTo>
                  <a:pt x="1179" y="1051"/>
                </a:lnTo>
                <a:lnTo>
                  <a:pt x="1196" y="1053"/>
                </a:lnTo>
                <a:lnTo>
                  <a:pt x="1214" y="1054"/>
                </a:lnTo>
                <a:lnTo>
                  <a:pt x="1232" y="1056"/>
                </a:lnTo>
                <a:lnTo>
                  <a:pt x="1235" y="1054"/>
                </a:lnTo>
                <a:lnTo>
                  <a:pt x="1237" y="1050"/>
                </a:lnTo>
                <a:lnTo>
                  <a:pt x="1240" y="1047"/>
                </a:lnTo>
                <a:lnTo>
                  <a:pt x="1244" y="1046"/>
                </a:lnTo>
                <a:lnTo>
                  <a:pt x="1252" y="1042"/>
                </a:lnTo>
                <a:lnTo>
                  <a:pt x="1262" y="1041"/>
                </a:lnTo>
                <a:lnTo>
                  <a:pt x="1274" y="1041"/>
                </a:lnTo>
                <a:lnTo>
                  <a:pt x="1286" y="1042"/>
                </a:lnTo>
                <a:lnTo>
                  <a:pt x="1299" y="1043"/>
                </a:lnTo>
                <a:lnTo>
                  <a:pt x="1312" y="1047"/>
                </a:lnTo>
                <a:lnTo>
                  <a:pt x="1338" y="1054"/>
                </a:lnTo>
                <a:lnTo>
                  <a:pt x="1364" y="1063"/>
                </a:lnTo>
                <a:lnTo>
                  <a:pt x="1384" y="1071"/>
                </a:lnTo>
                <a:lnTo>
                  <a:pt x="1400" y="1079"/>
                </a:lnTo>
                <a:lnTo>
                  <a:pt x="1405" y="1092"/>
                </a:lnTo>
                <a:lnTo>
                  <a:pt x="1408" y="1101"/>
                </a:lnTo>
                <a:lnTo>
                  <a:pt x="1408" y="1112"/>
                </a:lnTo>
                <a:lnTo>
                  <a:pt x="1408" y="1132"/>
                </a:lnTo>
                <a:lnTo>
                  <a:pt x="1392" y="1138"/>
                </a:lnTo>
                <a:lnTo>
                  <a:pt x="1377" y="1144"/>
                </a:lnTo>
                <a:lnTo>
                  <a:pt x="1362" y="1150"/>
                </a:lnTo>
                <a:lnTo>
                  <a:pt x="1348" y="1157"/>
                </a:lnTo>
                <a:lnTo>
                  <a:pt x="1351" y="1184"/>
                </a:lnTo>
                <a:lnTo>
                  <a:pt x="1353" y="1211"/>
                </a:lnTo>
                <a:lnTo>
                  <a:pt x="1356" y="1240"/>
                </a:lnTo>
                <a:lnTo>
                  <a:pt x="1360" y="1267"/>
                </a:lnTo>
                <a:lnTo>
                  <a:pt x="1369" y="1271"/>
                </a:lnTo>
                <a:lnTo>
                  <a:pt x="1381" y="1276"/>
                </a:lnTo>
                <a:lnTo>
                  <a:pt x="1382" y="1285"/>
                </a:lnTo>
                <a:lnTo>
                  <a:pt x="1381" y="1294"/>
                </a:lnTo>
                <a:lnTo>
                  <a:pt x="1378" y="1306"/>
                </a:lnTo>
                <a:lnTo>
                  <a:pt x="1370" y="1326"/>
                </a:lnTo>
                <a:lnTo>
                  <a:pt x="1386" y="1341"/>
                </a:lnTo>
                <a:lnTo>
                  <a:pt x="1403" y="1361"/>
                </a:lnTo>
                <a:lnTo>
                  <a:pt x="1421" y="1380"/>
                </a:lnTo>
                <a:lnTo>
                  <a:pt x="1438" y="1402"/>
                </a:lnTo>
                <a:lnTo>
                  <a:pt x="1455" y="1426"/>
                </a:lnTo>
                <a:lnTo>
                  <a:pt x="1469" y="1448"/>
                </a:lnTo>
                <a:lnTo>
                  <a:pt x="1474" y="1460"/>
                </a:lnTo>
                <a:lnTo>
                  <a:pt x="1479" y="1470"/>
                </a:lnTo>
                <a:lnTo>
                  <a:pt x="1483" y="1481"/>
                </a:lnTo>
                <a:lnTo>
                  <a:pt x="1486" y="1490"/>
                </a:lnTo>
                <a:lnTo>
                  <a:pt x="1469" y="1518"/>
                </a:lnTo>
                <a:lnTo>
                  <a:pt x="1452" y="1547"/>
                </a:lnTo>
                <a:lnTo>
                  <a:pt x="1435" y="1577"/>
                </a:lnTo>
                <a:lnTo>
                  <a:pt x="1418" y="1605"/>
                </a:lnTo>
                <a:lnTo>
                  <a:pt x="1399" y="1609"/>
                </a:lnTo>
                <a:lnTo>
                  <a:pt x="1379" y="1614"/>
                </a:lnTo>
                <a:lnTo>
                  <a:pt x="1361" y="1618"/>
                </a:lnTo>
                <a:lnTo>
                  <a:pt x="1342" y="1625"/>
                </a:lnTo>
                <a:close/>
              </a:path>
            </a:pathLst>
          </a:custGeom>
          <a:solidFill>
            <a:srgbClr val="00FF00"/>
          </a:solidFill>
          <a:ln w="3175">
            <a:solidFill>
              <a:srgbClr val="3399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35" name="Freeform 100"/>
          <p:cNvSpPr>
            <a:spLocks/>
          </p:cNvSpPr>
          <p:nvPr/>
        </p:nvSpPr>
        <p:spPr bwMode="auto">
          <a:xfrm>
            <a:off x="8340725" y="3001963"/>
            <a:ext cx="400050" cy="796925"/>
          </a:xfrm>
          <a:custGeom>
            <a:avLst/>
            <a:gdLst>
              <a:gd name="T0" fmla="*/ 2147483647 w 1008"/>
              <a:gd name="T1" fmla="*/ 2147483647 h 2010"/>
              <a:gd name="T2" fmla="*/ 2147483647 w 1008"/>
              <a:gd name="T3" fmla="*/ 2147483647 h 2010"/>
              <a:gd name="T4" fmla="*/ 2147483647 w 1008"/>
              <a:gd name="T5" fmla="*/ 2147483647 h 2010"/>
              <a:gd name="T6" fmla="*/ 2147483647 w 1008"/>
              <a:gd name="T7" fmla="*/ 2147483647 h 2010"/>
              <a:gd name="T8" fmla="*/ 2147483647 w 1008"/>
              <a:gd name="T9" fmla="*/ 2147483647 h 2010"/>
              <a:gd name="T10" fmla="*/ 2147483647 w 1008"/>
              <a:gd name="T11" fmla="*/ 2147483647 h 2010"/>
              <a:gd name="T12" fmla="*/ 2147483647 w 1008"/>
              <a:gd name="T13" fmla="*/ 2147483647 h 2010"/>
              <a:gd name="T14" fmla="*/ 2147483647 w 1008"/>
              <a:gd name="T15" fmla="*/ 2147483647 h 2010"/>
              <a:gd name="T16" fmla="*/ 2147483647 w 1008"/>
              <a:gd name="T17" fmla="*/ 2147483647 h 2010"/>
              <a:gd name="T18" fmla="*/ 2147483647 w 1008"/>
              <a:gd name="T19" fmla="*/ 2147483647 h 2010"/>
              <a:gd name="T20" fmla="*/ 2147483647 w 1008"/>
              <a:gd name="T21" fmla="*/ 2147483647 h 2010"/>
              <a:gd name="T22" fmla="*/ 2147483647 w 1008"/>
              <a:gd name="T23" fmla="*/ 2147483647 h 2010"/>
              <a:gd name="T24" fmla="*/ 2147483647 w 1008"/>
              <a:gd name="T25" fmla="*/ 2147483647 h 2010"/>
              <a:gd name="T26" fmla="*/ 2147483647 w 1008"/>
              <a:gd name="T27" fmla="*/ 2147483647 h 2010"/>
              <a:gd name="T28" fmla="*/ 2147483647 w 1008"/>
              <a:gd name="T29" fmla="*/ 2147483647 h 2010"/>
              <a:gd name="T30" fmla="*/ 2147483647 w 1008"/>
              <a:gd name="T31" fmla="*/ 2147483647 h 2010"/>
              <a:gd name="T32" fmla="*/ 2147483647 w 1008"/>
              <a:gd name="T33" fmla="*/ 2147483647 h 2010"/>
              <a:gd name="T34" fmla="*/ 2147483647 w 1008"/>
              <a:gd name="T35" fmla="*/ 2147483647 h 2010"/>
              <a:gd name="T36" fmla="*/ 2147483647 w 1008"/>
              <a:gd name="T37" fmla="*/ 2147483647 h 2010"/>
              <a:gd name="T38" fmla="*/ 2147483647 w 1008"/>
              <a:gd name="T39" fmla="*/ 2147483647 h 2010"/>
              <a:gd name="T40" fmla="*/ 2147483647 w 1008"/>
              <a:gd name="T41" fmla="*/ 2147483647 h 2010"/>
              <a:gd name="T42" fmla="*/ 2147483647 w 1008"/>
              <a:gd name="T43" fmla="*/ 2147483647 h 2010"/>
              <a:gd name="T44" fmla="*/ 2147483647 w 1008"/>
              <a:gd name="T45" fmla="*/ 2147483647 h 2010"/>
              <a:gd name="T46" fmla="*/ 2147483647 w 1008"/>
              <a:gd name="T47" fmla="*/ 2147483647 h 2010"/>
              <a:gd name="T48" fmla="*/ 2147483647 w 1008"/>
              <a:gd name="T49" fmla="*/ 2147483647 h 2010"/>
              <a:gd name="T50" fmla="*/ 2147483647 w 1008"/>
              <a:gd name="T51" fmla="*/ 2147483647 h 2010"/>
              <a:gd name="T52" fmla="*/ 2147483647 w 1008"/>
              <a:gd name="T53" fmla="*/ 2147483647 h 2010"/>
              <a:gd name="T54" fmla="*/ 2147483647 w 1008"/>
              <a:gd name="T55" fmla="*/ 2147483647 h 2010"/>
              <a:gd name="T56" fmla="*/ 2147483647 w 1008"/>
              <a:gd name="T57" fmla="*/ 2147483647 h 2010"/>
              <a:gd name="T58" fmla="*/ 2147483647 w 1008"/>
              <a:gd name="T59" fmla="*/ 2147483647 h 2010"/>
              <a:gd name="T60" fmla="*/ 2147483647 w 1008"/>
              <a:gd name="T61" fmla="*/ 2147483647 h 2010"/>
              <a:gd name="T62" fmla="*/ 2147483647 w 1008"/>
              <a:gd name="T63" fmla="*/ 2147483647 h 2010"/>
              <a:gd name="T64" fmla="*/ 2147483647 w 1008"/>
              <a:gd name="T65" fmla="*/ 2147483647 h 2010"/>
              <a:gd name="T66" fmla="*/ 2147483647 w 1008"/>
              <a:gd name="T67" fmla="*/ 2147483647 h 2010"/>
              <a:gd name="T68" fmla="*/ 2147483647 w 1008"/>
              <a:gd name="T69" fmla="*/ 2147483647 h 2010"/>
              <a:gd name="T70" fmla="*/ 2147483647 w 1008"/>
              <a:gd name="T71" fmla="*/ 2147483647 h 2010"/>
              <a:gd name="T72" fmla="*/ 2147483647 w 1008"/>
              <a:gd name="T73" fmla="*/ 2147483647 h 2010"/>
              <a:gd name="T74" fmla="*/ 2147483647 w 1008"/>
              <a:gd name="T75" fmla="*/ 2147483647 h 2010"/>
              <a:gd name="T76" fmla="*/ 2147483647 w 1008"/>
              <a:gd name="T77" fmla="*/ 2147483647 h 2010"/>
              <a:gd name="T78" fmla="*/ 2147483647 w 1008"/>
              <a:gd name="T79" fmla="*/ 2147483647 h 2010"/>
              <a:gd name="T80" fmla="*/ 2147483647 w 1008"/>
              <a:gd name="T81" fmla="*/ 2147483647 h 2010"/>
              <a:gd name="T82" fmla="*/ 2147483647 w 1008"/>
              <a:gd name="T83" fmla="*/ 2147483647 h 2010"/>
              <a:gd name="T84" fmla="*/ 2147483647 w 1008"/>
              <a:gd name="T85" fmla="*/ 2147483647 h 2010"/>
              <a:gd name="T86" fmla="*/ 2147483647 w 1008"/>
              <a:gd name="T87" fmla="*/ 2147483647 h 2010"/>
              <a:gd name="T88" fmla="*/ 2147483647 w 1008"/>
              <a:gd name="T89" fmla="*/ 2147483647 h 2010"/>
              <a:gd name="T90" fmla="*/ 2147483647 w 1008"/>
              <a:gd name="T91" fmla="*/ 2147483647 h 2010"/>
              <a:gd name="T92" fmla="*/ 2147483647 w 1008"/>
              <a:gd name="T93" fmla="*/ 2147483647 h 2010"/>
              <a:gd name="T94" fmla="*/ 2147483647 w 1008"/>
              <a:gd name="T95" fmla="*/ 2147483647 h 2010"/>
              <a:gd name="T96" fmla="*/ 2147483647 w 1008"/>
              <a:gd name="T97" fmla="*/ 2147483647 h 2010"/>
              <a:gd name="T98" fmla="*/ 2147483647 w 1008"/>
              <a:gd name="T99" fmla="*/ 2147483647 h 2010"/>
              <a:gd name="T100" fmla="*/ 2147483647 w 1008"/>
              <a:gd name="T101" fmla="*/ 2147483647 h 2010"/>
              <a:gd name="T102" fmla="*/ 2147483647 w 1008"/>
              <a:gd name="T103" fmla="*/ 2147483647 h 2010"/>
              <a:gd name="T104" fmla="*/ 2147483647 w 1008"/>
              <a:gd name="T105" fmla="*/ 2147483647 h 201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008"/>
              <a:gd name="T160" fmla="*/ 0 h 2010"/>
              <a:gd name="T161" fmla="*/ 1008 w 1008"/>
              <a:gd name="T162" fmla="*/ 2010 h 201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008" h="2010">
                <a:moveTo>
                  <a:pt x="909" y="2010"/>
                </a:moveTo>
                <a:lnTo>
                  <a:pt x="899" y="1993"/>
                </a:lnTo>
                <a:lnTo>
                  <a:pt x="887" y="1980"/>
                </a:lnTo>
                <a:lnTo>
                  <a:pt x="874" y="1968"/>
                </a:lnTo>
                <a:lnTo>
                  <a:pt x="860" y="1959"/>
                </a:lnTo>
                <a:lnTo>
                  <a:pt x="830" y="1943"/>
                </a:lnTo>
                <a:lnTo>
                  <a:pt x="793" y="1929"/>
                </a:lnTo>
                <a:lnTo>
                  <a:pt x="775" y="1899"/>
                </a:lnTo>
                <a:lnTo>
                  <a:pt x="755" y="1871"/>
                </a:lnTo>
                <a:lnTo>
                  <a:pt x="735" y="1843"/>
                </a:lnTo>
                <a:lnTo>
                  <a:pt x="715" y="1817"/>
                </a:lnTo>
                <a:lnTo>
                  <a:pt x="694" y="1791"/>
                </a:lnTo>
                <a:lnTo>
                  <a:pt x="672" y="1767"/>
                </a:lnTo>
                <a:lnTo>
                  <a:pt x="650" y="1742"/>
                </a:lnTo>
                <a:lnTo>
                  <a:pt x="628" y="1717"/>
                </a:lnTo>
                <a:lnTo>
                  <a:pt x="582" y="1672"/>
                </a:lnTo>
                <a:lnTo>
                  <a:pt x="534" y="1626"/>
                </a:lnTo>
                <a:lnTo>
                  <a:pt x="484" y="1581"/>
                </a:lnTo>
                <a:lnTo>
                  <a:pt x="432" y="1534"/>
                </a:lnTo>
                <a:lnTo>
                  <a:pt x="408" y="1502"/>
                </a:lnTo>
                <a:lnTo>
                  <a:pt x="385" y="1473"/>
                </a:lnTo>
                <a:lnTo>
                  <a:pt x="361" y="1441"/>
                </a:lnTo>
                <a:lnTo>
                  <a:pt x="338" y="1411"/>
                </a:lnTo>
                <a:lnTo>
                  <a:pt x="307" y="1389"/>
                </a:lnTo>
                <a:lnTo>
                  <a:pt x="277" y="1368"/>
                </a:lnTo>
                <a:lnTo>
                  <a:pt x="249" y="1346"/>
                </a:lnTo>
                <a:lnTo>
                  <a:pt x="225" y="1326"/>
                </a:lnTo>
                <a:lnTo>
                  <a:pt x="200" y="1303"/>
                </a:lnTo>
                <a:lnTo>
                  <a:pt x="178" y="1281"/>
                </a:lnTo>
                <a:lnTo>
                  <a:pt x="156" y="1258"/>
                </a:lnTo>
                <a:lnTo>
                  <a:pt x="136" y="1234"/>
                </a:lnTo>
                <a:lnTo>
                  <a:pt x="117" y="1210"/>
                </a:lnTo>
                <a:lnTo>
                  <a:pt x="98" y="1185"/>
                </a:lnTo>
                <a:lnTo>
                  <a:pt x="82" y="1159"/>
                </a:lnTo>
                <a:lnTo>
                  <a:pt x="65" y="1132"/>
                </a:lnTo>
                <a:lnTo>
                  <a:pt x="48" y="1103"/>
                </a:lnTo>
                <a:lnTo>
                  <a:pt x="32" y="1072"/>
                </a:lnTo>
                <a:lnTo>
                  <a:pt x="15" y="1041"/>
                </a:lnTo>
                <a:lnTo>
                  <a:pt x="0" y="1007"/>
                </a:lnTo>
                <a:lnTo>
                  <a:pt x="22" y="998"/>
                </a:lnTo>
                <a:lnTo>
                  <a:pt x="43" y="987"/>
                </a:lnTo>
                <a:lnTo>
                  <a:pt x="62" y="977"/>
                </a:lnTo>
                <a:lnTo>
                  <a:pt x="80" y="965"/>
                </a:lnTo>
                <a:lnTo>
                  <a:pt x="98" y="952"/>
                </a:lnTo>
                <a:lnTo>
                  <a:pt x="117" y="938"/>
                </a:lnTo>
                <a:lnTo>
                  <a:pt x="134" y="922"/>
                </a:lnTo>
                <a:lnTo>
                  <a:pt x="149" y="904"/>
                </a:lnTo>
                <a:lnTo>
                  <a:pt x="182" y="901"/>
                </a:lnTo>
                <a:lnTo>
                  <a:pt x="212" y="898"/>
                </a:lnTo>
                <a:lnTo>
                  <a:pt x="226" y="894"/>
                </a:lnTo>
                <a:lnTo>
                  <a:pt x="240" y="890"/>
                </a:lnTo>
                <a:lnTo>
                  <a:pt x="255" y="883"/>
                </a:lnTo>
                <a:lnTo>
                  <a:pt x="269" y="874"/>
                </a:lnTo>
                <a:lnTo>
                  <a:pt x="273" y="851"/>
                </a:lnTo>
                <a:lnTo>
                  <a:pt x="278" y="822"/>
                </a:lnTo>
                <a:lnTo>
                  <a:pt x="283" y="791"/>
                </a:lnTo>
                <a:lnTo>
                  <a:pt x="288" y="758"/>
                </a:lnTo>
                <a:lnTo>
                  <a:pt x="288" y="743"/>
                </a:lnTo>
                <a:lnTo>
                  <a:pt x="288" y="727"/>
                </a:lnTo>
                <a:lnTo>
                  <a:pt x="287" y="713"/>
                </a:lnTo>
                <a:lnTo>
                  <a:pt x="285" y="700"/>
                </a:lnTo>
                <a:lnTo>
                  <a:pt x="281" y="687"/>
                </a:lnTo>
                <a:lnTo>
                  <a:pt x="274" y="676"/>
                </a:lnTo>
                <a:lnTo>
                  <a:pt x="270" y="671"/>
                </a:lnTo>
                <a:lnTo>
                  <a:pt x="266" y="667"/>
                </a:lnTo>
                <a:lnTo>
                  <a:pt x="261" y="663"/>
                </a:lnTo>
                <a:lnTo>
                  <a:pt x="255" y="659"/>
                </a:lnTo>
                <a:lnTo>
                  <a:pt x="227" y="657"/>
                </a:lnTo>
                <a:lnTo>
                  <a:pt x="201" y="653"/>
                </a:lnTo>
                <a:lnTo>
                  <a:pt x="174" y="650"/>
                </a:lnTo>
                <a:lnTo>
                  <a:pt x="148" y="648"/>
                </a:lnTo>
                <a:lnTo>
                  <a:pt x="138" y="635"/>
                </a:lnTo>
                <a:lnTo>
                  <a:pt x="128" y="624"/>
                </a:lnTo>
                <a:lnTo>
                  <a:pt x="122" y="614"/>
                </a:lnTo>
                <a:lnTo>
                  <a:pt x="117" y="605"/>
                </a:lnTo>
                <a:lnTo>
                  <a:pt x="113" y="594"/>
                </a:lnTo>
                <a:lnTo>
                  <a:pt x="111" y="583"/>
                </a:lnTo>
                <a:lnTo>
                  <a:pt x="111" y="570"/>
                </a:lnTo>
                <a:lnTo>
                  <a:pt x="113" y="554"/>
                </a:lnTo>
                <a:lnTo>
                  <a:pt x="148" y="550"/>
                </a:lnTo>
                <a:lnTo>
                  <a:pt x="183" y="548"/>
                </a:lnTo>
                <a:lnTo>
                  <a:pt x="219" y="545"/>
                </a:lnTo>
                <a:lnTo>
                  <a:pt x="255" y="544"/>
                </a:lnTo>
                <a:lnTo>
                  <a:pt x="282" y="519"/>
                </a:lnTo>
                <a:lnTo>
                  <a:pt x="300" y="501"/>
                </a:lnTo>
                <a:lnTo>
                  <a:pt x="320" y="480"/>
                </a:lnTo>
                <a:lnTo>
                  <a:pt x="350" y="446"/>
                </a:lnTo>
                <a:lnTo>
                  <a:pt x="351" y="416"/>
                </a:lnTo>
                <a:lnTo>
                  <a:pt x="353" y="382"/>
                </a:lnTo>
                <a:lnTo>
                  <a:pt x="355" y="346"/>
                </a:lnTo>
                <a:lnTo>
                  <a:pt x="356" y="308"/>
                </a:lnTo>
                <a:lnTo>
                  <a:pt x="356" y="290"/>
                </a:lnTo>
                <a:lnTo>
                  <a:pt x="356" y="272"/>
                </a:lnTo>
                <a:lnTo>
                  <a:pt x="355" y="254"/>
                </a:lnTo>
                <a:lnTo>
                  <a:pt x="352" y="237"/>
                </a:lnTo>
                <a:lnTo>
                  <a:pt x="350" y="221"/>
                </a:lnTo>
                <a:lnTo>
                  <a:pt x="346" y="205"/>
                </a:lnTo>
                <a:lnTo>
                  <a:pt x="340" y="192"/>
                </a:lnTo>
                <a:lnTo>
                  <a:pt x="334" y="181"/>
                </a:lnTo>
                <a:lnTo>
                  <a:pt x="334" y="165"/>
                </a:lnTo>
                <a:lnTo>
                  <a:pt x="334" y="150"/>
                </a:lnTo>
                <a:lnTo>
                  <a:pt x="335" y="134"/>
                </a:lnTo>
                <a:lnTo>
                  <a:pt x="337" y="118"/>
                </a:lnTo>
                <a:lnTo>
                  <a:pt x="376" y="113"/>
                </a:lnTo>
                <a:lnTo>
                  <a:pt x="412" y="109"/>
                </a:lnTo>
                <a:lnTo>
                  <a:pt x="447" y="108"/>
                </a:lnTo>
                <a:lnTo>
                  <a:pt x="486" y="108"/>
                </a:lnTo>
                <a:lnTo>
                  <a:pt x="502" y="91"/>
                </a:lnTo>
                <a:lnTo>
                  <a:pt x="519" y="73"/>
                </a:lnTo>
                <a:lnTo>
                  <a:pt x="537" y="55"/>
                </a:lnTo>
                <a:lnTo>
                  <a:pt x="556" y="38"/>
                </a:lnTo>
                <a:lnTo>
                  <a:pt x="566" y="30"/>
                </a:lnTo>
                <a:lnTo>
                  <a:pt x="576" y="22"/>
                </a:lnTo>
                <a:lnTo>
                  <a:pt x="586" y="16"/>
                </a:lnTo>
                <a:lnTo>
                  <a:pt x="598" y="10"/>
                </a:lnTo>
                <a:lnTo>
                  <a:pt x="608" y="6"/>
                </a:lnTo>
                <a:lnTo>
                  <a:pt x="620" y="3"/>
                </a:lnTo>
                <a:lnTo>
                  <a:pt x="631" y="0"/>
                </a:lnTo>
                <a:lnTo>
                  <a:pt x="642" y="0"/>
                </a:lnTo>
                <a:lnTo>
                  <a:pt x="672" y="38"/>
                </a:lnTo>
                <a:lnTo>
                  <a:pt x="705" y="82"/>
                </a:lnTo>
                <a:lnTo>
                  <a:pt x="713" y="91"/>
                </a:lnTo>
                <a:lnTo>
                  <a:pt x="722" y="101"/>
                </a:lnTo>
                <a:lnTo>
                  <a:pt x="731" y="109"/>
                </a:lnTo>
                <a:lnTo>
                  <a:pt x="740" y="116"/>
                </a:lnTo>
                <a:lnTo>
                  <a:pt x="749" y="121"/>
                </a:lnTo>
                <a:lnTo>
                  <a:pt x="759" y="125"/>
                </a:lnTo>
                <a:lnTo>
                  <a:pt x="770" y="126"/>
                </a:lnTo>
                <a:lnTo>
                  <a:pt x="780" y="125"/>
                </a:lnTo>
                <a:lnTo>
                  <a:pt x="787" y="110"/>
                </a:lnTo>
                <a:lnTo>
                  <a:pt x="792" y="101"/>
                </a:lnTo>
                <a:lnTo>
                  <a:pt x="797" y="97"/>
                </a:lnTo>
                <a:lnTo>
                  <a:pt x="805" y="94"/>
                </a:lnTo>
                <a:lnTo>
                  <a:pt x="815" y="113"/>
                </a:lnTo>
                <a:lnTo>
                  <a:pt x="827" y="131"/>
                </a:lnTo>
                <a:lnTo>
                  <a:pt x="837" y="150"/>
                </a:lnTo>
                <a:lnTo>
                  <a:pt x="849" y="169"/>
                </a:lnTo>
                <a:lnTo>
                  <a:pt x="869" y="173"/>
                </a:lnTo>
                <a:lnTo>
                  <a:pt x="880" y="177"/>
                </a:lnTo>
                <a:lnTo>
                  <a:pt x="887" y="181"/>
                </a:lnTo>
                <a:lnTo>
                  <a:pt x="896" y="186"/>
                </a:lnTo>
                <a:lnTo>
                  <a:pt x="895" y="202"/>
                </a:lnTo>
                <a:lnTo>
                  <a:pt x="893" y="218"/>
                </a:lnTo>
                <a:lnTo>
                  <a:pt x="891" y="234"/>
                </a:lnTo>
                <a:lnTo>
                  <a:pt x="889" y="251"/>
                </a:lnTo>
                <a:lnTo>
                  <a:pt x="882" y="256"/>
                </a:lnTo>
                <a:lnTo>
                  <a:pt x="874" y="259"/>
                </a:lnTo>
                <a:lnTo>
                  <a:pt x="865" y="259"/>
                </a:lnTo>
                <a:lnTo>
                  <a:pt x="856" y="259"/>
                </a:lnTo>
                <a:lnTo>
                  <a:pt x="839" y="257"/>
                </a:lnTo>
                <a:lnTo>
                  <a:pt x="821" y="257"/>
                </a:lnTo>
                <a:lnTo>
                  <a:pt x="811" y="268"/>
                </a:lnTo>
                <a:lnTo>
                  <a:pt x="804" y="278"/>
                </a:lnTo>
                <a:lnTo>
                  <a:pt x="797" y="290"/>
                </a:lnTo>
                <a:lnTo>
                  <a:pt x="792" y="300"/>
                </a:lnTo>
                <a:lnTo>
                  <a:pt x="787" y="313"/>
                </a:lnTo>
                <a:lnTo>
                  <a:pt x="784" y="326"/>
                </a:lnTo>
                <a:lnTo>
                  <a:pt x="783" y="339"/>
                </a:lnTo>
                <a:lnTo>
                  <a:pt x="783" y="354"/>
                </a:lnTo>
                <a:lnTo>
                  <a:pt x="798" y="395"/>
                </a:lnTo>
                <a:lnTo>
                  <a:pt x="813" y="438"/>
                </a:lnTo>
                <a:lnTo>
                  <a:pt x="821" y="459"/>
                </a:lnTo>
                <a:lnTo>
                  <a:pt x="827" y="479"/>
                </a:lnTo>
                <a:lnTo>
                  <a:pt x="835" y="499"/>
                </a:lnTo>
                <a:lnTo>
                  <a:pt x="844" y="518"/>
                </a:lnTo>
                <a:lnTo>
                  <a:pt x="854" y="536"/>
                </a:lnTo>
                <a:lnTo>
                  <a:pt x="866" y="553"/>
                </a:lnTo>
                <a:lnTo>
                  <a:pt x="879" y="567"/>
                </a:lnTo>
                <a:lnTo>
                  <a:pt x="893" y="580"/>
                </a:lnTo>
                <a:lnTo>
                  <a:pt x="902" y="587"/>
                </a:lnTo>
                <a:lnTo>
                  <a:pt x="910" y="592"/>
                </a:lnTo>
                <a:lnTo>
                  <a:pt x="921" y="597"/>
                </a:lnTo>
                <a:lnTo>
                  <a:pt x="931" y="601"/>
                </a:lnTo>
                <a:lnTo>
                  <a:pt x="942" y="605"/>
                </a:lnTo>
                <a:lnTo>
                  <a:pt x="953" y="609"/>
                </a:lnTo>
                <a:lnTo>
                  <a:pt x="965" y="611"/>
                </a:lnTo>
                <a:lnTo>
                  <a:pt x="978" y="613"/>
                </a:lnTo>
                <a:lnTo>
                  <a:pt x="986" y="619"/>
                </a:lnTo>
                <a:lnTo>
                  <a:pt x="992" y="626"/>
                </a:lnTo>
                <a:lnTo>
                  <a:pt x="997" y="632"/>
                </a:lnTo>
                <a:lnTo>
                  <a:pt x="1000" y="640"/>
                </a:lnTo>
                <a:lnTo>
                  <a:pt x="1003" y="648"/>
                </a:lnTo>
                <a:lnTo>
                  <a:pt x="1004" y="656"/>
                </a:lnTo>
                <a:lnTo>
                  <a:pt x="1005" y="663"/>
                </a:lnTo>
                <a:lnTo>
                  <a:pt x="1004" y="672"/>
                </a:lnTo>
                <a:lnTo>
                  <a:pt x="1003" y="689"/>
                </a:lnTo>
                <a:lnTo>
                  <a:pt x="997" y="708"/>
                </a:lnTo>
                <a:lnTo>
                  <a:pt x="992" y="725"/>
                </a:lnTo>
                <a:lnTo>
                  <a:pt x="986" y="740"/>
                </a:lnTo>
                <a:lnTo>
                  <a:pt x="962" y="752"/>
                </a:lnTo>
                <a:lnTo>
                  <a:pt x="943" y="764"/>
                </a:lnTo>
                <a:lnTo>
                  <a:pt x="925" y="775"/>
                </a:lnTo>
                <a:lnTo>
                  <a:pt x="909" y="790"/>
                </a:lnTo>
                <a:lnTo>
                  <a:pt x="896" y="803"/>
                </a:lnTo>
                <a:lnTo>
                  <a:pt x="884" y="818"/>
                </a:lnTo>
                <a:lnTo>
                  <a:pt x="875" y="832"/>
                </a:lnTo>
                <a:lnTo>
                  <a:pt x="867" y="849"/>
                </a:lnTo>
                <a:lnTo>
                  <a:pt x="862" y="866"/>
                </a:lnTo>
                <a:lnTo>
                  <a:pt x="857" y="885"/>
                </a:lnTo>
                <a:lnTo>
                  <a:pt x="853" y="904"/>
                </a:lnTo>
                <a:lnTo>
                  <a:pt x="850" y="925"/>
                </a:lnTo>
                <a:lnTo>
                  <a:pt x="848" y="970"/>
                </a:lnTo>
                <a:lnTo>
                  <a:pt x="848" y="1021"/>
                </a:lnTo>
                <a:lnTo>
                  <a:pt x="860" y="1043"/>
                </a:lnTo>
                <a:lnTo>
                  <a:pt x="871" y="1065"/>
                </a:lnTo>
                <a:lnTo>
                  <a:pt x="883" y="1089"/>
                </a:lnTo>
                <a:lnTo>
                  <a:pt x="896" y="1111"/>
                </a:lnTo>
                <a:lnTo>
                  <a:pt x="914" y="1123"/>
                </a:lnTo>
                <a:lnTo>
                  <a:pt x="931" y="1136"/>
                </a:lnTo>
                <a:lnTo>
                  <a:pt x="958" y="1158"/>
                </a:lnTo>
                <a:lnTo>
                  <a:pt x="1008" y="1199"/>
                </a:lnTo>
                <a:lnTo>
                  <a:pt x="990" y="1202"/>
                </a:lnTo>
                <a:lnTo>
                  <a:pt x="974" y="1206"/>
                </a:lnTo>
                <a:lnTo>
                  <a:pt x="961" y="1211"/>
                </a:lnTo>
                <a:lnTo>
                  <a:pt x="948" y="1219"/>
                </a:lnTo>
                <a:lnTo>
                  <a:pt x="938" y="1227"/>
                </a:lnTo>
                <a:lnTo>
                  <a:pt x="929" y="1236"/>
                </a:lnTo>
                <a:lnTo>
                  <a:pt x="919" y="1245"/>
                </a:lnTo>
                <a:lnTo>
                  <a:pt x="913" y="1257"/>
                </a:lnTo>
                <a:lnTo>
                  <a:pt x="905" y="1268"/>
                </a:lnTo>
                <a:lnTo>
                  <a:pt x="900" y="1281"/>
                </a:lnTo>
                <a:lnTo>
                  <a:pt x="893" y="1294"/>
                </a:lnTo>
                <a:lnTo>
                  <a:pt x="888" y="1309"/>
                </a:lnTo>
                <a:lnTo>
                  <a:pt x="876" y="1337"/>
                </a:lnTo>
                <a:lnTo>
                  <a:pt x="865" y="1368"/>
                </a:lnTo>
                <a:lnTo>
                  <a:pt x="852" y="1370"/>
                </a:lnTo>
                <a:lnTo>
                  <a:pt x="840" y="1370"/>
                </a:lnTo>
                <a:lnTo>
                  <a:pt x="828" y="1371"/>
                </a:lnTo>
                <a:lnTo>
                  <a:pt x="817" y="1372"/>
                </a:lnTo>
                <a:lnTo>
                  <a:pt x="814" y="1385"/>
                </a:lnTo>
                <a:lnTo>
                  <a:pt x="813" y="1400"/>
                </a:lnTo>
                <a:lnTo>
                  <a:pt x="828" y="1404"/>
                </a:lnTo>
                <a:lnTo>
                  <a:pt x="845" y="1409"/>
                </a:lnTo>
                <a:lnTo>
                  <a:pt x="861" y="1414"/>
                </a:lnTo>
                <a:lnTo>
                  <a:pt x="876" y="1419"/>
                </a:lnTo>
                <a:lnTo>
                  <a:pt x="889" y="1456"/>
                </a:lnTo>
                <a:lnTo>
                  <a:pt x="897" y="1478"/>
                </a:lnTo>
                <a:lnTo>
                  <a:pt x="904" y="1491"/>
                </a:lnTo>
                <a:lnTo>
                  <a:pt x="913" y="1504"/>
                </a:lnTo>
                <a:lnTo>
                  <a:pt x="919" y="1508"/>
                </a:lnTo>
                <a:lnTo>
                  <a:pt x="925" y="1514"/>
                </a:lnTo>
                <a:lnTo>
                  <a:pt x="930" y="1519"/>
                </a:lnTo>
                <a:lnTo>
                  <a:pt x="935" y="1527"/>
                </a:lnTo>
                <a:lnTo>
                  <a:pt x="943" y="1543"/>
                </a:lnTo>
                <a:lnTo>
                  <a:pt x="949" y="1560"/>
                </a:lnTo>
                <a:lnTo>
                  <a:pt x="956" y="1579"/>
                </a:lnTo>
                <a:lnTo>
                  <a:pt x="960" y="1600"/>
                </a:lnTo>
                <a:lnTo>
                  <a:pt x="962" y="1621"/>
                </a:lnTo>
                <a:lnTo>
                  <a:pt x="964" y="1643"/>
                </a:lnTo>
                <a:lnTo>
                  <a:pt x="965" y="1666"/>
                </a:lnTo>
                <a:lnTo>
                  <a:pt x="964" y="1688"/>
                </a:lnTo>
                <a:lnTo>
                  <a:pt x="962" y="1709"/>
                </a:lnTo>
                <a:lnTo>
                  <a:pt x="958" y="1730"/>
                </a:lnTo>
                <a:lnTo>
                  <a:pt x="955" y="1751"/>
                </a:lnTo>
                <a:lnTo>
                  <a:pt x="949" y="1768"/>
                </a:lnTo>
                <a:lnTo>
                  <a:pt x="943" y="1785"/>
                </a:lnTo>
                <a:lnTo>
                  <a:pt x="936" y="1798"/>
                </a:lnTo>
                <a:lnTo>
                  <a:pt x="934" y="1824"/>
                </a:lnTo>
                <a:lnTo>
                  <a:pt x="932" y="1850"/>
                </a:lnTo>
                <a:lnTo>
                  <a:pt x="930" y="1876"/>
                </a:lnTo>
                <a:lnTo>
                  <a:pt x="927" y="1903"/>
                </a:lnTo>
                <a:lnTo>
                  <a:pt x="926" y="1929"/>
                </a:lnTo>
                <a:lnTo>
                  <a:pt x="923" y="1956"/>
                </a:lnTo>
                <a:lnTo>
                  <a:pt x="922" y="1982"/>
                </a:lnTo>
                <a:lnTo>
                  <a:pt x="921" y="2010"/>
                </a:lnTo>
                <a:lnTo>
                  <a:pt x="916" y="2010"/>
                </a:lnTo>
                <a:lnTo>
                  <a:pt x="909" y="2010"/>
                </a:lnTo>
                <a:close/>
              </a:path>
            </a:pathLst>
          </a:custGeom>
          <a:noFill/>
          <a:ln w="3175">
            <a:solidFill>
              <a:srgbClr val="3399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36" name="Freeform 101"/>
          <p:cNvSpPr>
            <a:spLocks/>
          </p:cNvSpPr>
          <p:nvPr/>
        </p:nvSpPr>
        <p:spPr bwMode="auto">
          <a:xfrm>
            <a:off x="1066800" y="3057525"/>
            <a:ext cx="196850" cy="261938"/>
          </a:xfrm>
          <a:custGeom>
            <a:avLst/>
            <a:gdLst>
              <a:gd name="T0" fmla="*/ 2147483647 w 497"/>
              <a:gd name="T1" fmla="*/ 2147483647 h 661"/>
              <a:gd name="T2" fmla="*/ 2147483647 w 497"/>
              <a:gd name="T3" fmla="*/ 2147483647 h 661"/>
              <a:gd name="T4" fmla="*/ 2147483647 w 497"/>
              <a:gd name="T5" fmla="*/ 2147483647 h 661"/>
              <a:gd name="T6" fmla="*/ 2147483647 w 497"/>
              <a:gd name="T7" fmla="*/ 2147483647 h 661"/>
              <a:gd name="T8" fmla="*/ 2147483647 w 497"/>
              <a:gd name="T9" fmla="*/ 2147483647 h 661"/>
              <a:gd name="T10" fmla="*/ 2147483647 w 497"/>
              <a:gd name="T11" fmla="*/ 2147483647 h 661"/>
              <a:gd name="T12" fmla="*/ 2147483647 w 497"/>
              <a:gd name="T13" fmla="*/ 2147483647 h 661"/>
              <a:gd name="T14" fmla="*/ 2147483647 w 497"/>
              <a:gd name="T15" fmla="*/ 2147483647 h 661"/>
              <a:gd name="T16" fmla="*/ 2147483647 w 497"/>
              <a:gd name="T17" fmla="*/ 2147483647 h 661"/>
              <a:gd name="T18" fmla="*/ 2147483647 w 497"/>
              <a:gd name="T19" fmla="*/ 2147483647 h 661"/>
              <a:gd name="T20" fmla="*/ 2147483647 w 497"/>
              <a:gd name="T21" fmla="*/ 2147483647 h 661"/>
              <a:gd name="T22" fmla="*/ 2147483647 w 497"/>
              <a:gd name="T23" fmla="*/ 2147483647 h 661"/>
              <a:gd name="T24" fmla="*/ 2147483647 w 497"/>
              <a:gd name="T25" fmla="*/ 2147483647 h 661"/>
              <a:gd name="T26" fmla="*/ 2147483647 w 497"/>
              <a:gd name="T27" fmla="*/ 2147483647 h 661"/>
              <a:gd name="T28" fmla="*/ 2147483647 w 497"/>
              <a:gd name="T29" fmla="*/ 2147483647 h 661"/>
              <a:gd name="T30" fmla="*/ 2147483647 w 497"/>
              <a:gd name="T31" fmla="*/ 2147483647 h 661"/>
              <a:gd name="T32" fmla="*/ 2147483647 w 497"/>
              <a:gd name="T33" fmla="*/ 2147483647 h 661"/>
              <a:gd name="T34" fmla="*/ 2147483647 w 497"/>
              <a:gd name="T35" fmla="*/ 2147483647 h 661"/>
              <a:gd name="T36" fmla="*/ 2147483647 w 497"/>
              <a:gd name="T37" fmla="*/ 2147483647 h 661"/>
              <a:gd name="T38" fmla="*/ 2147483647 w 497"/>
              <a:gd name="T39" fmla="*/ 2147483647 h 661"/>
              <a:gd name="T40" fmla="*/ 2147483647 w 497"/>
              <a:gd name="T41" fmla="*/ 2147483647 h 661"/>
              <a:gd name="T42" fmla="*/ 2147483647 w 497"/>
              <a:gd name="T43" fmla="*/ 2147483647 h 661"/>
              <a:gd name="T44" fmla="*/ 2147483647 w 497"/>
              <a:gd name="T45" fmla="*/ 2147483647 h 661"/>
              <a:gd name="T46" fmla="*/ 0 w 497"/>
              <a:gd name="T47" fmla="*/ 2147483647 h 661"/>
              <a:gd name="T48" fmla="*/ 2147483647 w 497"/>
              <a:gd name="T49" fmla="*/ 2147483647 h 661"/>
              <a:gd name="T50" fmla="*/ 2147483647 w 497"/>
              <a:gd name="T51" fmla="*/ 2147483647 h 661"/>
              <a:gd name="T52" fmla="*/ 2147483647 w 497"/>
              <a:gd name="T53" fmla="*/ 2147483647 h 661"/>
              <a:gd name="T54" fmla="*/ 2147483647 w 497"/>
              <a:gd name="T55" fmla="*/ 2147483647 h 661"/>
              <a:gd name="T56" fmla="*/ 2147483647 w 497"/>
              <a:gd name="T57" fmla="*/ 2147483647 h 661"/>
              <a:gd name="T58" fmla="*/ 2147483647 w 497"/>
              <a:gd name="T59" fmla="*/ 2147483647 h 661"/>
              <a:gd name="T60" fmla="*/ 2147483647 w 497"/>
              <a:gd name="T61" fmla="*/ 2147483647 h 661"/>
              <a:gd name="T62" fmla="*/ 2147483647 w 497"/>
              <a:gd name="T63" fmla="*/ 2147483647 h 661"/>
              <a:gd name="T64" fmla="*/ 2147483647 w 497"/>
              <a:gd name="T65" fmla="*/ 2147483647 h 661"/>
              <a:gd name="T66" fmla="*/ 2147483647 w 497"/>
              <a:gd name="T67" fmla="*/ 2147483647 h 661"/>
              <a:gd name="T68" fmla="*/ 2147483647 w 497"/>
              <a:gd name="T69" fmla="*/ 2147483647 h 661"/>
              <a:gd name="T70" fmla="*/ 2147483647 w 497"/>
              <a:gd name="T71" fmla="*/ 2147483647 h 661"/>
              <a:gd name="T72" fmla="*/ 2147483647 w 497"/>
              <a:gd name="T73" fmla="*/ 2147483647 h 661"/>
              <a:gd name="T74" fmla="*/ 2147483647 w 497"/>
              <a:gd name="T75" fmla="*/ 2147483647 h 661"/>
              <a:gd name="T76" fmla="*/ 2147483647 w 497"/>
              <a:gd name="T77" fmla="*/ 2147483647 h 661"/>
              <a:gd name="T78" fmla="*/ 2147483647 w 497"/>
              <a:gd name="T79" fmla="*/ 2147483647 h 661"/>
              <a:gd name="T80" fmla="*/ 2147483647 w 497"/>
              <a:gd name="T81" fmla="*/ 2147483647 h 661"/>
              <a:gd name="T82" fmla="*/ 2147483647 w 497"/>
              <a:gd name="T83" fmla="*/ 2147483647 h 661"/>
              <a:gd name="T84" fmla="*/ 2147483647 w 497"/>
              <a:gd name="T85" fmla="*/ 2147483647 h 661"/>
              <a:gd name="T86" fmla="*/ 2147483647 w 497"/>
              <a:gd name="T87" fmla="*/ 2147483647 h 661"/>
              <a:gd name="T88" fmla="*/ 2147483647 w 497"/>
              <a:gd name="T89" fmla="*/ 2147483647 h 661"/>
              <a:gd name="T90" fmla="*/ 2147483647 w 497"/>
              <a:gd name="T91" fmla="*/ 2147483647 h 661"/>
              <a:gd name="T92" fmla="*/ 2147483647 w 497"/>
              <a:gd name="T93" fmla="*/ 2147483647 h 661"/>
              <a:gd name="T94" fmla="*/ 2147483647 w 497"/>
              <a:gd name="T95" fmla="*/ 2147483647 h 661"/>
              <a:gd name="T96" fmla="*/ 2147483647 w 497"/>
              <a:gd name="T97" fmla="*/ 2147483647 h 661"/>
              <a:gd name="T98" fmla="*/ 2147483647 w 497"/>
              <a:gd name="T99" fmla="*/ 2147483647 h 661"/>
              <a:gd name="T100" fmla="*/ 2147483647 w 497"/>
              <a:gd name="T101" fmla="*/ 2147483647 h 661"/>
              <a:gd name="T102" fmla="*/ 2147483647 w 497"/>
              <a:gd name="T103" fmla="*/ 2147483647 h 661"/>
              <a:gd name="T104" fmla="*/ 2147483647 w 497"/>
              <a:gd name="T105" fmla="*/ 2147483647 h 661"/>
              <a:gd name="T106" fmla="*/ 2147483647 w 497"/>
              <a:gd name="T107" fmla="*/ 2147483647 h 661"/>
              <a:gd name="T108" fmla="*/ 2147483647 w 497"/>
              <a:gd name="T109" fmla="*/ 2147483647 h 661"/>
              <a:gd name="T110" fmla="*/ 2147483647 w 497"/>
              <a:gd name="T111" fmla="*/ 2147483647 h 661"/>
              <a:gd name="T112" fmla="*/ 2147483647 w 497"/>
              <a:gd name="T113" fmla="*/ 2147483647 h 661"/>
              <a:gd name="T114" fmla="*/ 2147483647 w 497"/>
              <a:gd name="T115" fmla="*/ 2147483647 h 661"/>
              <a:gd name="T116" fmla="*/ 2147483647 w 497"/>
              <a:gd name="T117" fmla="*/ 2147483647 h 661"/>
              <a:gd name="T118" fmla="*/ 2147483647 w 497"/>
              <a:gd name="T119" fmla="*/ 2147483647 h 661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497"/>
              <a:gd name="T181" fmla="*/ 0 h 661"/>
              <a:gd name="T182" fmla="*/ 497 w 497"/>
              <a:gd name="T183" fmla="*/ 661 h 661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497" h="661">
                <a:moveTo>
                  <a:pt x="316" y="661"/>
                </a:moveTo>
                <a:lnTo>
                  <a:pt x="308" y="643"/>
                </a:lnTo>
                <a:lnTo>
                  <a:pt x="302" y="624"/>
                </a:lnTo>
                <a:lnTo>
                  <a:pt x="295" y="606"/>
                </a:lnTo>
                <a:lnTo>
                  <a:pt x="290" y="587"/>
                </a:lnTo>
                <a:lnTo>
                  <a:pt x="283" y="568"/>
                </a:lnTo>
                <a:lnTo>
                  <a:pt x="277" y="550"/>
                </a:lnTo>
                <a:lnTo>
                  <a:pt x="268" y="532"/>
                </a:lnTo>
                <a:lnTo>
                  <a:pt x="259" y="515"/>
                </a:lnTo>
                <a:lnTo>
                  <a:pt x="244" y="513"/>
                </a:lnTo>
                <a:lnTo>
                  <a:pt x="230" y="511"/>
                </a:lnTo>
                <a:lnTo>
                  <a:pt x="216" y="509"/>
                </a:lnTo>
                <a:lnTo>
                  <a:pt x="201" y="507"/>
                </a:lnTo>
                <a:lnTo>
                  <a:pt x="200" y="471"/>
                </a:lnTo>
                <a:lnTo>
                  <a:pt x="199" y="434"/>
                </a:lnTo>
                <a:lnTo>
                  <a:pt x="200" y="416"/>
                </a:lnTo>
                <a:lnTo>
                  <a:pt x="203" y="398"/>
                </a:lnTo>
                <a:lnTo>
                  <a:pt x="205" y="390"/>
                </a:lnTo>
                <a:lnTo>
                  <a:pt x="208" y="381"/>
                </a:lnTo>
                <a:lnTo>
                  <a:pt x="212" y="373"/>
                </a:lnTo>
                <a:lnTo>
                  <a:pt x="216" y="366"/>
                </a:lnTo>
                <a:lnTo>
                  <a:pt x="216" y="355"/>
                </a:lnTo>
                <a:lnTo>
                  <a:pt x="214" y="345"/>
                </a:lnTo>
                <a:lnTo>
                  <a:pt x="214" y="336"/>
                </a:lnTo>
                <a:lnTo>
                  <a:pt x="214" y="325"/>
                </a:lnTo>
                <a:lnTo>
                  <a:pt x="191" y="316"/>
                </a:lnTo>
                <a:lnTo>
                  <a:pt x="168" y="306"/>
                </a:lnTo>
                <a:lnTo>
                  <a:pt x="147" y="295"/>
                </a:lnTo>
                <a:lnTo>
                  <a:pt x="126" y="284"/>
                </a:lnTo>
                <a:lnTo>
                  <a:pt x="117" y="277"/>
                </a:lnTo>
                <a:lnTo>
                  <a:pt x="108" y="271"/>
                </a:lnTo>
                <a:lnTo>
                  <a:pt x="99" y="263"/>
                </a:lnTo>
                <a:lnTo>
                  <a:pt x="89" y="255"/>
                </a:lnTo>
                <a:lnTo>
                  <a:pt x="82" y="246"/>
                </a:lnTo>
                <a:lnTo>
                  <a:pt x="75" y="237"/>
                </a:lnTo>
                <a:lnTo>
                  <a:pt x="69" y="228"/>
                </a:lnTo>
                <a:lnTo>
                  <a:pt x="62" y="217"/>
                </a:lnTo>
                <a:lnTo>
                  <a:pt x="60" y="204"/>
                </a:lnTo>
                <a:lnTo>
                  <a:pt x="58" y="191"/>
                </a:lnTo>
                <a:lnTo>
                  <a:pt x="56" y="178"/>
                </a:lnTo>
                <a:lnTo>
                  <a:pt x="54" y="165"/>
                </a:lnTo>
                <a:lnTo>
                  <a:pt x="43" y="161"/>
                </a:lnTo>
                <a:lnTo>
                  <a:pt x="31" y="156"/>
                </a:lnTo>
                <a:lnTo>
                  <a:pt x="21" y="152"/>
                </a:lnTo>
                <a:lnTo>
                  <a:pt x="9" y="148"/>
                </a:lnTo>
                <a:lnTo>
                  <a:pt x="4" y="131"/>
                </a:lnTo>
                <a:lnTo>
                  <a:pt x="1" y="117"/>
                </a:lnTo>
                <a:lnTo>
                  <a:pt x="0" y="105"/>
                </a:lnTo>
                <a:lnTo>
                  <a:pt x="1" y="95"/>
                </a:lnTo>
                <a:lnTo>
                  <a:pt x="1" y="86"/>
                </a:lnTo>
                <a:lnTo>
                  <a:pt x="4" y="78"/>
                </a:lnTo>
                <a:lnTo>
                  <a:pt x="6" y="70"/>
                </a:lnTo>
                <a:lnTo>
                  <a:pt x="10" y="64"/>
                </a:lnTo>
                <a:lnTo>
                  <a:pt x="19" y="52"/>
                </a:lnTo>
                <a:lnTo>
                  <a:pt x="28" y="38"/>
                </a:lnTo>
                <a:lnTo>
                  <a:pt x="34" y="30"/>
                </a:lnTo>
                <a:lnTo>
                  <a:pt x="39" y="22"/>
                </a:lnTo>
                <a:lnTo>
                  <a:pt x="43" y="12"/>
                </a:lnTo>
                <a:lnTo>
                  <a:pt x="47" y="0"/>
                </a:lnTo>
                <a:lnTo>
                  <a:pt x="73" y="6"/>
                </a:lnTo>
                <a:lnTo>
                  <a:pt x="93" y="10"/>
                </a:lnTo>
                <a:lnTo>
                  <a:pt x="122" y="14"/>
                </a:lnTo>
                <a:lnTo>
                  <a:pt x="170" y="20"/>
                </a:lnTo>
                <a:lnTo>
                  <a:pt x="170" y="27"/>
                </a:lnTo>
                <a:lnTo>
                  <a:pt x="171" y="35"/>
                </a:lnTo>
                <a:lnTo>
                  <a:pt x="174" y="43"/>
                </a:lnTo>
                <a:lnTo>
                  <a:pt x="177" y="51"/>
                </a:lnTo>
                <a:lnTo>
                  <a:pt x="181" y="57"/>
                </a:lnTo>
                <a:lnTo>
                  <a:pt x="184" y="64"/>
                </a:lnTo>
                <a:lnTo>
                  <a:pt x="190" y="70"/>
                </a:lnTo>
                <a:lnTo>
                  <a:pt x="196" y="75"/>
                </a:lnTo>
                <a:lnTo>
                  <a:pt x="208" y="87"/>
                </a:lnTo>
                <a:lnTo>
                  <a:pt x="223" y="96"/>
                </a:lnTo>
                <a:lnTo>
                  <a:pt x="239" y="104"/>
                </a:lnTo>
                <a:lnTo>
                  <a:pt x="256" y="112"/>
                </a:lnTo>
                <a:lnTo>
                  <a:pt x="274" y="117"/>
                </a:lnTo>
                <a:lnTo>
                  <a:pt x="292" y="122"/>
                </a:lnTo>
                <a:lnTo>
                  <a:pt x="311" y="127"/>
                </a:lnTo>
                <a:lnTo>
                  <a:pt x="329" y="131"/>
                </a:lnTo>
                <a:lnTo>
                  <a:pt x="361" y="137"/>
                </a:lnTo>
                <a:lnTo>
                  <a:pt x="387" y="140"/>
                </a:lnTo>
                <a:lnTo>
                  <a:pt x="410" y="172"/>
                </a:lnTo>
                <a:lnTo>
                  <a:pt x="436" y="203"/>
                </a:lnTo>
                <a:lnTo>
                  <a:pt x="463" y="235"/>
                </a:lnTo>
                <a:lnTo>
                  <a:pt x="488" y="269"/>
                </a:lnTo>
                <a:lnTo>
                  <a:pt x="477" y="274"/>
                </a:lnTo>
                <a:lnTo>
                  <a:pt x="469" y="278"/>
                </a:lnTo>
                <a:lnTo>
                  <a:pt x="463" y="284"/>
                </a:lnTo>
                <a:lnTo>
                  <a:pt x="459" y="287"/>
                </a:lnTo>
                <a:lnTo>
                  <a:pt x="456" y="293"/>
                </a:lnTo>
                <a:lnTo>
                  <a:pt x="455" y="297"/>
                </a:lnTo>
                <a:lnTo>
                  <a:pt x="455" y="302"/>
                </a:lnTo>
                <a:lnTo>
                  <a:pt x="456" y="306"/>
                </a:lnTo>
                <a:lnTo>
                  <a:pt x="459" y="311"/>
                </a:lnTo>
                <a:lnTo>
                  <a:pt x="462" y="315"/>
                </a:lnTo>
                <a:lnTo>
                  <a:pt x="465" y="320"/>
                </a:lnTo>
                <a:lnTo>
                  <a:pt x="471" y="324"/>
                </a:lnTo>
                <a:lnTo>
                  <a:pt x="484" y="332"/>
                </a:lnTo>
                <a:lnTo>
                  <a:pt x="497" y="341"/>
                </a:lnTo>
                <a:lnTo>
                  <a:pt x="493" y="356"/>
                </a:lnTo>
                <a:lnTo>
                  <a:pt x="489" y="373"/>
                </a:lnTo>
                <a:lnTo>
                  <a:pt x="469" y="376"/>
                </a:lnTo>
                <a:lnTo>
                  <a:pt x="451" y="379"/>
                </a:lnTo>
                <a:lnTo>
                  <a:pt x="449" y="411"/>
                </a:lnTo>
                <a:lnTo>
                  <a:pt x="445" y="442"/>
                </a:lnTo>
                <a:lnTo>
                  <a:pt x="442" y="475"/>
                </a:lnTo>
                <a:lnTo>
                  <a:pt x="439" y="507"/>
                </a:lnTo>
                <a:lnTo>
                  <a:pt x="432" y="511"/>
                </a:lnTo>
                <a:lnTo>
                  <a:pt x="424" y="516"/>
                </a:lnTo>
                <a:lnTo>
                  <a:pt x="417" y="523"/>
                </a:lnTo>
                <a:lnTo>
                  <a:pt x="410" y="528"/>
                </a:lnTo>
                <a:lnTo>
                  <a:pt x="398" y="541"/>
                </a:lnTo>
                <a:lnTo>
                  <a:pt x="385" y="550"/>
                </a:lnTo>
                <a:lnTo>
                  <a:pt x="383" y="565"/>
                </a:lnTo>
                <a:lnTo>
                  <a:pt x="382" y="579"/>
                </a:lnTo>
                <a:lnTo>
                  <a:pt x="382" y="595"/>
                </a:lnTo>
                <a:lnTo>
                  <a:pt x="382" y="610"/>
                </a:lnTo>
                <a:lnTo>
                  <a:pt x="363" y="621"/>
                </a:lnTo>
                <a:lnTo>
                  <a:pt x="350" y="630"/>
                </a:lnTo>
                <a:lnTo>
                  <a:pt x="337" y="641"/>
                </a:lnTo>
                <a:lnTo>
                  <a:pt x="316" y="661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37" name="Freeform 102"/>
          <p:cNvSpPr>
            <a:spLocks/>
          </p:cNvSpPr>
          <p:nvPr/>
        </p:nvSpPr>
        <p:spPr bwMode="auto">
          <a:xfrm>
            <a:off x="1020763" y="2690813"/>
            <a:ext cx="241300" cy="231775"/>
          </a:xfrm>
          <a:custGeom>
            <a:avLst/>
            <a:gdLst>
              <a:gd name="T0" fmla="*/ 2147483647 w 607"/>
              <a:gd name="T1" fmla="*/ 2147483647 h 584"/>
              <a:gd name="T2" fmla="*/ 2147483647 w 607"/>
              <a:gd name="T3" fmla="*/ 2147483647 h 584"/>
              <a:gd name="T4" fmla="*/ 2147483647 w 607"/>
              <a:gd name="T5" fmla="*/ 2147483647 h 584"/>
              <a:gd name="T6" fmla="*/ 2147483647 w 607"/>
              <a:gd name="T7" fmla="*/ 2147483647 h 584"/>
              <a:gd name="T8" fmla="*/ 2147483647 w 607"/>
              <a:gd name="T9" fmla="*/ 2147483647 h 584"/>
              <a:gd name="T10" fmla="*/ 2147483647 w 607"/>
              <a:gd name="T11" fmla="*/ 2147483647 h 584"/>
              <a:gd name="T12" fmla="*/ 2147483647 w 607"/>
              <a:gd name="T13" fmla="*/ 2147483647 h 584"/>
              <a:gd name="T14" fmla="*/ 2147483647 w 607"/>
              <a:gd name="T15" fmla="*/ 2147483647 h 584"/>
              <a:gd name="T16" fmla="*/ 2147483647 w 607"/>
              <a:gd name="T17" fmla="*/ 2147483647 h 584"/>
              <a:gd name="T18" fmla="*/ 2147483647 w 607"/>
              <a:gd name="T19" fmla="*/ 2147483647 h 584"/>
              <a:gd name="T20" fmla="*/ 2147483647 w 607"/>
              <a:gd name="T21" fmla="*/ 2147483647 h 584"/>
              <a:gd name="T22" fmla="*/ 2147483647 w 607"/>
              <a:gd name="T23" fmla="*/ 2147483647 h 584"/>
              <a:gd name="T24" fmla="*/ 2147483647 w 607"/>
              <a:gd name="T25" fmla="*/ 2147483647 h 584"/>
              <a:gd name="T26" fmla="*/ 2147483647 w 607"/>
              <a:gd name="T27" fmla="*/ 2147483647 h 584"/>
              <a:gd name="T28" fmla="*/ 2147483647 w 607"/>
              <a:gd name="T29" fmla="*/ 2147483647 h 584"/>
              <a:gd name="T30" fmla="*/ 2147483647 w 607"/>
              <a:gd name="T31" fmla="*/ 2147483647 h 584"/>
              <a:gd name="T32" fmla="*/ 2147483647 w 607"/>
              <a:gd name="T33" fmla="*/ 2147483647 h 584"/>
              <a:gd name="T34" fmla="*/ 2147483647 w 607"/>
              <a:gd name="T35" fmla="*/ 2147483647 h 584"/>
              <a:gd name="T36" fmla="*/ 2147483647 w 607"/>
              <a:gd name="T37" fmla="*/ 2147483647 h 584"/>
              <a:gd name="T38" fmla="*/ 2147483647 w 607"/>
              <a:gd name="T39" fmla="*/ 2147483647 h 584"/>
              <a:gd name="T40" fmla="*/ 2147483647 w 607"/>
              <a:gd name="T41" fmla="*/ 2147483647 h 584"/>
              <a:gd name="T42" fmla="*/ 2147483647 w 607"/>
              <a:gd name="T43" fmla="*/ 2147483647 h 584"/>
              <a:gd name="T44" fmla="*/ 2147483647 w 607"/>
              <a:gd name="T45" fmla="*/ 2147483647 h 584"/>
              <a:gd name="T46" fmla="*/ 2147483647 w 607"/>
              <a:gd name="T47" fmla="*/ 2147483647 h 584"/>
              <a:gd name="T48" fmla="*/ 2147483647 w 607"/>
              <a:gd name="T49" fmla="*/ 2147483647 h 584"/>
              <a:gd name="T50" fmla="*/ 2147483647 w 607"/>
              <a:gd name="T51" fmla="*/ 2147483647 h 584"/>
              <a:gd name="T52" fmla="*/ 2147483647 w 607"/>
              <a:gd name="T53" fmla="*/ 2147483647 h 584"/>
              <a:gd name="T54" fmla="*/ 2147483647 w 607"/>
              <a:gd name="T55" fmla="*/ 2147483647 h 584"/>
              <a:gd name="T56" fmla="*/ 2147483647 w 607"/>
              <a:gd name="T57" fmla="*/ 2147483647 h 584"/>
              <a:gd name="T58" fmla="*/ 2147483647 w 607"/>
              <a:gd name="T59" fmla="*/ 2147483647 h 584"/>
              <a:gd name="T60" fmla="*/ 2147483647 w 607"/>
              <a:gd name="T61" fmla="*/ 2147483647 h 584"/>
              <a:gd name="T62" fmla="*/ 2147483647 w 607"/>
              <a:gd name="T63" fmla="*/ 2147483647 h 584"/>
              <a:gd name="T64" fmla="*/ 2147483647 w 607"/>
              <a:gd name="T65" fmla="*/ 2147483647 h 584"/>
              <a:gd name="T66" fmla="*/ 2147483647 w 607"/>
              <a:gd name="T67" fmla="*/ 2147483647 h 584"/>
              <a:gd name="T68" fmla="*/ 2147483647 w 607"/>
              <a:gd name="T69" fmla="*/ 2147483647 h 584"/>
              <a:gd name="T70" fmla="*/ 2147483647 w 607"/>
              <a:gd name="T71" fmla="*/ 2147483647 h 584"/>
              <a:gd name="T72" fmla="*/ 2147483647 w 607"/>
              <a:gd name="T73" fmla="*/ 2147483647 h 584"/>
              <a:gd name="T74" fmla="*/ 2147483647 w 607"/>
              <a:gd name="T75" fmla="*/ 2147483647 h 584"/>
              <a:gd name="T76" fmla="*/ 2147483647 w 607"/>
              <a:gd name="T77" fmla="*/ 2147483647 h 584"/>
              <a:gd name="T78" fmla="*/ 2147483647 w 607"/>
              <a:gd name="T79" fmla="*/ 2147483647 h 584"/>
              <a:gd name="T80" fmla="*/ 2147483647 w 607"/>
              <a:gd name="T81" fmla="*/ 2147483647 h 584"/>
              <a:gd name="T82" fmla="*/ 2147483647 w 607"/>
              <a:gd name="T83" fmla="*/ 2147483647 h 584"/>
              <a:gd name="T84" fmla="*/ 2147483647 w 607"/>
              <a:gd name="T85" fmla="*/ 2147483647 h 584"/>
              <a:gd name="T86" fmla="*/ 2147483647 w 607"/>
              <a:gd name="T87" fmla="*/ 2147483647 h 584"/>
              <a:gd name="T88" fmla="*/ 2147483647 w 607"/>
              <a:gd name="T89" fmla="*/ 2147483647 h 584"/>
              <a:gd name="T90" fmla="*/ 2147483647 w 607"/>
              <a:gd name="T91" fmla="*/ 2147483647 h 584"/>
              <a:gd name="T92" fmla="*/ 2147483647 w 607"/>
              <a:gd name="T93" fmla="*/ 2147483647 h 5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607"/>
              <a:gd name="T142" fmla="*/ 0 h 584"/>
              <a:gd name="T143" fmla="*/ 607 w 607"/>
              <a:gd name="T144" fmla="*/ 584 h 58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607" h="584">
                <a:moveTo>
                  <a:pt x="311" y="584"/>
                </a:moveTo>
                <a:lnTo>
                  <a:pt x="308" y="571"/>
                </a:lnTo>
                <a:lnTo>
                  <a:pt x="306" y="559"/>
                </a:lnTo>
                <a:lnTo>
                  <a:pt x="293" y="557"/>
                </a:lnTo>
                <a:lnTo>
                  <a:pt x="280" y="554"/>
                </a:lnTo>
                <a:lnTo>
                  <a:pt x="267" y="550"/>
                </a:lnTo>
                <a:lnTo>
                  <a:pt x="254" y="548"/>
                </a:lnTo>
                <a:lnTo>
                  <a:pt x="260" y="532"/>
                </a:lnTo>
                <a:lnTo>
                  <a:pt x="265" y="515"/>
                </a:lnTo>
                <a:lnTo>
                  <a:pt x="268" y="497"/>
                </a:lnTo>
                <a:lnTo>
                  <a:pt x="269" y="479"/>
                </a:lnTo>
                <a:lnTo>
                  <a:pt x="269" y="461"/>
                </a:lnTo>
                <a:lnTo>
                  <a:pt x="268" y="444"/>
                </a:lnTo>
                <a:lnTo>
                  <a:pt x="264" y="425"/>
                </a:lnTo>
                <a:lnTo>
                  <a:pt x="259" y="407"/>
                </a:lnTo>
                <a:lnTo>
                  <a:pt x="234" y="376"/>
                </a:lnTo>
                <a:lnTo>
                  <a:pt x="222" y="359"/>
                </a:lnTo>
                <a:lnTo>
                  <a:pt x="217" y="350"/>
                </a:lnTo>
                <a:lnTo>
                  <a:pt x="215" y="342"/>
                </a:lnTo>
                <a:lnTo>
                  <a:pt x="198" y="337"/>
                </a:lnTo>
                <a:lnTo>
                  <a:pt x="183" y="330"/>
                </a:lnTo>
                <a:lnTo>
                  <a:pt x="169" y="323"/>
                </a:lnTo>
                <a:lnTo>
                  <a:pt x="156" y="314"/>
                </a:lnTo>
                <a:lnTo>
                  <a:pt x="144" y="302"/>
                </a:lnTo>
                <a:lnTo>
                  <a:pt x="134" y="289"/>
                </a:lnTo>
                <a:lnTo>
                  <a:pt x="126" y="275"/>
                </a:lnTo>
                <a:lnTo>
                  <a:pt x="118" y="258"/>
                </a:lnTo>
                <a:lnTo>
                  <a:pt x="82" y="263"/>
                </a:lnTo>
                <a:lnTo>
                  <a:pt x="58" y="265"/>
                </a:lnTo>
                <a:lnTo>
                  <a:pt x="39" y="267"/>
                </a:lnTo>
                <a:lnTo>
                  <a:pt x="14" y="265"/>
                </a:lnTo>
                <a:lnTo>
                  <a:pt x="10" y="258"/>
                </a:lnTo>
                <a:lnTo>
                  <a:pt x="6" y="251"/>
                </a:lnTo>
                <a:lnTo>
                  <a:pt x="4" y="243"/>
                </a:lnTo>
                <a:lnTo>
                  <a:pt x="1" y="236"/>
                </a:lnTo>
                <a:lnTo>
                  <a:pt x="1" y="229"/>
                </a:lnTo>
                <a:lnTo>
                  <a:pt x="0" y="221"/>
                </a:lnTo>
                <a:lnTo>
                  <a:pt x="1" y="215"/>
                </a:lnTo>
                <a:lnTo>
                  <a:pt x="3" y="207"/>
                </a:lnTo>
                <a:lnTo>
                  <a:pt x="6" y="194"/>
                </a:lnTo>
                <a:lnTo>
                  <a:pt x="13" y="180"/>
                </a:lnTo>
                <a:lnTo>
                  <a:pt x="22" y="167"/>
                </a:lnTo>
                <a:lnTo>
                  <a:pt x="31" y="154"/>
                </a:lnTo>
                <a:lnTo>
                  <a:pt x="55" y="128"/>
                </a:lnTo>
                <a:lnTo>
                  <a:pt x="79" y="103"/>
                </a:lnTo>
                <a:lnTo>
                  <a:pt x="103" y="81"/>
                </a:lnTo>
                <a:lnTo>
                  <a:pt x="121" y="60"/>
                </a:lnTo>
                <a:lnTo>
                  <a:pt x="124" y="49"/>
                </a:lnTo>
                <a:lnTo>
                  <a:pt x="129" y="40"/>
                </a:lnTo>
                <a:lnTo>
                  <a:pt x="134" y="33"/>
                </a:lnTo>
                <a:lnTo>
                  <a:pt x="139" y="26"/>
                </a:lnTo>
                <a:lnTo>
                  <a:pt x="144" y="20"/>
                </a:lnTo>
                <a:lnTo>
                  <a:pt x="151" y="13"/>
                </a:lnTo>
                <a:lnTo>
                  <a:pt x="159" y="9"/>
                </a:lnTo>
                <a:lnTo>
                  <a:pt x="165" y="5"/>
                </a:lnTo>
                <a:lnTo>
                  <a:pt x="173" y="3"/>
                </a:lnTo>
                <a:lnTo>
                  <a:pt x="182" y="1"/>
                </a:lnTo>
                <a:lnTo>
                  <a:pt x="190" y="0"/>
                </a:lnTo>
                <a:lnTo>
                  <a:pt x="199" y="1"/>
                </a:lnTo>
                <a:lnTo>
                  <a:pt x="207" y="3"/>
                </a:lnTo>
                <a:lnTo>
                  <a:pt x="216" y="5"/>
                </a:lnTo>
                <a:lnTo>
                  <a:pt x="225" y="8"/>
                </a:lnTo>
                <a:lnTo>
                  <a:pt x="234" y="13"/>
                </a:lnTo>
                <a:lnTo>
                  <a:pt x="235" y="40"/>
                </a:lnTo>
                <a:lnTo>
                  <a:pt x="237" y="57"/>
                </a:lnTo>
                <a:lnTo>
                  <a:pt x="241" y="70"/>
                </a:lnTo>
                <a:lnTo>
                  <a:pt x="246" y="86"/>
                </a:lnTo>
                <a:lnTo>
                  <a:pt x="263" y="92"/>
                </a:lnTo>
                <a:lnTo>
                  <a:pt x="281" y="99"/>
                </a:lnTo>
                <a:lnTo>
                  <a:pt x="298" y="107"/>
                </a:lnTo>
                <a:lnTo>
                  <a:pt x="317" y="113"/>
                </a:lnTo>
                <a:lnTo>
                  <a:pt x="342" y="109"/>
                </a:lnTo>
                <a:lnTo>
                  <a:pt x="363" y="105"/>
                </a:lnTo>
                <a:lnTo>
                  <a:pt x="381" y="103"/>
                </a:lnTo>
                <a:lnTo>
                  <a:pt x="401" y="100"/>
                </a:lnTo>
                <a:lnTo>
                  <a:pt x="421" y="99"/>
                </a:lnTo>
                <a:lnTo>
                  <a:pt x="447" y="98"/>
                </a:lnTo>
                <a:lnTo>
                  <a:pt x="480" y="96"/>
                </a:lnTo>
                <a:lnTo>
                  <a:pt x="523" y="94"/>
                </a:lnTo>
                <a:lnTo>
                  <a:pt x="542" y="86"/>
                </a:lnTo>
                <a:lnTo>
                  <a:pt x="554" y="82"/>
                </a:lnTo>
                <a:lnTo>
                  <a:pt x="566" y="79"/>
                </a:lnTo>
                <a:lnTo>
                  <a:pt x="580" y="78"/>
                </a:lnTo>
                <a:lnTo>
                  <a:pt x="580" y="99"/>
                </a:lnTo>
                <a:lnTo>
                  <a:pt x="580" y="120"/>
                </a:lnTo>
                <a:lnTo>
                  <a:pt x="581" y="141"/>
                </a:lnTo>
                <a:lnTo>
                  <a:pt x="583" y="161"/>
                </a:lnTo>
                <a:lnTo>
                  <a:pt x="592" y="178"/>
                </a:lnTo>
                <a:lnTo>
                  <a:pt x="600" y="194"/>
                </a:lnTo>
                <a:lnTo>
                  <a:pt x="605" y="207"/>
                </a:lnTo>
                <a:lnTo>
                  <a:pt x="607" y="217"/>
                </a:lnTo>
                <a:lnTo>
                  <a:pt x="607" y="228"/>
                </a:lnTo>
                <a:lnTo>
                  <a:pt x="606" y="237"/>
                </a:lnTo>
                <a:lnTo>
                  <a:pt x="604" y="245"/>
                </a:lnTo>
                <a:lnTo>
                  <a:pt x="600" y="252"/>
                </a:lnTo>
                <a:lnTo>
                  <a:pt x="588" y="268"/>
                </a:lnTo>
                <a:lnTo>
                  <a:pt x="575" y="285"/>
                </a:lnTo>
                <a:lnTo>
                  <a:pt x="568" y="295"/>
                </a:lnTo>
                <a:lnTo>
                  <a:pt x="562" y="306"/>
                </a:lnTo>
                <a:lnTo>
                  <a:pt x="557" y="319"/>
                </a:lnTo>
                <a:lnTo>
                  <a:pt x="552" y="334"/>
                </a:lnTo>
                <a:lnTo>
                  <a:pt x="562" y="355"/>
                </a:lnTo>
                <a:lnTo>
                  <a:pt x="572" y="375"/>
                </a:lnTo>
                <a:lnTo>
                  <a:pt x="584" y="396"/>
                </a:lnTo>
                <a:lnTo>
                  <a:pt x="596" y="415"/>
                </a:lnTo>
                <a:lnTo>
                  <a:pt x="593" y="422"/>
                </a:lnTo>
                <a:lnTo>
                  <a:pt x="591" y="428"/>
                </a:lnTo>
                <a:lnTo>
                  <a:pt x="588" y="432"/>
                </a:lnTo>
                <a:lnTo>
                  <a:pt x="584" y="436"/>
                </a:lnTo>
                <a:lnTo>
                  <a:pt x="581" y="438"/>
                </a:lnTo>
                <a:lnTo>
                  <a:pt x="578" y="440"/>
                </a:lnTo>
                <a:lnTo>
                  <a:pt x="575" y="441"/>
                </a:lnTo>
                <a:lnTo>
                  <a:pt x="571" y="441"/>
                </a:lnTo>
                <a:lnTo>
                  <a:pt x="555" y="438"/>
                </a:lnTo>
                <a:lnTo>
                  <a:pt x="541" y="432"/>
                </a:lnTo>
                <a:lnTo>
                  <a:pt x="533" y="431"/>
                </a:lnTo>
                <a:lnTo>
                  <a:pt x="526" y="429"/>
                </a:lnTo>
                <a:lnTo>
                  <a:pt x="522" y="431"/>
                </a:lnTo>
                <a:lnTo>
                  <a:pt x="519" y="432"/>
                </a:lnTo>
                <a:lnTo>
                  <a:pt x="515" y="433"/>
                </a:lnTo>
                <a:lnTo>
                  <a:pt x="513" y="437"/>
                </a:lnTo>
                <a:lnTo>
                  <a:pt x="510" y="441"/>
                </a:lnTo>
                <a:lnTo>
                  <a:pt x="507" y="446"/>
                </a:lnTo>
                <a:lnTo>
                  <a:pt x="505" y="451"/>
                </a:lnTo>
                <a:lnTo>
                  <a:pt x="502" y="459"/>
                </a:lnTo>
                <a:lnTo>
                  <a:pt x="498" y="479"/>
                </a:lnTo>
                <a:lnTo>
                  <a:pt x="496" y="503"/>
                </a:lnTo>
                <a:lnTo>
                  <a:pt x="468" y="518"/>
                </a:lnTo>
                <a:lnTo>
                  <a:pt x="445" y="533"/>
                </a:lnTo>
                <a:lnTo>
                  <a:pt x="434" y="541"/>
                </a:lnTo>
                <a:lnTo>
                  <a:pt x="424" y="550"/>
                </a:lnTo>
                <a:lnTo>
                  <a:pt x="414" y="562"/>
                </a:lnTo>
                <a:lnTo>
                  <a:pt x="406" y="575"/>
                </a:lnTo>
                <a:lnTo>
                  <a:pt x="393" y="572"/>
                </a:lnTo>
                <a:lnTo>
                  <a:pt x="381" y="571"/>
                </a:lnTo>
                <a:lnTo>
                  <a:pt x="368" y="570"/>
                </a:lnTo>
                <a:lnTo>
                  <a:pt x="356" y="570"/>
                </a:lnTo>
                <a:lnTo>
                  <a:pt x="345" y="572"/>
                </a:lnTo>
                <a:lnTo>
                  <a:pt x="333" y="575"/>
                </a:lnTo>
                <a:lnTo>
                  <a:pt x="323" y="579"/>
                </a:lnTo>
                <a:lnTo>
                  <a:pt x="311" y="584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38" name="Freeform 103"/>
          <p:cNvSpPr>
            <a:spLocks/>
          </p:cNvSpPr>
          <p:nvPr/>
        </p:nvSpPr>
        <p:spPr bwMode="auto">
          <a:xfrm>
            <a:off x="1027113" y="4032250"/>
            <a:ext cx="241300" cy="430213"/>
          </a:xfrm>
          <a:custGeom>
            <a:avLst/>
            <a:gdLst>
              <a:gd name="T0" fmla="*/ 2147483647 w 606"/>
              <a:gd name="T1" fmla="*/ 2147483647 h 1084"/>
              <a:gd name="T2" fmla="*/ 2147483647 w 606"/>
              <a:gd name="T3" fmla="*/ 2147483647 h 1084"/>
              <a:gd name="T4" fmla="*/ 2147483647 w 606"/>
              <a:gd name="T5" fmla="*/ 2147483647 h 1084"/>
              <a:gd name="T6" fmla="*/ 2147483647 w 606"/>
              <a:gd name="T7" fmla="*/ 2147483647 h 1084"/>
              <a:gd name="T8" fmla="*/ 2147483647 w 606"/>
              <a:gd name="T9" fmla="*/ 2147483647 h 1084"/>
              <a:gd name="T10" fmla="*/ 2147483647 w 606"/>
              <a:gd name="T11" fmla="*/ 2147483647 h 1084"/>
              <a:gd name="T12" fmla="*/ 2147483647 w 606"/>
              <a:gd name="T13" fmla="*/ 2147483647 h 1084"/>
              <a:gd name="T14" fmla="*/ 2147483647 w 606"/>
              <a:gd name="T15" fmla="*/ 2147483647 h 1084"/>
              <a:gd name="T16" fmla="*/ 2147483647 w 606"/>
              <a:gd name="T17" fmla="*/ 2147483647 h 1084"/>
              <a:gd name="T18" fmla="*/ 2147483647 w 606"/>
              <a:gd name="T19" fmla="*/ 2147483647 h 1084"/>
              <a:gd name="T20" fmla="*/ 2147483647 w 606"/>
              <a:gd name="T21" fmla="*/ 2147483647 h 1084"/>
              <a:gd name="T22" fmla="*/ 2147483647 w 606"/>
              <a:gd name="T23" fmla="*/ 2147483647 h 1084"/>
              <a:gd name="T24" fmla="*/ 2147483647 w 606"/>
              <a:gd name="T25" fmla="*/ 2147483647 h 1084"/>
              <a:gd name="T26" fmla="*/ 2147483647 w 606"/>
              <a:gd name="T27" fmla="*/ 2147483647 h 1084"/>
              <a:gd name="T28" fmla="*/ 2147483647 w 606"/>
              <a:gd name="T29" fmla="*/ 2147483647 h 1084"/>
              <a:gd name="T30" fmla="*/ 2147483647 w 606"/>
              <a:gd name="T31" fmla="*/ 2147483647 h 1084"/>
              <a:gd name="T32" fmla="*/ 2147483647 w 606"/>
              <a:gd name="T33" fmla="*/ 2147483647 h 1084"/>
              <a:gd name="T34" fmla="*/ 2147483647 w 606"/>
              <a:gd name="T35" fmla="*/ 2147483647 h 1084"/>
              <a:gd name="T36" fmla="*/ 2147483647 w 606"/>
              <a:gd name="T37" fmla="*/ 2147483647 h 1084"/>
              <a:gd name="T38" fmla="*/ 2147483647 w 606"/>
              <a:gd name="T39" fmla="*/ 2147483647 h 1084"/>
              <a:gd name="T40" fmla="*/ 2147483647 w 606"/>
              <a:gd name="T41" fmla="*/ 2147483647 h 1084"/>
              <a:gd name="T42" fmla="*/ 2147483647 w 606"/>
              <a:gd name="T43" fmla="*/ 2147483647 h 1084"/>
              <a:gd name="T44" fmla="*/ 2147483647 w 606"/>
              <a:gd name="T45" fmla="*/ 2147483647 h 1084"/>
              <a:gd name="T46" fmla="*/ 2147483647 w 606"/>
              <a:gd name="T47" fmla="*/ 2147483647 h 1084"/>
              <a:gd name="T48" fmla="*/ 2147483647 w 606"/>
              <a:gd name="T49" fmla="*/ 2147483647 h 1084"/>
              <a:gd name="T50" fmla="*/ 2147483647 w 606"/>
              <a:gd name="T51" fmla="*/ 2147483647 h 1084"/>
              <a:gd name="T52" fmla="*/ 2147483647 w 606"/>
              <a:gd name="T53" fmla="*/ 2147483647 h 1084"/>
              <a:gd name="T54" fmla="*/ 2147483647 w 606"/>
              <a:gd name="T55" fmla="*/ 2147483647 h 1084"/>
              <a:gd name="T56" fmla="*/ 2147483647 w 606"/>
              <a:gd name="T57" fmla="*/ 2147483647 h 1084"/>
              <a:gd name="T58" fmla="*/ 2147483647 w 606"/>
              <a:gd name="T59" fmla="*/ 2147483647 h 1084"/>
              <a:gd name="T60" fmla="*/ 2147483647 w 606"/>
              <a:gd name="T61" fmla="*/ 0 h 1084"/>
              <a:gd name="T62" fmla="*/ 2147483647 w 606"/>
              <a:gd name="T63" fmla="*/ 2147483647 h 1084"/>
              <a:gd name="T64" fmla="*/ 2147483647 w 606"/>
              <a:gd name="T65" fmla="*/ 2147483647 h 1084"/>
              <a:gd name="T66" fmla="*/ 2147483647 w 606"/>
              <a:gd name="T67" fmla="*/ 2147483647 h 1084"/>
              <a:gd name="T68" fmla="*/ 2147483647 w 606"/>
              <a:gd name="T69" fmla="*/ 2147483647 h 1084"/>
              <a:gd name="T70" fmla="*/ 2147483647 w 606"/>
              <a:gd name="T71" fmla="*/ 2147483647 h 1084"/>
              <a:gd name="T72" fmla="*/ 2147483647 w 606"/>
              <a:gd name="T73" fmla="*/ 2147483647 h 1084"/>
              <a:gd name="T74" fmla="*/ 2147483647 w 606"/>
              <a:gd name="T75" fmla="*/ 2147483647 h 1084"/>
              <a:gd name="T76" fmla="*/ 2147483647 w 606"/>
              <a:gd name="T77" fmla="*/ 2147483647 h 1084"/>
              <a:gd name="T78" fmla="*/ 2147483647 w 606"/>
              <a:gd name="T79" fmla="*/ 2147483647 h 1084"/>
              <a:gd name="T80" fmla="*/ 2147483647 w 606"/>
              <a:gd name="T81" fmla="*/ 2147483647 h 1084"/>
              <a:gd name="T82" fmla="*/ 2147483647 w 606"/>
              <a:gd name="T83" fmla="*/ 2147483647 h 1084"/>
              <a:gd name="T84" fmla="*/ 2147483647 w 606"/>
              <a:gd name="T85" fmla="*/ 2147483647 h 1084"/>
              <a:gd name="T86" fmla="*/ 2147483647 w 606"/>
              <a:gd name="T87" fmla="*/ 2147483647 h 1084"/>
              <a:gd name="T88" fmla="*/ 2147483647 w 606"/>
              <a:gd name="T89" fmla="*/ 2147483647 h 1084"/>
              <a:gd name="T90" fmla="*/ 2147483647 w 606"/>
              <a:gd name="T91" fmla="*/ 2147483647 h 1084"/>
              <a:gd name="T92" fmla="*/ 2147483647 w 606"/>
              <a:gd name="T93" fmla="*/ 2147483647 h 1084"/>
              <a:gd name="T94" fmla="*/ 2147483647 w 606"/>
              <a:gd name="T95" fmla="*/ 2147483647 h 1084"/>
              <a:gd name="T96" fmla="*/ 2147483647 w 606"/>
              <a:gd name="T97" fmla="*/ 2147483647 h 1084"/>
              <a:gd name="T98" fmla="*/ 2147483647 w 606"/>
              <a:gd name="T99" fmla="*/ 2147483647 h 1084"/>
              <a:gd name="T100" fmla="*/ 2147483647 w 606"/>
              <a:gd name="T101" fmla="*/ 2147483647 h 1084"/>
              <a:gd name="T102" fmla="*/ 2147483647 w 606"/>
              <a:gd name="T103" fmla="*/ 2147483647 h 1084"/>
              <a:gd name="T104" fmla="*/ 2147483647 w 606"/>
              <a:gd name="T105" fmla="*/ 2147483647 h 1084"/>
              <a:gd name="T106" fmla="*/ 2147483647 w 606"/>
              <a:gd name="T107" fmla="*/ 2147483647 h 1084"/>
              <a:gd name="T108" fmla="*/ 2147483647 w 606"/>
              <a:gd name="T109" fmla="*/ 2147483647 h 1084"/>
              <a:gd name="T110" fmla="*/ 2147483647 w 606"/>
              <a:gd name="T111" fmla="*/ 2147483647 h 1084"/>
              <a:gd name="T112" fmla="*/ 2147483647 w 606"/>
              <a:gd name="T113" fmla="*/ 2147483647 h 108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606"/>
              <a:gd name="T172" fmla="*/ 0 h 1084"/>
              <a:gd name="T173" fmla="*/ 606 w 606"/>
              <a:gd name="T174" fmla="*/ 1084 h 108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606" h="1084">
                <a:moveTo>
                  <a:pt x="172" y="1084"/>
                </a:moveTo>
                <a:lnTo>
                  <a:pt x="158" y="1074"/>
                </a:lnTo>
                <a:lnTo>
                  <a:pt x="143" y="1063"/>
                </a:lnTo>
                <a:lnTo>
                  <a:pt x="129" y="1053"/>
                </a:lnTo>
                <a:lnTo>
                  <a:pt x="116" y="1044"/>
                </a:lnTo>
                <a:lnTo>
                  <a:pt x="112" y="1001"/>
                </a:lnTo>
                <a:lnTo>
                  <a:pt x="108" y="959"/>
                </a:lnTo>
                <a:lnTo>
                  <a:pt x="106" y="919"/>
                </a:lnTo>
                <a:lnTo>
                  <a:pt x="103" y="877"/>
                </a:lnTo>
                <a:lnTo>
                  <a:pt x="90" y="845"/>
                </a:lnTo>
                <a:lnTo>
                  <a:pt x="77" y="811"/>
                </a:lnTo>
                <a:lnTo>
                  <a:pt x="64" y="778"/>
                </a:lnTo>
                <a:lnTo>
                  <a:pt x="51" y="746"/>
                </a:lnTo>
                <a:lnTo>
                  <a:pt x="38" y="712"/>
                </a:lnTo>
                <a:lnTo>
                  <a:pt x="25" y="679"/>
                </a:lnTo>
                <a:lnTo>
                  <a:pt x="13" y="647"/>
                </a:lnTo>
                <a:lnTo>
                  <a:pt x="0" y="614"/>
                </a:lnTo>
                <a:lnTo>
                  <a:pt x="1" y="607"/>
                </a:lnTo>
                <a:lnTo>
                  <a:pt x="3" y="601"/>
                </a:lnTo>
                <a:lnTo>
                  <a:pt x="5" y="595"/>
                </a:lnTo>
                <a:lnTo>
                  <a:pt x="8" y="591"/>
                </a:lnTo>
                <a:lnTo>
                  <a:pt x="16" y="582"/>
                </a:lnTo>
                <a:lnTo>
                  <a:pt x="25" y="575"/>
                </a:lnTo>
                <a:lnTo>
                  <a:pt x="34" y="568"/>
                </a:lnTo>
                <a:lnTo>
                  <a:pt x="43" y="560"/>
                </a:lnTo>
                <a:lnTo>
                  <a:pt x="48" y="556"/>
                </a:lnTo>
                <a:lnTo>
                  <a:pt x="51" y="551"/>
                </a:lnTo>
                <a:lnTo>
                  <a:pt x="55" y="544"/>
                </a:lnTo>
                <a:lnTo>
                  <a:pt x="56" y="538"/>
                </a:lnTo>
                <a:lnTo>
                  <a:pt x="103" y="536"/>
                </a:lnTo>
                <a:lnTo>
                  <a:pt x="147" y="538"/>
                </a:lnTo>
                <a:lnTo>
                  <a:pt x="190" y="540"/>
                </a:lnTo>
                <a:lnTo>
                  <a:pt x="236" y="542"/>
                </a:lnTo>
                <a:lnTo>
                  <a:pt x="249" y="529"/>
                </a:lnTo>
                <a:lnTo>
                  <a:pt x="260" y="514"/>
                </a:lnTo>
                <a:lnTo>
                  <a:pt x="271" y="499"/>
                </a:lnTo>
                <a:lnTo>
                  <a:pt x="280" y="483"/>
                </a:lnTo>
                <a:lnTo>
                  <a:pt x="289" y="466"/>
                </a:lnTo>
                <a:lnTo>
                  <a:pt x="298" y="449"/>
                </a:lnTo>
                <a:lnTo>
                  <a:pt x="307" y="434"/>
                </a:lnTo>
                <a:lnTo>
                  <a:pt x="318" y="418"/>
                </a:lnTo>
                <a:lnTo>
                  <a:pt x="347" y="402"/>
                </a:lnTo>
                <a:lnTo>
                  <a:pt x="376" y="388"/>
                </a:lnTo>
                <a:lnTo>
                  <a:pt x="405" y="372"/>
                </a:lnTo>
                <a:lnTo>
                  <a:pt x="436" y="358"/>
                </a:lnTo>
                <a:lnTo>
                  <a:pt x="435" y="346"/>
                </a:lnTo>
                <a:lnTo>
                  <a:pt x="432" y="336"/>
                </a:lnTo>
                <a:lnTo>
                  <a:pt x="427" y="324"/>
                </a:lnTo>
                <a:lnTo>
                  <a:pt x="423" y="313"/>
                </a:lnTo>
                <a:lnTo>
                  <a:pt x="411" y="291"/>
                </a:lnTo>
                <a:lnTo>
                  <a:pt x="402" y="266"/>
                </a:lnTo>
                <a:lnTo>
                  <a:pt x="387" y="264"/>
                </a:lnTo>
                <a:lnTo>
                  <a:pt x="371" y="263"/>
                </a:lnTo>
                <a:lnTo>
                  <a:pt x="355" y="262"/>
                </a:lnTo>
                <a:lnTo>
                  <a:pt x="341" y="261"/>
                </a:lnTo>
                <a:lnTo>
                  <a:pt x="340" y="251"/>
                </a:lnTo>
                <a:lnTo>
                  <a:pt x="337" y="242"/>
                </a:lnTo>
                <a:lnTo>
                  <a:pt x="333" y="233"/>
                </a:lnTo>
                <a:lnTo>
                  <a:pt x="328" y="225"/>
                </a:lnTo>
                <a:lnTo>
                  <a:pt x="315" y="209"/>
                </a:lnTo>
                <a:lnTo>
                  <a:pt x="301" y="192"/>
                </a:lnTo>
                <a:lnTo>
                  <a:pt x="294" y="184"/>
                </a:lnTo>
                <a:lnTo>
                  <a:pt x="289" y="176"/>
                </a:lnTo>
                <a:lnTo>
                  <a:pt x="284" y="170"/>
                </a:lnTo>
                <a:lnTo>
                  <a:pt x="280" y="162"/>
                </a:lnTo>
                <a:lnTo>
                  <a:pt x="279" y="155"/>
                </a:lnTo>
                <a:lnTo>
                  <a:pt x="279" y="149"/>
                </a:lnTo>
                <a:lnTo>
                  <a:pt x="281" y="142"/>
                </a:lnTo>
                <a:lnTo>
                  <a:pt x="285" y="136"/>
                </a:lnTo>
                <a:lnTo>
                  <a:pt x="282" y="121"/>
                </a:lnTo>
                <a:lnTo>
                  <a:pt x="281" y="107"/>
                </a:lnTo>
                <a:lnTo>
                  <a:pt x="273" y="103"/>
                </a:lnTo>
                <a:lnTo>
                  <a:pt x="268" y="101"/>
                </a:lnTo>
                <a:lnTo>
                  <a:pt x="268" y="95"/>
                </a:lnTo>
                <a:lnTo>
                  <a:pt x="268" y="89"/>
                </a:lnTo>
                <a:lnTo>
                  <a:pt x="285" y="86"/>
                </a:lnTo>
                <a:lnTo>
                  <a:pt x="298" y="84"/>
                </a:lnTo>
                <a:lnTo>
                  <a:pt x="307" y="81"/>
                </a:lnTo>
                <a:lnTo>
                  <a:pt x="314" y="76"/>
                </a:lnTo>
                <a:lnTo>
                  <a:pt x="316" y="73"/>
                </a:lnTo>
                <a:lnTo>
                  <a:pt x="318" y="69"/>
                </a:lnTo>
                <a:lnTo>
                  <a:pt x="319" y="65"/>
                </a:lnTo>
                <a:lnTo>
                  <a:pt x="320" y="60"/>
                </a:lnTo>
                <a:lnTo>
                  <a:pt x="320" y="49"/>
                </a:lnTo>
                <a:lnTo>
                  <a:pt x="318" y="32"/>
                </a:lnTo>
                <a:lnTo>
                  <a:pt x="337" y="32"/>
                </a:lnTo>
                <a:lnTo>
                  <a:pt x="354" y="32"/>
                </a:lnTo>
                <a:lnTo>
                  <a:pt x="367" y="30"/>
                </a:lnTo>
                <a:lnTo>
                  <a:pt x="380" y="28"/>
                </a:lnTo>
                <a:lnTo>
                  <a:pt x="393" y="24"/>
                </a:lnTo>
                <a:lnTo>
                  <a:pt x="406" y="19"/>
                </a:lnTo>
                <a:lnTo>
                  <a:pt x="420" y="11"/>
                </a:lnTo>
                <a:lnTo>
                  <a:pt x="437" y="0"/>
                </a:lnTo>
                <a:lnTo>
                  <a:pt x="452" y="7"/>
                </a:lnTo>
                <a:lnTo>
                  <a:pt x="467" y="12"/>
                </a:lnTo>
                <a:lnTo>
                  <a:pt x="483" y="19"/>
                </a:lnTo>
                <a:lnTo>
                  <a:pt x="498" y="24"/>
                </a:lnTo>
                <a:lnTo>
                  <a:pt x="504" y="37"/>
                </a:lnTo>
                <a:lnTo>
                  <a:pt x="514" y="56"/>
                </a:lnTo>
                <a:lnTo>
                  <a:pt x="527" y="78"/>
                </a:lnTo>
                <a:lnTo>
                  <a:pt x="543" y="102"/>
                </a:lnTo>
                <a:lnTo>
                  <a:pt x="560" y="125"/>
                </a:lnTo>
                <a:lnTo>
                  <a:pt x="576" y="145"/>
                </a:lnTo>
                <a:lnTo>
                  <a:pt x="583" y="153"/>
                </a:lnTo>
                <a:lnTo>
                  <a:pt x="589" y="159"/>
                </a:lnTo>
                <a:lnTo>
                  <a:pt x="596" y="163"/>
                </a:lnTo>
                <a:lnTo>
                  <a:pt x="601" y="166"/>
                </a:lnTo>
                <a:lnTo>
                  <a:pt x="604" y="177"/>
                </a:lnTo>
                <a:lnTo>
                  <a:pt x="606" y="192"/>
                </a:lnTo>
                <a:lnTo>
                  <a:pt x="592" y="192"/>
                </a:lnTo>
                <a:lnTo>
                  <a:pt x="578" y="193"/>
                </a:lnTo>
                <a:lnTo>
                  <a:pt x="563" y="196"/>
                </a:lnTo>
                <a:lnTo>
                  <a:pt x="552" y="199"/>
                </a:lnTo>
                <a:lnTo>
                  <a:pt x="539" y="205"/>
                </a:lnTo>
                <a:lnTo>
                  <a:pt x="527" y="212"/>
                </a:lnTo>
                <a:lnTo>
                  <a:pt x="515" y="222"/>
                </a:lnTo>
                <a:lnTo>
                  <a:pt x="505" y="233"/>
                </a:lnTo>
                <a:lnTo>
                  <a:pt x="514" y="261"/>
                </a:lnTo>
                <a:lnTo>
                  <a:pt x="524" y="288"/>
                </a:lnTo>
                <a:lnTo>
                  <a:pt x="535" y="317"/>
                </a:lnTo>
                <a:lnTo>
                  <a:pt x="545" y="345"/>
                </a:lnTo>
                <a:lnTo>
                  <a:pt x="539" y="379"/>
                </a:lnTo>
                <a:lnTo>
                  <a:pt x="532" y="410"/>
                </a:lnTo>
                <a:lnTo>
                  <a:pt x="530" y="426"/>
                </a:lnTo>
                <a:lnTo>
                  <a:pt x="530" y="440"/>
                </a:lnTo>
                <a:lnTo>
                  <a:pt x="531" y="448"/>
                </a:lnTo>
                <a:lnTo>
                  <a:pt x="532" y="457"/>
                </a:lnTo>
                <a:lnTo>
                  <a:pt x="534" y="465"/>
                </a:lnTo>
                <a:lnTo>
                  <a:pt x="537" y="474"/>
                </a:lnTo>
                <a:lnTo>
                  <a:pt x="547" y="474"/>
                </a:lnTo>
                <a:lnTo>
                  <a:pt x="557" y="474"/>
                </a:lnTo>
                <a:lnTo>
                  <a:pt x="557" y="479"/>
                </a:lnTo>
                <a:lnTo>
                  <a:pt x="557" y="486"/>
                </a:lnTo>
                <a:lnTo>
                  <a:pt x="536" y="492"/>
                </a:lnTo>
                <a:lnTo>
                  <a:pt x="519" y="499"/>
                </a:lnTo>
                <a:lnTo>
                  <a:pt x="511" y="503"/>
                </a:lnTo>
                <a:lnTo>
                  <a:pt x="505" y="508"/>
                </a:lnTo>
                <a:lnTo>
                  <a:pt x="498" y="512"/>
                </a:lnTo>
                <a:lnTo>
                  <a:pt x="492" y="517"/>
                </a:lnTo>
                <a:lnTo>
                  <a:pt x="487" y="523"/>
                </a:lnTo>
                <a:lnTo>
                  <a:pt x="483" y="529"/>
                </a:lnTo>
                <a:lnTo>
                  <a:pt x="479" y="536"/>
                </a:lnTo>
                <a:lnTo>
                  <a:pt x="474" y="544"/>
                </a:lnTo>
                <a:lnTo>
                  <a:pt x="467" y="562"/>
                </a:lnTo>
                <a:lnTo>
                  <a:pt x="461" y="583"/>
                </a:lnTo>
                <a:lnTo>
                  <a:pt x="445" y="591"/>
                </a:lnTo>
                <a:lnTo>
                  <a:pt x="429" y="598"/>
                </a:lnTo>
                <a:lnTo>
                  <a:pt x="415" y="605"/>
                </a:lnTo>
                <a:lnTo>
                  <a:pt x="401" y="612"/>
                </a:lnTo>
                <a:lnTo>
                  <a:pt x="392" y="635"/>
                </a:lnTo>
                <a:lnTo>
                  <a:pt x="384" y="660"/>
                </a:lnTo>
                <a:lnTo>
                  <a:pt x="377" y="685"/>
                </a:lnTo>
                <a:lnTo>
                  <a:pt x="372" y="712"/>
                </a:lnTo>
                <a:lnTo>
                  <a:pt x="368" y="739"/>
                </a:lnTo>
                <a:lnTo>
                  <a:pt x="366" y="767"/>
                </a:lnTo>
                <a:lnTo>
                  <a:pt x="363" y="795"/>
                </a:lnTo>
                <a:lnTo>
                  <a:pt x="362" y="824"/>
                </a:lnTo>
                <a:lnTo>
                  <a:pt x="359" y="881"/>
                </a:lnTo>
                <a:lnTo>
                  <a:pt x="357" y="938"/>
                </a:lnTo>
                <a:lnTo>
                  <a:pt x="355" y="966"/>
                </a:lnTo>
                <a:lnTo>
                  <a:pt x="353" y="993"/>
                </a:lnTo>
                <a:lnTo>
                  <a:pt x="349" y="1020"/>
                </a:lnTo>
                <a:lnTo>
                  <a:pt x="345" y="1045"/>
                </a:lnTo>
                <a:lnTo>
                  <a:pt x="320" y="1046"/>
                </a:lnTo>
                <a:lnTo>
                  <a:pt x="297" y="1046"/>
                </a:lnTo>
                <a:lnTo>
                  <a:pt x="275" y="1048"/>
                </a:lnTo>
                <a:lnTo>
                  <a:pt x="254" y="1050"/>
                </a:lnTo>
                <a:lnTo>
                  <a:pt x="234" y="1055"/>
                </a:lnTo>
                <a:lnTo>
                  <a:pt x="213" y="1062"/>
                </a:lnTo>
                <a:lnTo>
                  <a:pt x="193" y="1071"/>
                </a:lnTo>
                <a:lnTo>
                  <a:pt x="172" y="1084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39" name="Freeform 104"/>
          <p:cNvSpPr>
            <a:spLocks/>
          </p:cNvSpPr>
          <p:nvPr/>
        </p:nvSpPr>
        <p:spPr bwMode="auto">
          <a:xfrm>
            <a:off x="928688" y="4064000"/>
            <a:ext cx="146050" cy="112713"/>
          </a:xfrm>
          <a:custGeom>
            <a:avLst/>
            <a:gdLst>
              <a:gd name="T0" fmla="*/ 2147483647 w 370"/>
              <a:gd name="T1" fmla="*/ 2147483647 h 288"/>
              <a:gd name="T2" fmla="*/ 2147483647 w 370"/>
              <a:gd name="T3" fmla="*/ 2147483647 h 288"/>
              <a:gd name="T4" fmla="*/ 2147483647 w 370"/>
              <a:gd name="T5" fmla="*/ 2147483647 h 288"/>
              <a:gd name="T6" fmla="*/ 2147483647 w 370"/>
              <a:gd name="T7" fmla="*/ 2147483647 h 288"/>
              <a:gd name="T8" fmla="*/ 2147483647 w 370"/>
              <a:gd name="T9" fmla="*/ 2147483647 h 288"/>
              <a:gd name="T10" fmla="*/ 2147483647 w 370"/>
              <a:gd name="T11" fmla="*/ 2147483647 h 288"/>
              <a:gd name="T12" fmla="*/ 2147483647 w 370"/>
              <a:gd name="T13" fmla="*/ 2147483647 h 288"/>
              <a:gd name="T14" fmla="*/ 2147483647 w 370"/>
              <a:gd name="T15" fmla="*/ 2147483647 h 288"/>
              <a:gd name="T16" fmla="*/ 2147483647 w 370"/>
              <a:gd name="T17" fmla="*/ 2147483647 h 288"/>
              <a:gd name="T18" fmla="*/ 2147483647 w 370"/>
              <a:gd name="T19" fmla="*/ 2147483647 h 288"/>
              <a:gd name="T20" fmla="*/ 2147483647 w 370"/>
              <a:gd name="T21" fmla="*/ 2147483647 h 288"/>
              <a:gd name="T22" fmla="*/ 0 w 370"/>
              <a:gd name="T23" fmla="*/ 2147483647 h 288"/>
              <a:gd name="T24" fmla="*/ 2147483647 w 370"/>
              <a:gd name="T25" fmla="*/ 2147483647 h 288"/>
              <a:gd name="T26" fmla="*/ 2147483647 w 370"/>
              <a:gd name="T27" fmla="*/ 2147483647 h 288"/>
              <a:gd name="T28" fmla="*/ 2147483647 w 370"/>
              <a:gd name="T29" fmla="*/ 2147483647 h 288"/>
              <a:gd name="T30" fmla="*/ 2147483647 w 370"/>
              <a:gd name="T31" fmla="*/ 2147483647 h 288"/>
              <a:gd name="T32" fmla="*/ 2147483647 w 370"/>
              <a:gd name="T33" fmla="*/ 2147483647 h 288"/>
              <a:gd name="T34" fmla="*/ 2147483647 w 370"/>
              <a:gd name="T35" fmla="*/ 2147483647 h 288"/>
              <a:gd name="T36" fmla="*/ 2147483647 w 370"/>
              <a:gd name="T37" fmla="*/ 2147483647 h 288"/>
              <a:gd name="T38" fmla="*/ 2147483647 w 370"/>
              <a:gd name="T39" fmla="*/ 2147483647 h 288"/>
              <a:gd name="T40" fmla="*/ 2147483647 w 370"/>
              <a:gd name="T41" fmla="*/ 2147483647 h 288"/>
              <a:gd name="T42" fmla="*/ 2147483647 w 370"/>
              <a:gd name="T43" fmla="*/ 2147483647 h 288"/>
              <a:gd name="T44" fmla="*/ 2147483647 w 370"/>
              <a:gd name="T45" fmla="*/ 2147483647 h 288"/>
              <a:gd name="T46" fmla="*/ 2147483647 w 370"/>
              <a:gd name="T47" fmla="*/ 2147483647 h 288"/>
              <a:gd name="T48" fmla="*/ 2147483647 w 370"/>
              <a:gd name="T49" fmla="*/ 2147483647 h 288"/>
              <a:gd name="T50" fmla="*/ 2147483647 w 370"/>
              <a:gd name="T51" fmla="*/ 2147483647 h 288"/>
              <a:gd name="T52" fmla="*/ 2147483647 w 370"/>
              <a:gd name="T53" fmla="*/ 2147483647 h 288"/>
              <a:gd name="T54" fmla="*/ 2147483647 w 370"/>
              <a:gd name="T55" fmla="*/ 2147483647 h 288"/>
              <a:gd name="T56" fmla="*/ 2147483647 w 370"/>
              <a:gd name="T57" fmla="*/ 2147483647 h 288"/>
              <a:gd name="T58" fmla="*/ 2147483647 w 370"/>
              <a:gd name="T59" fmla="*/ 2147483647 h 288"/>
              <a:gd name="T60" fmla="*/ 2147483647 w 370"/>
              <a:gd name="T61" fmla="*/ 2147483647 h 288"/>
              <a:gd name="T62" fmla="*/ 2147483647 w 370"/>
              <a:gd name="T63" fmla="*/ 2147483647 h 288"/>
              <a:gd name="T64" fmla="*/ 2147483647 w 370"/>
              <a:gd name="T65" fmla="*/ 2147483647 h 288"/>
              <a:gd name="T66" fmla="*/ 2147483647 w 370"/>
              <a:gd name="T67" fmla="*/ 2147483647 h 288"/>
              <a:gd name="T68" fmla="*/ 2147483647 w 370"/>
              <a:gd name="T69" fmla="*/ 2147483647 h 288"/>
              <a:gd name="T70" fmla="*/ 2147483647 w 370"/>
              <a:gd name="T71" fmla="*/ 2147483647 h 288"/>
              <a:gd name="T72" fmla="*/ 2147483647 w 370"/>
              <a:gd name="T73" fmla="*/ 2147483647 h 288"/>
              <a:gd name="T74" fmla="*/ 2147483647 w 370"/>
              <a:gd name="T75" fmla="*/ 2147483647 h 288"/>
              <a:gd name="T76" fmla="*/ 2147483647 w 370"/>
              <a:gd name="T77" fmla="*/ 2147483647 h 28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370"/>
              <a:gd name="T118" fmla="*/ 0 h 288"/>
              <a:gd name="T119" fmla="*/ 370 w 370"/>
              <a:gd name="T120" fmla="*/ 288 h 288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370" h="288">
                <a:moveTo>
                  <a:pt x="197" y="288"/>
                </a:moveTo>
                <a:lnTo>
                  <a:pt x="193" y="275"/>
                </a:lnTo>
                <a:lnTo>
                  <a:pt x="188" y="264"/>
                </a:lnTo>
                <a:lnTo>
                  <a:pt x="180" y="255"/>
                </a:lnTo>
                <a:lnTo>
                  <a:pt x="172" y="247"/>
                </a:lnTo>
                <a:lnTo>
                  <a:pt x="163" y="242"/>
                </a:lnTo>
                <a:lnTo>
                  <a:pt x="153" y="237"/>
                </a:lnTo>
                <a:lnTo>
                  <a:pt x="142" y="233"/>
                </a:lnTo>
                <a:lnTo>
                  <a:pt x="130" y="230"/>
                </a:lnTo>
                <a:lnTo>
                  <a:pt x="107" y="228"/>
                </a:lnTo>
                <a:lnTo>
                  <a:pt x="82" y="228"/>
                </a:lnTo>
                <a:lnTo>
                  <a:pt x="59" y="229"/>
                </a:lnTo>
                <a:lnTo>
                  <a:pt x="37" y="229"/>
                </a:lnTo>
                <a:lnTo>
                  <a:pt x="30" y="211"/>
                </a:lnTo>
                <a:lnTo>
                  <a:pt x="26" y="193"/>
                </a:lnTo>
                <a:lnTo>
                  <a:pt x="24" y="174"/>
                </a:lnTo>
                <a:lnTo>
                  <a:pt x="22" y="158"/>
                </a:lnTo>
                <a:lnTo>
                  <a:pt x="20" y="141"/>
                </a:lnTo>
                <a:lnTo>
                  <a:pt x="16" y="124"/>
                </a:lnTo>
                <a:lnTo>
                  <a:pt x="13" y="116"/>
                </a:lnTo>
                <a:lnTo>
                  <a:pt x="11" y="107"/>
                </a:lnTo>
                <a:lnTo>
                  <a:pt x="6" y="98"/>
                </a:lnTo>
                <a:lnTo>
                  <a:pt x="0" y="89"/>
                </a:lnTo>
                <a:lnTo>
                  <a:pt x="0" y="72"/>
                </a:lnTo>
                <a:lnTo>
                  <a:pt x="3" y="56"/>
                </a:lnTo>
                <a:lnTo>
                  <a:pt x="16" y="61"/>
                </a:lnTo>
                <a:lnTo>
                  <a:pt x="28" y="65"/>
                </a:lnTo>
                <a:lnTo>
                  <a:pt x="39" y="68"/>
                </a:lnTo>
                <a:lnTo>
                  <a:pt x="48" y="70"/>
                </a:lnTo>
                <a:lnTo>
                  <a:pt x="59" y="70"/>
                </a:lnTo>
                <a:lnTo>
                  <a:pt x="67" y="70"/>
                </a:lnTo>
                <a:lnTo>
                  <a:pt x="76" y="70"/>
                </a:lnTo>
                <a:lnTo>
                  <a:pt x="84" y="69"/>
                </a:lnTo>
                <a:lnTo>
                  <a:pt x="119" y="61"/>
                </a:lnTo>
                <a:lnTo>
                  <a:pt x="164" y="52"/>
                </a:lnTo>
                <a:lnTo>
                  <a:pt x="190" y="63"/>
                </a:lnTo>
                <a:lnTo>
                  <a:pt x="218" y="72"/>
                </a:lnTo>
                <a:lnTo>
                  <a:pt x="232" y="76"/>
                </a:lnTo>
                <a:lnTo>
                  <a:pt x="246" y="76"/>
                </a:lnTo>
                <a:lnTo>
                  <a:pt x="254" y="76"/>
                </a:lnTo>
                <a:lnTo>
                  <a:pt x="261" y="74"/>
                </a:lnTo>
                <a:lnTo>
                  <a:pt x="267" y="73"/>
                </a:lnTo>
                <a:lnTo>
                  <a:pt x="274" y="70"/>
                </a:lnTo>
                <a:lnTo>
                  <a:pt x="276" y="56"/>
                </a:lnTo>
                <a:lnTo>
                  <a:pt x="280" y="42"/>
                </a:lnTo>
                <a:lnTo>
                  <a:pt x="283" y="29"/>
                </a:lnTo>
                <a:lnTo>
                  <a:pt x="285" y="16"/>
                </a:lnTo>
                <a:lnTo>
                  <a:pt x="300" y="8"/>
                </a:lnTo>
                <a:lnTo>
                  <a:pt x="314" y="0"/>
                </a:lnTo>
                <a:lnTo>
                  <a:pt x="327" y="8"/>
                </a:lnTo>
                <a:lnTo>
                  <a:pt x="337" y="14"/>
                </a:lnTo>
                <a:lnTo>
                  <a:pt x="346" y="22"/>
                </a:lnTo>
                <a:lnTo>
                  <a:pt x="353" y="29"/>
                </a:lnTo>
                <a:lnTo>
                  <a:pt x="358" y="37"/>
                </a:lnTo>
                <a:lnTo>
                  <a:pt x="363" y="46"/>
                </a:lnTo>
                <a:lnTo>
                  <a:pt x="367" y="57"/>
                </a:lnTo>
                <a:lnTo>
                  <a:pt x="370" y="70"/>
                </a:lnTo>
                <a:lnTo>
                  <a:pt x="344" y="76"/>
                </a:lnTo>
                <a:lnTo>
                  <a:pt x="318" y="82"/>
                </a:lnTo>
                <a:lnTo>
                  <a:pt x="293" y="89"/>
                </a:lnTo>
                <a:lnTo>
                  <a:pt x="268" y="95"/>
                </a:lnTo>
                <a:lnTo>
                  <a:pt x="263" y="111"/>
                </a:lnTo>
                <a:lnTo>
                  <a:pt x="261" y="128"/>
                </a:lnTo>
                <a:lnTo>
                  <a:pt x="254" y="128"/>
                </a:lnTo>
                <a:lnTo>
                  <a:pt x="249" y="128"/>
                </a:lnTo>
                <a:lnTo>
                  <a:pt x="251" y="151"/>
                </a:lnTo>
                <a:lnTo>
                  <a:pt x="254" y="174"/>
                </a:lnTo>
                <a:lnTo>
                  <a:pt x="254" y="187"/>
                </a:lnTo>
                <a:lnTo>
                  <a:pt x="254" y="199"/>
                </a:lnTo>
                <a:lnTo>
                  <a:pt x="253" y="210"/>
                </a:lnTo>
                <a:lnTo>
                  <a:pt x="251" y="221"/>
                </a:lnTo>
                <a:lnTo>
                  <a:pt x="248" y="232"/>
                </a:lnTo>
                <a:lnTo>
                  <a:pt x="245" y="242"/>
                </a:lnTo>
                <a:lnTo>
                  <a:pt x="240" y="251"/>
                </a:lnTo>
                <a:lnTo>
                  <a:pt x="233" y="260"/>
                </a:lnTo>
                <a:lnTo>
                  <a:pt x="227" y="268"/>
                </a:lnTo>
                <a:lnTo>
                  <a:pt x="218" y="276"/>
                </a:lnTo>
                <a:lnTo>
                  <a:pt x="208" y="282"/>
                </a:lnTo>
                <a:lnTo>
                  <a:pt x="197" y="288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2932840" name="Group 105"/>
          <p:cNvGrpSpPr>
            <a:grpSpLocks/>
          </p:cNvGrpSpPr>
          <p:nvPr/>
        </p:nvGrpSpPr>
        <p:grpSpPr bwMode="auto">
          <a:xfrm>
            <a:off x="3533775" y="1849438"/>
            <a:ext cx="4614863" cy="3605212"/>
            <a:chOff x="2050" y="1165"/>
            <a:chExt cx="2907" cy="2271"/>
          </a:xfrm>
        </p:grpSpPr>
        <p:sp>
          <p:nvSpPr>
            <p:cNvPr id="2932871" name="Freeform 106"/>
            <p:cNvSpPr>
              <a:spLocks/>
            </p:cNvSpPr>
            <p:nvPr/>
          </p:nvSpPr>
          <p:spPr bwMode="auto">
            <a:xfrm>
              <a:off x="4456" y="2945"/>
              <a:ext cx="275" cy="491"/>
            </a:xfrm>
            <a:custGeom>
              <a:avLst/>
              <a:gdLst>
                <a:gd name="T0" fmla="*/ 0 w 1101"/>
                <a:gd name="T1" fmla="*/ 0 h 1964"/>
                <a:gd name="T2" fmla="*/ 0 w 1101"/>
                <a:gd name="T3" fmla="*/ 0 h 1964"/>
                <a:gd name="T4" fmla="*/ 0 w 1101"/>
                <a:gd name="T5" fmla="*/ 0 h 1964"/>
                <a:gd name="T6" fmla="*/ 0 w 1101"/>
                <a:gd name="T7" fmla="*/ 0 h 1964"/>
                <a:gd name="T8" fmla="*/ 0 w 1101"/>
                <a:gd name="T9" fmla="*/ 0 h 1964"/>
                <a:gd name="T10" fmla="*/ 0 w 1101"/>
                <a:gd name="T11" fmla="*/ 0 h 1964"/>
                <a:gd name="T12" fmla="*/ 0 w 1101"/>
                <a:gd name="T13" fmla="*/ 0 h 1964"/>
                <a:gd name="T14" fmla="*/ 0 w 1101"/>
                <a:gd name="T15" fmla="*/ 0 h 1964"/>
                <a:gd name="T16" fmla="*/ 0 w 1101"/>
                <a:gd name="T17" fmla="*/ 0 h 1964"/>
                <a:gd name="T18" fmla="*/ 0 w 1101"/>
                <a:gd name="T19" fmla="*/ 0 h 1964"/>
                <a:gd name="T20" fmla="*/ 0 w 1101"/>
                <a:gd name="T21" fmla="*/ 0 h 1964"/>
                <a:gd name="T22" fmla="*/ 0 w 1101"/>
                <a:gd name="T23" fmla="*/ 0 h 1964"/>
                <a:gd name="T24" fmla="*/ 0 w 1101"/>
                <a:gd name="T25" fmla="*/ 0 h 1964"/>
                <a:gd name="T26" fmla="*/ 0 w 1101"/>
                <a:gd name="T27" fmla="*/ 0 h 1964"/>
                <a:gd name="T28" fmla="*/ 0 w 1101"/>
                <a:gd name="T29" fmla="*/ 0 h 1964"/>
                <a:gd name="T30" fmla="*/ 0 w 1101"/>
                <a:gd name="T31" fmla="*/ 0 h 1964"/>
                <a:gd name="T32" fmla="*/ 0 w 1101"/>
                <a:gd name="T33" fmla="*/ 0 h 1964"/>
                <a:gd name="T34" fmla="*/ 0 w 1101"/>
                <a:gd name="T35" fmla="*/ 0 h 1964"/>
                <a:gd name="T36" fmla="*/ 0 w 1101"/>
                <a:gd name="T37" fmla="*/ 0 h 1964"/>
                <a:gd name="T38" fmla="*/ 0 w 1101"/>
                <a:gd name="T39" fmla="*/ 0 h 1964"/>
                <a:gd name="T40" fmla="*/ 0 w 1101"/>
                <a:gd name="T41" fmla="*/ 0 h 1964"/>
                <a:gd name="T42" fmla="*/ 0 w 1101"/>
                <a:gd name="T43" fmla="*/ 0 h 1964"/>
                <a:gd name="T44" fmla="*/ 0 w 1101"/>
                <a:gd name="T45" fmla="*/ 0 h 1964"/>
                <a:gd name="T46" fmla="*/ 0 w 1101"/>
                <a:gd name="T47" fmla="*/ 0 h 1964"/>
                <a:gd name="T48" fmla="*/ 0 w 1101"/>
                <a:gd name="T49" fmla="*/ 0 h 1964"/>
                <a:gd name="T50" fmla="*/ 0 w 1101"/>
                <a:gd name="T51" fmla="*/ 0 h 1964"/>
                <a:gd name="T52" fmla="*/ 0 w 1101"/>
                <a:gd name="T53" fmla="*/ 0 h 1964"/>
                <a:gd name="T54" fmla="*/ 0 w 1101"/>
                <a:gd name="T55" fmla="*/ 0 h 1964"/>
                <a:gd name="T56" fmla="*/ 0 w 1101"/>
                <a:gd name="T57" fmla="*/ 0 h 1964"/>
                <a:gd name="T58" fmla="*/ 0 w 1101"/>
                <a:gd name="T59" fmla="*/ 0 h 1964"/>
                <a:gd name="T60" fmla="*/ 0 w 1101"/>
                <a:gd name="T61" fmla="*/ 0 h 1964"/>
                <a:gd name="T62" fmla="*/ 0 w 1101"/>
                <a:gd name="T63" fmla="*/ 0 h 1964"/>
                <a:gd name="T64" fmla="*/ 0 w 1101"/>
                <a:gd name="T65" fmla="*/ 0 h 1964"/>
                <a:gd name="T66" fmla="*/ 0 w 1101"/>
                <a:gd name="T67" fmla="*/ 0 h 1964"/>
                <a:gd name="T68" fmla="*/ 0 w 1101"/>
                <a:gd name="T69" fmla="*/ 0 h 1964"/>
                <a:gd name="T70" fmla="*/ 0 w 1101"/>
                <a:gd name="T71" fmla="*/ 0 h 1964"/>
                <a:gd name="T72" fmla="*/ 0 w 1101"/>
                <a:gd name="T73" fmla="*/ 0 h 1964"/>
                <a:gd name="T74" fmla="*/ 0 w 1101"/>
                <a:gd name="T75" fmla="*/ 0 h 1964"/>
                <a:gd name="T76" fmla="*/ 0 w 1101"/>
                <a:gd name="T77" fmla="*/ 0 h 1964"/>
                <a:gd name="T78" fmla="*/ 0 w 1101"/>
                <a:gd name="T79" fmla="*/ 0 h 1964"/>
                <a:gd name="T80" fmla="*/ 0 w 1101"/>
                <a:gd name="T81" fmla="*/ 0 h 1964"/>
                <a:gd name="T82" fmla="*/ 0 w 1101"/>
                <a:gd name="T83" fmla="*/ 0 h 1964"/>
                <a:gd name="T84" fmla="*/ 0 w 1101"/>
                <a:gd name="T85" fmla="*/ 0 h 1964"/>
                <a:gd name="T86" fmla="*/ 0 w 1101"/>
                <a:gd name="T87" fmla="*/ 0 h 1964"/>
                <a:gd name="T88" fmla="*/ 0 w 1101"/>
                <a:gd name="T89" fmla="*/ 0 h 1964"/>
                <a:gd name="T90" fmla="*/ 0 w 1101"/>
                <a:gd name="T91" fmla="*/ 0 h 1964"/>
                <a:gd name="T92" fmla="*/ 0 w 1101"/>
                <a:gd name="T93" fmla="*/ 0 h 1964"/>
                <a:gd name="T94" fmla="*/ 0 w 1101"/>
                <a:gd name="T95" fmla="*/ 0 h 1964"/>
                <a:gd name="T96" fmla="*/ 0 w 1101"/>
                <a:gd name="T97" fmla="*/ 0 h 1964"/>
                <a:gd name="T98" fmla="*/ 0 w 1101"/>
                <a:gd name="T99" fmla="*/ 0 h 1964"/>
                <a:gd name="T100" fmla="*/ 0 w 1101"/>
                <a:gd name="T101" fmla="*/ 0 h 1964"/>
                <a:gd name="T102" fmla="*/ 0 w 1101"/>
                <a:gd name="T103" fmla="*/ 0 h 1964"/>
                <a:gd name="T104" fmla="*/ 0 w 1101"/>
                <a:gd name="T105" fmla="*/ 0 h 1964"/>
                <a:gd name="T106" fmla="*/ 0 w 1101"/>
                <a:gd name="T107" fmla="*/ 0 h 1964"/>
                <a:gd name="T108" fmla="*/ 0 w 1101"/>
                <a:gd name="T109" fmla="*/ 0 h 196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01"/>
                <a:gd name="T166" fmla="*/ 0 h 1964"/>
                <a:gd name="T167" fmla="*/ 1101 w 1101"/>
                <a:gd name="T168" fmla="*/ 1964 h 196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01" h="1964">
                  <a:moveTo>
                    <a:pt x="30" y="1964"/>
                  </a:moveTo>
                  <a:lnTo>
                    <a:pt x="28" y="1954"/>
                  </a:lnTo>
                  <a:lnTo>
                    <a:pt x="28" y="1946"/>
                  </a:lnTo>
                  <a:lnTo>
                    <a:pt x="29" y="1940"/>
                  </a:lnTo>
                  <a:lnTo>
                    <a:pt x="34" y="1929"/>
                  </a:lnTo>
                  <a:lnTo>
                    <a:pt x="59" y="1916"/>
                  </a:lnTo>
                  <a:lnTo>
                    <a:pt x="80" y="1903"/>
                  </a:lnTo>
                  <a:lnTo>
                    <a:pt x="90" y="1897"/>
                  </a:lnTo>
                  <a:lnTo>
                    <a:pt x="98" y="1889"/>
                  </a:lnTo>
                  <a:lnTo>
                    <a:pt x="106" y="1882"/>
                  </a:lnTo>
                  <a:lnTo>
                    <a:pt x="112" y="1875"/>
                  </a:lnTo>
                  <a:lnTo>
                    <a:pt x="117" y="1866"/>
                  </a:lnTo>
                  <a:lnTo>
                    <a:pt x="123" y="1858"/>
                  </a:lnTo>
                  <a:lnTo>
                    <a:pt x="127" y="1847"/>
                  </a:lnTo>
                  <a:lnTo>
                    <a:pt x="130" y="1837"/>
                  </a:lnTo>
                  <a:lnTo>
                    <a:pt x="132" y="1825"/>
                  </a:lnTo>
                  <a:lnTo>
                    <a:pt x="134" y="1813"/>
                  </a:lnTo>
                  <a:lnTo>
                    <a:pt x="136" y="1799"/>
                  </a:lnTo>
                  <a:lnTo>
                    <a:pt x="136" y="1785"/>
                  </a:lnTo>
                  <a:lnTo>
                    <a:pt x="117" y="1737"/>
                  </a:lnTo>
                  <a:lnTo>
                    <a:pt x="102" y="1687"/>
                  </a:lnTo>
                  <a:lnTo>
                    <a:pt x="86" y="1639"/>
                  </a:lnTo>
                  <a:lnTo>
                    <a:pt x="71" y="1590"/>
                  </a:lnTo>
                  <a:lnTo>
                    <a:pt x="55" y="1542"/>
                  </a:lnTo>
                  <a:lnTo>
                    <a:pt x="38" y="1493"/>
                  </a:lnTo>
                  <a:lnTo>
                    <a:pt x="21" y="1445"/>
                  </a:lnTo>
                  <a:lnTo>
                    <a:pt x="0" y="1399"/>
                  </a:lnTo>
                  <a:lnTo>
                    <a:pt x="2" y="1382"/>
                  </a:lnTo>
                  <a:lnTo>
                    <a:pt x="4" y="1369"/>
                  </a:lnTo>
                  <a:lnTo>
                    <a:pt x="9" y="1357"/>
                  </a:lnTo>
                  <a:lnTo>
                    <a:pt x="15" y="1348"/>
                  </a:lnTo>
                  <a:lnTo>
                    <a:pt x="22" y="1339"/>
                  </a:lnTo>
                  <a:lnTo>
                    <a:pt x="33" y="1330"/>
                  </a:lnTo>
                  <a:lnTo>
                    <a:pt x="43" y="1320"/>
                  </a:lnTo>
                  <a:lnTo>
                    <a:pt x="56" y="1310"/>
                  </a:lnTo>
                  <a:lnTo>
                    <a:pt x="59" y="1289"/>
                  </a:lnTo>
                  <a:lnTo>
                    <a:pt x="60" y="1270"/>
                  </a:lnTo>
                  <a:lnTo>
                    <a:pt x="63" y="1249"/>
                  </a:lnTo>
                  <a:lnTo>
                    <a:pt x="67" y="1229"/>
                  </a:lnTo>
                  <a:lnTo>
                    <a:pt x="93" y="1218"/>
                  </a:lnTo>
                  <a:lnTo>
                    <a:pt x="121" y="1206"/>
                  </a:lnTo>
                  <a:lnTo>
                    <a:pt x="136" y="1199"/>
                  </a:lnTo>
                  <a:lnTo>
                    <a:pt x="151" y="1194"/>
                  </a:lnTo>
                  <a:lnTo>
                    <a:pt x="166" y="1190"/>
                  </a:lnTo>
                  <a:lnTo>
                    <a:pt x="181" y="1186"/>
                  </a:lnTo>
                  <a:lnTo>
                    <a:pt x="196" y="1184"/>
                  </a:lnTo>
                  <a:lnTo>
                    <a:pt x="210" y="1183"/>
                  </a:lnTo>
                  <a:lnTo>
                    <a:pt x="224" y="1183"/>
                  </a:lnTo>
                  <a:lnTo>
                    <a:pt x="238" y="1184"/>
                  </a:lnTo>
                  <a:lnTo>
                    <a:pt x="251" y="1188"/>
                  </a:lnTo>
                  <a:lnTo>
                    <a:pt x="264" y="1194"/>
                  </a:lnTo>
                  <a:lnTo>
                    <a:pt x="277" y="1202"/>
                  </a:lnTo>
                  <a:lnTo>
                    <a:pt x="289" y="1211"/>
                  </a:lnTo>
                  <a:lnTo>
                    <a:pt x="304" y="1209"/>
                  </a:lnTo>
                  <a:lnTo>
                    <a:pt x="318" y="1209"/>
                  </a:lnTo>
                  <a:lnTo>
                    <a:pt x="322" y="1197"/>
                  </a:lnTo>
                  <a:lnTo>
                    <a:pt x="323" y="1186"/>
                  </a:lnTo>
                  <a:lnTo>
                    <a:pt x="322" y="1175"/>
                  </a:lnTo>
                  <a:lnTo>
                    <a:pt x="320" y="1164"/>
                  </a:lnTo>
                  <a:lnTo>
                    <a:pt x="314" y="1141"/>
                  </a:lnTo>
                  <a:lnTo>
                    <a:pt x="309" y="1118"/>
                  </a:lnTo>
                  <a:lnTo>
                    <a:pt x="318" y="1101"/>
                  </a:lnTo>
                  <a:lnTo>
                    <a:pt x="327" y="1084"/>
                  </a:lnTo>
                  <a:lnTo>
                    <a:pt x="337" y="1068"/>
                  </a:lnTo>
                  <a:lnTo>
                    <a:pt x="348" y="1052"/>
                  </a:lnTo>
                  <a:lnTo>
                    <a:pt x="348" y="1010"/>
                  </a:lnTo>
                  <a:lnTo>
                    <a:pt x="348" y="965"/>
                  </a:lnTo>
                  <a:lnTo>
                    <a:pt x="349" y="921"/>
                  </a:lnTo>
                  <a:lnTo>
                    <a:pt x="349" y="877"/>
                  </a:lnTo>
                  <a:lnTo>
                    <a:pt x="349" y="834"/>
                  </a:lnTo>
                  <a:lnTo>
                    <a:pt x="348" y="790"/>
                  </a:lnTo>
                  <a:lnTo>
                    <a:pt x="344" y="747"/>
                  </a:lnTo>
                  <a:lnTo>
                    <a:pt x="337" y="704"/>
                  </a:lnTo>
                  <a:lnTo>
                    <a:pt x="346" y="700"/>
                  </a:lnTo>
                  <a:lnTo>
                    <a:pt x="354" y="695"/>
                  </a:lnTo>
                  <a:lnTo>
                    <a:pt x="361" y="688"/>
                  </a:lnTo>
                  <a:lnTo>
                    <a:pt x="367" y="683"/>
                  </a:lnTo>
                  <a:lnTo>
                    <a:pt x="378" y="670"/>
                  </a:lnTo>
                  <a:lnTo>
                    <a:pt x="387" y="657"/>
                  </a:lnTo>
                  <a:lnTo>
                    <a:pt x="400" y="628"/>
                  </a:lnTo>
                  <a:lnTo>
                    <a:pt x="410" y="598"/>
                  </a:lnTo>
                  <a:lnTo>
                    <a:pt x="415" y="585"/>
                  </a:lnTo>
                  <a:lnTo>
                    <a:pt x="422" y="572"/>
                  </a:lnTo>
                  <a:lnTo>
                    <a:pt x="430" y="561"/>
                  </a:lnTo>
                  <a:lnTo>
                    <a:pt x="439" y="549"/>
                  </a:lnTo>
                  <a:lnTo>
                    <a:pt x="444" y="545"/>
                  </a:lnTo>
                  <a:lnTo>
                    <a:pt x="451" y="541"/>
                  </a:lnTo>
                  <a:lnTo>
                    <a:pt x="457" y="537"/>
                  </a:lnTo>
                  <a:lnTo>
                    <a:pt x="465" y="533"/>
                  </a:lnTo>
                  <a:lnTo>
                    <a:pt x="474" y="531"/>
                  </a:lnTo>
                  <a:lnTo>
                    <a:pt x="483" y="529"/>
                  </a:lnTo>
                  <a:lnTo>
                    <a:pt x="493" y="528"/>
                  </a:lnTo>
                  <a:lnTo>
                    <a:pt x="505" y="527"/>
                  </a:lnTo>
                  <a:lnTo>
                    <a:pt x="506" y="553"/>
                  </a:lnTo>
                  <a:lnTo>
                    <a:pt x="508" y="569"/>
                  </a:lnTo>
                  <a:lnTo>
                    <a:pt x="510" y="580"/>
                  </a:lnTo>
                  <a:lnTo>
                    <a:pt x="514" y="592"/>
                  </a:lnTo>
                  <a:lnTo>
                    <a:pt x="532" y="591"/>
                  </a:lnTo>
                  <a:lnTo>
                    <a:pt x="551" y="591"/>
                  </a:lnTo>
                  <a:lnTo>
                    <a:pt x="557" y="579"/>
                  </a:lnTo>
                  <a:lnTo>
                    <a:pt x="562" y="567"/>
                  </a:lnTo>
                  <a:lnTo>
                    <a:pt x="569" y="557"/>
                  </a:lnTo>
                  <a:lnTo>
                    <a:pt x="574" y="546"/>
                  </a:lnTo>
                  <a:lnTo>
                    <a:pt x="587" y="550"/>
                  </a:lnTo>
                  <a:lnTo>
                    <a:pt x="601" y="552"/>
                  </a:lnTo>
                  <a:lnTo>
                    <a:pt x="616" y="553"/>
                  </a:lnTo>
                  <a:lnTo>
                    <a:pt x="630" y="552"/>
                  </a:lnTo>
                  <a:lnTo>
                    <a:pt x="644" y="550"/>
                  </a:lnTo>
                  <a:lnTo>
                    <a:pt x="660" y="548"/>
                  </a:lnTo>
                  <a:lnTo>
                    <a:pt x="674" y="544"/>
                  </a:lnTo>
                  <a:lnTo>
                    <a:pt x="689" y="539"/>
                  </a:lnTo>
                  <a:lnTo>
                    <a:pt x="703" y="532"/>
                  </a:lnTo>
                  <a:lnTo>
                    <a:pt x="717" y="526"/>
                  </a:lnTo>
                  <a:lnTo>
                    <a:pt x="730" y="519"/>
                  </a:lnTo>
                  <a:lnTo>
                    <a:pt x="743" y="511"/>
                  </a:lnTo>
                  <a:lnTo>
                    <a:pt x="756" y="503"/>
                  </a:lnTo>
                  <a:lnTo>
                    <a:pt x="768" y="494"/>
                  </a:lnTo>
                  <a:lnTo>
                    <a:pt x="778" y="487"/>
                  </a:lnTo>
                  <a:lnTo>
                    <a:pt x="787" y="477"/>
                  </a:lnTo>
                  <a:lnTo>
                    <a:pt x="787" y="455"/>
                  </a:lnTo>
                  <a:lnTo>
                    <a:pt x="789" y="433"/>
                  </a:lnTo>
                  <a:lnTo>
                    <a:pt x="790" y="412"/>
                  </a:lnTo>
                  <a:lnTo>
                    <a:pt x="791" y="390"/>
                  </a:lnTo>
                  <a:lnTo>
                    <a:pt x="807" y="382"/>
                  </a:lnTo>
                  <a:lnTo>
                    <a:pt x="819" y="376"/>
                  </a:lnTo>
                  <a:lnTo>
                    <a:pt x="829" y="369"/>
                  </a:lnTo>
                  <a:lnTo>
                    <a:pt x="837" y="362"/>
                  </a:lnTo>
                  <a:lnTo>
                    <a:pt x="845" y="354"/>
                  </a:lnTo>
                  <a:lnTo>
                    <a:pt x="850" y="343"/>
                  </a:lnTo>
                  <a:lnTo>
                    <a:pt x="856" y="330"/>
                  </a:lnTo>
                  <a:lnTo>
                    <a:pt x="863" y="316"/>
                  </a:lnTo>
                  <a:lnTo>
                    <a:pt x="875" y="310"/>
                  </a:lnTo>
                  <a:lnTo>
                    <a:pt x="885" y="306"/>
                  </a:lnTo>
                  <a:lnTo>
                    <a:pt x="897" y="301"/>
                  </a:lnTo>
                  <a:lnTo>
                    <a:pt x="908" y="297"/>
                  </a:lnTo>
                  <a:lnTo>
                    <a:pt x="907" y="276"/>
                  </a:lnTo>
                  <a:lnTo>
                    <a:pt x="907" y="256"/>
                  </a:lnTo>
                  <a:lnTo>
                    <a:pt x="907" y="235"/>
                  </a:lnTo>
                  <a:lnTo>
                    <a:pt x="907" y="216"/>
                  </a:lnTo>
                  <a:lnTo>
                    <a:pt x="895" y="208"/>
                  </a:lnTo>
                  <a:lnTo>
                    <a:pt x="885" y="203"/>
                  </a:lnTo>
                  <a:lnTo>
                    <a:pt x="876" y="200"/>
                  </a:lnTo>
                  <a:lnTo>
                    <a:pt x="866" y="199"/>
                  </a:lnTo>
                  <a:lnTo>
                    <a:pt x="845" y="199"/>
                  </a:lnTo>
                  <a:lnTo>
                    <a:pt x="819" y="200"/>
                  </a:lnTo>
                  <a:lnTo>
                    <a:pt x="816" y="186"/>
                  </a:lnTo>
                  <a:lnTo>
                    <a:pt x="812" y="173"/>
                  </a:lnTo>
                  <a:lnTo>
                    <a:pt x="810" y="167"/>
                  </a:lnTo>
                  <a:lnTo>
                    <a:pt x="807" y="161"/>
                  </a:lnTo>
                  <a:lnTo>
                    <a:pt x="802" y="156"/>
                  </a:lnTo>
                  <a:lnTo>
                    <a:pt x="797" y="152"/>
                  </a:lnTo>
                  <a:lnTo>
                    <a:pt x="797" y="141"/>
                  </a:lnTo>
                  <a:lnTo>
                    <a:pt x="797" y="129"/>
                  </a:lnTo>
                  <a:lnTo>
                    <a:pt x="797" y="118"/>
                  </a:lnTo>
                  <a:lnTo>
                    <a:pt x="797" y="108"/>
                  </a:lnTo>
                  <a:lnTo>
                    <a:pt x="808" y="104"/>
                  </a:lnTo>
                  <a:lnTo>
                    <a:pt x="817" y="100"/>
                  </a:lnTo>
                  <a:lnTo>
                    <a:pt x="827" y="94"/>
                  </a:lnTo>
                  <a:lnTo>
                    <a:pt x="833" y="86"/>
                  </a:lnTo>
                  <a:lnTo>
                    <a:pt x="846" y="68"/>
                  </a:lnTo>
                  <a:lnTo>
                    <a:pt x="856" y="48"/>
                  </a:lnTo>
                  <a:lnTo>
                    <a:pt x="863" y="39"/>
                  </a:lnTo>
                  <a:lnTo>
                    <a:pt x="868" y="30"/>
                  </a:lnTo>
                  <a:lnTo>
                    <a:pt x="875" y="21"/>
                  </a:lnTo>
                  <a:lnTo>
                    <a:pt x="881" y="14"/>
                  </a:lnTo>
                  <a:lnTo>
                    <a:pt x="890" y="8"/>
                  </a:lnTo>
                  <a:lnTo>
                    <a:pt x="899" y="3"/>
                  </a:lnTo>
                  <a:lnTo>
                    <a:pt x="910" y="0"/>
                  </a:lnTo>
                  <a:lnTo>
                    <a:pt x="923" y="0"/>
                  </a:lnTo>
                  <a:lnTo>
                    <a:pt x="925" y="8"/>
                  </a:lnTo>
                  <a:lnTo>
                    <a:pt x="931" y="14"/>
                  </a:lnTo>
                  <a:lnTo>
                    <a:pt x="936" y="20"/>
                  </a:lnTo>
                  <a:lnTo>
                    <a:pt x="942" y="25"/>
                  </a:lnTo>
                  <a:lnTo>
                    <a:pt x="958" y="33"/>
                  </a:lnTo>
                  <a:lnTo>
                    <a:pt x="972" y="40"/>
                  </a:lnTo>
                  <a:lnTo>
                    <a:pt x="979" y="73"/>
                  </a:lnTo>
                  <a:lnTo>
                    <a:pt x="985" y="105"/>
                  </a:lnTo>
                  <a:lnTo>
                    <a:pt x="992" y="137"/>
                  </a:lnTo>
                  <a:lnTo>
                    <a:pt x="996" y="169"/>
                  </a:lnTo>
                  <a:lnTo>
                    <a:pt x="1003" y="172"/>
                  </a:lnTo>
                  <a:lnTo>
                    <a:pt x="1011" y="176"/>
                  </a:lnTo>
                  <a:lnTo>
                    <a:pt x="1016" y="181"/>
                  </a:lnTo>
                  <a:lnTo>
                    <a:pt x="1022" y="186"/>
                  </a:lnTo>
                  <a:lnTo>
                    <a:pt x="1029" y="200"/>
                  </a:lnTo>
                  <a:lnTo>
                    <a:pt x="1036" y="216"/>
                  </a:lnTo>
                  <a:lnTo>
                    <a:pt x="1052" y="219"/>
                  </a:lnTo>
                  <a:lnTo>
                    <a:pt x="1067" y="222"/>
                  </a:lnTo>
                  <a:lnTo>
                    <a:pt x="1084" y="226"/>
                  </a:lnTo>
                  <a:lnTo>
                    <a:pt x="1101" y="230"/>
                  </a:lnTo>
                  <a:lnTo>
                    <a:pt x="1101" y="251"/>
                  </a:lnTo>
                  <a:lnTo>
                    <a:pt x="1100" y="271"/>
                  </a:lnTo>
                  <a:lnTo>
                    <a:pt x="1098" y="281"/>
                  </a:lnTo>
                  <a:lnTo>
                    <a:pt x="1096" y="290"/>
                  </a:lnTo>
                  <a:lnTo>
                    <a:pt x="1093" y="299"/>
                  </a:lnTo>
                  <a:lnTo>
                    <a:pt x="1089" y="310"/>
                  </a:lnTo>
                  <a:lnTo>
                    <a:pt x="1083" y="388"/>
                  </a:lnTo>
                  <a:lnTo>
                    <a:pt x="1076" y="466"/>
                  </a:lnTo>
                  <a:lnTo>
                    <a:pt x="1074" y="505"/>
                  </a:lnTo>
                  <a:lnTo>
                    <a:pt x="1068" y="544"/>
                  </a:lnTo>
                  <a:lnTo>
                    <a:pt x="1065" y="583"/>
                  </a:lnTo>
                  <a:lnTo>
                    <a:pt x="1059" y="621"/>
                  </a:lnTo>
                  <a:lnTo>
                    <a:pt x="1052" y="660"/>
                  </a:lnTo>
                  <a:lnTo>
                    <a:pt x="1044" y="697"/>
                  </a:lnTo>
                  <a:lnTo>
                    <a:pt x="1035" y="735"/>
                  </a:lnTo>
                  <a:lnTo>
                    <a:pt x="1023" y="771"/>
                  </a:lnTo>
                  <a:lnTo>
                    <a:pt x="1010" y="808"/>
                  </a:lnTo>
                  <a:lnTo>
                    <a:pt x="996" y="844"/>
                  </a:lnTo>
                  <a:lnTo>
                    <a:pt x="979" y="879"/>
                  </a:lnTo>
                  <a:lnTo>
                    <a:pt x="959" y="913"/>
                  </a:lnTo>
                  <a:lnTo>
                    <a:pt x="949" y="961"/>
                  </a:lnTo>
                  <a:lnTo>
                    <a:pt x="942" y="993"/>
                  </a:lnTo>
                  <a:lnTo>
                    <a:pt x="932" y="1024"/>
                  </a:lnTo>
                  <a:lnTo>
                    <a:pt x="916" y="1065"/>
                  </a:lnTo>
                  <a:lnTo>
                    <a:pt x="911" y="1103"/>
                  </a:lnTo>
                  <a:lnTo>
                    <a:pt x="903" y="1141"/>
                  </a:lnTo>
                  <a:lnTo>
                    <a:pt x="894" y="1179"/>
                  </a:lnTo>
                  <a:lnTo>
                    <a:pt x="885" y="1216"/>
                  </a:lnTo>
                  <a:lnTo>
                    <a:pt x="875" y="1253"/>
                  </a:lnTo>
                  <a:lnTo>
                    <a:pt x="864" y="1291"/>
                  </a:lnTo>
                  <a:lnTo>
                    <a:pt x="855" y="1330"/>
                  </a:lnTo>
                  <a:lnTo>
                    <a:pt x="847" y="1367"/>
                  </a:lnTo>
                  <a:lnTo>
                    <a:pt x="820" y="1426"/>
                  </a:lnTo>
                  <a:lnTo>
                    <a:pt x="789" y="1488"/>
                  </a:lnTo>
                  <a:lnTo>
                    <a:pt x="772" y="1521"/>
                  </a:lnTo>
                  <a:lnTo>
                    <a:pt x="754" y="1553"/>
                  </a:lnTo>
                  <a:lnTo>
                    <a:pt x="734" y="1586"/>
                  </a:lnTo>
                  <a:lnTo>
                    <a:pt x="715" y="1617"/>
                  </a:lnTo>
                  <a:lnTo>
                    <a:pt x="693" y="1647"/>
                  </a:lnTo>
                  <a:lnTo>
                    <a:pt x="670" y="1677"/>
                  </a:lnTo>
                  <a:lnTo>
                    <a:pt x="647" y="1704"/>
                  </a:lnTo>
                  <a:lnTo>
                    <a:pt x="622" y="1729"/>
                  </a:lnTo>
                  <a:lnTo>
                    <a:pt x="609" y="1741"/>
                  </a:lnTo>
                  <a:lnTo>
                    <a:pt x="595" y="1751"/>
                  </a:lnTo>
                  <a:lnTo>
                    <a:pt x="582" y="1761"/>
                  </a:lnTo>
                  <a:lnTo>
                    <a:pt x="568" y="1771"/>
                  </a:lnTo>
                  <a:lnTo>
                    <a:pt x="553" y="1778"/>
                  </a:lnTo>
                  <a:lnTo>
                    <a:pt x="539" y="1786"/>
                  </a:lnTo>
                  <a:lnTo>
                    <a:pt x="523" y="1793"/>
                  </a:lnTo>
                  <a:lnTo>
                    <a:pt x="509" y="1798"/>
                  </a:lnTo>
                  <a:lnTo>
                    <a:pt x="500" y="1781"/>
                  </a:lnTo>
                  <a:lnTo>
                    <a:pt x="491" y="1765"/>
                  </a:lnTo>
                  <a:lnTo>
                    <a:pt x="471" y="1767"/>
                  </a:lnTo>
                  <a:lnTo>
                    <a:pt x="453" y="1768"/>
                  </a:lnTo>
                  <a:lnTo>
                    <a:pt x="436" y="1769"/>
                  </a:lnTo>
                  <a:lnTo>
                    <a:pt x="419" y="1772"/>
                  </a:lnTo>
                  <a:lnTo>
                    <a:pt x="387" y="1778"/>
                  </a:lnTo>
                  <a:lnTo>
                    <a:pt x="350" y="1785"/>
                  </a:lnTo>
                  <a:lnTo>
                    <a:pt x="349" y="1771"/>
                  </a:lnTo>
                  <a:lnTo>
                    <a:pt x="348" y="1758"/>
                  </a:lnTo>
                  <a:lnTo>
                    <a:pt x="346" y="1745"/>
                  </a:lnTo>
                  <a:lnTo>
                    <a:pt x="345" y="1732"/>
                  </a:lnTo>
                  <a:lnTo>
                    <a:pt x="330" y="1728"/>
                  </a:lnTo>
                  <a:lnTo>
                    <a:pt x="314" y="1725"/>
                  </a:lnTo>
                  <a:lnTo>
                    <a:pt x="298" y="1724"/>
                  </a:lnTo>
                  <a:lnTo>
                    <a:pt x="284" y="1721"/>
                  </a:lnTo>
                  <a:lnTo>
                    <a:pt x="275" y="1709"/>
                  </a:lnTo>
                  <a:lnTo>
                    <a:pt x="268" y="1698"/>
                  </a:lnTo>
                  <a:lnTo>
                    <a:pt x="254" y="1699"/>
                  </a:lnTo>
                  <a:lnTo>
                    <a:pt x="241" y="1700"/>
                  </a:lnTo>
                  <a:lnTo>
                    <a:pt x="235" y="1728"/>
                  </a:lnTo>
                  <a:lnTo>
                    <a:pt x="228" y="1755"/>
                  </a:lnTo>
                  <a:lnTo>
                    <a:pt x="220" y="1780"/>
                  </a:lnTo>
                  <a:lnTo>
                    <a:pt x="212" y="1806"/>
                  </a:lnTo>
                  <a:lnTo>
                    <a:pt x="203" y="1830"/>
                  </a:lnTo>
                  <a:lnTo>
                    <a:pt x="194" y="1855"/>
                  </a:lnTo>
                  <a:lnTo>
                    <a:pt x="184" y="1880"/>
                  </a:lnTo>
                  <a:lnTo>
                    <a:pt x="172" y="1906"/>
                  </a:lnTo>
                  <a:lnTo>
                    <a:pt x="155" y="1916"/>
                  </a:lnTo>
                  <a:lnTo>
                    <a:pt x="138" y="1925"/>
                  </a:lnTo>
                  <a:lnTo>
                    <a:pt x="121" y="1934"/>
                  </a:lnTo>
                  <a:lnTo>
                    <a:pt x="103" y="1942"/>
                  </a:lnTo>
                  <a:lnTo>
                    <a:pt x="86" y="1949"/>
                  </a:lnTo>
                  <a:lnTo>
                    <a:pt x="68" y="1955"/>
                  </a:lnTo>
                  <a:lnTo>
                    <a:pt x="49" y="1960"/>
                  </a:lnTo>
                  <a:lnTo>
                    <a:pt x="30" y="1964"/>
                  </a:lnTo>
                </a:path>
              </a:pathLst>
            </a:custGeom>
            <a:noFill/>
            <a:ln w="1905">
              <a:solidFill>
                <a:srgbClr val="3399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932872" name="Freeform 107"/>
            <p:cNvSpPr>
              <a:spLocks/>
            </p:cNvSpPr>
            <p:nvPr/>
          </p:nvSpPr>
          <p:spPr bwMode="auto">
            <a:xfrm>
              <a:off x="2965" y="2594"/>
              <a:ext cx="731" cy="534"/>
            </a:xfrm>
            <a:custGeom>
              <a:avLst/>
              <a:gdLst>
                <a:gd name="T0" fmla="*/ 0 w 2927"/>
                <a:gd name="T1" fmla="*/ 0 h 2137"/>
                <a:gd name="T2" fmla="*/ 0 w 2927"/>
                <a:gd name="T3" fmla="*/ 0 h 2137"/>
                <a:gd name="T4" fmla="*/ 0 w 2927"/>
                <a:gd name="T5" fmla="*/ 0 h 2137"/>
                <a:gd name="T6" fmla="*/ 0 w 2927"/>
                <a:gd name="T7" fmla="*/ 0 h 2137"/>
                <a:gd name="T8" fmla="*/ 0 w 2927"/>
                <a:gd name="T9" fmla="*/ 0 h 2137"/>
                <a:gd name="T10" fmla="*/ 0 w 2927"/>
                <a:gd name="T11" fmla="*/ 0 h 2137"/>
                <a:gd name="T12" fmla="*/ 0 w 2927"/>
                <a:gd name="T13" fmla="*/ 0 h 2137"/>
                <a:gd name="T14" fmla="*/ 0 w 2927"/>
                <a:gd name="T15" fmla="*/ 0 h 2137"/>
                <a:gd name="T16" fmla="*/ 0 w 2927"/>
                <a:gd name="T17" fmla="*/ 0 h 2137"/>
                <a:gd name="T18" fmla="*/ 0 w 2927"/>
                <a:gd name="T19" fmla="*/ 0 h 2137"/>
                <a:gd name="T20" fmla="*/ 0 w 2927"/>
                <a:gd name="T21" fmla="*/ 0 h 2137"/>
                <a:gd name="T22" fmla="*/ 0 w 2927"/>
                <a:gd name="T23" fmla="*/ 0 h 2137"/>
                <a:gd name="T24" fmla="*/ 0 w 2927"/>
                <a:gd name="T25" fmla="*/ 0 h 2137"/>
                <a:gd name="T26" fmla="*/ 0 w 2927"/>
                <a:gd name="T27" fmla="*/ 0 h 2137"/>
                <a:gd name="T28" fmla="*/ 0 w 2927"/>
                <a:gd name="T29" fmla="*/ 0 h 2137"/>
                <a:gd name="T30" fmla="*/ 0 w 2927"/>
                <a:gd name="T31" fmla="*/ 0 h 2137"/>
                <a:gd name="T32" fmla="*/ 0 w 2927"/>
                <a:gd name="T33" fmla="*/ 0 h 2137"/>
                <a:gd name="T34" fmla="*/ 0 w 2927"/>
                <a:gd name="T35" fmla="*/ 0 h 2137"/>
                <a:gd name="T36" fmla="*/ 0 w 2927"/>
                <a:gd name="T37" fmla="*/ 0 h 2137"/>
                <a:gd name="T38" fmla="*/ 0 w 2927"/>
                <a:gd name="T39" fmla="*/ 0 h 2137"/>
                <a:gd name="T40" fmla="*/ 0 w 2927"/>
                <a:gd name="T41" fmla="*/ 0 h 2137"/>
                <a:gd name="T42" fmla="*/ 0 w 2927"/>
                <a:gd name="T43" fmla="*/ 0 h 2137"/>
                <a:gd name="T44" fmla="*/ 0 w 2927"/>
                <a:gd name="T45" fmla="*/ 0 h 2137"/>
                <a:gd name="T46" fmla="*/ 0 w 2927"/>
                <a:gd name="T47" fmla="*/ 0 h 2137"/>
                <a:gd name="T48" fmla="*/ 0 w 2927"/>
                <a:gd name="T49" fmla="*/ 0 h 2137"/>
                <a:gd name="T50" fmla="*/ 0 w 2927"/>
                <a:gd name="T51" fmla="*/ 0 h 2137"/>
                <a:gd name="T52" fmla="*/ 0 w 2927"/>
                <a:gd name="T53" fmla="*/ 0 h 2137"/>
                <a:gd name="T54" fmla="*/ 0 w 2927"/>
                <a:gd name="T55" fmla="*/ 0 h 2137"/>
                <a:gd name="T56" fmla="*/ 0 w 2927"/>
                <a:gd name="T57" fmla="*/ 0 h 2137"/>
                <a:gd name="T58" fmla="*/ 0 w 2927"/>
                <a:gd name="T59" fmla="*/ 0 h 2137"/>
                <a:gd name="T60" fmla="*/ 0 w 2927"/>
                <a:gd name="T61" fmla="*/ 0 h 2137"/>
                <a:gd name="T62" fmla="*/ 0 w 2927"/>
                <a:gd name="T63" fmla="*/ 0 h 2137"/>
                <a:gd name="T64" fmla="*/ 0 w 2927"/>
                <a:gd name="T65" fmla="*/ 0 h 2137"/>
                <a:gd name="T66" fmla="*/ 0 w 2927"/>
                <a:gd name="T67" fmla="*/ 0 h 2137"/>
                <a:gd name="T68" fmla="*/ 0 w 2927"/>
                <a:gd name="T69" fmla="*/ 0 h 2137"/>
                <a:gd name="T70" fmla="*/ 0 w 2927"/>
                <a:gd name="T71" fmla="*/ 0 h 2137"/>
                <a:gd name="T72" fmla="*/ 0 w 2927"/>
                <a:gd name="T73" fmla="*/ 0 h 2137"/>
                <a:gd name="T74" fmla="*/ 0 w 2927"/>
                <a:gd name="T75" fmla="*/ 0 h 2137"/>
                <a:gd name="T76" fmla="*/ 0 w 2927"/>
                <a:gd name="T77" fmla="*/ 0 h 2137"/>
                <a:gd name="T78" fmla="*/ 0 w 2927"/>
                <a:gd name="T79" fmla="*/ 0 h 2137"/>
                <a:gd name="T80" fmla="*/ 0 w 2927"/>
                <a:gd name="T81" fmla="*/ 0 h 2137"/>
                <a:gd name="T82" fmla="*/ 0 w 2927"/>
                <a:gd name="T83" fmla="*/ 0 h 2137"/>
                <a:gd name="T84" fmla="*/ 0 w 2927"/>
                <a:gd name="T85" fmla="*/ 0 h 2137"/>
                <a:gd name="T86" fmla="*/ 0 w 2927"/>
                <a:gd name="T87" fmla="*/ 0 h 2137"/>
                <a:gd name="T88" fmla="*/ 0 w 2927"/>
                <a:gd name="T89" fmla="*/ 0 h 2137"/>
                <a:gd name="T90" fmla="*/ 0 w 2927"/>
                <a:gd name="T91" fmla="*/ 0 h 2137"/>
                <a:gd name="T92" fmla="*/ 0 w 2927"/>
                <a:gd name="T93" fmla="*/ 0 h 2137"/>
                <a:gd name="T94" fmla="*/ 0 w 2927"/>
                <a:gd name="T95" fmla="*/ 0 h 2137"/>
                <a:gd name="T96" fmla="*/ 0 w 2927"/>
                <a:gd name="T97" fmla="*/ 0 h 2137"/>
                <a:gd name="T98" fmla="*/ 0 w 2927"/>
                <a:gd name="T99" fmla="*/ 0 h 2137"/>
                <a:gd name="T100" fmla="*/ 0 w 2927"/>
                <a:gd name="T101" fmla="*/ 0 h 2137"/>
                <a:gd name="T102" fmla="*/ 0 w 2927"/>
                <a:gd name="T103" fmla="*/ 0 h 2137"/>
                <a:gd name="T104" fmla="*/ 0 w 2927"/>
                <a:gd name="T105" fmla="*/ 0 h 2137"/>
                <a:gd name="T106" fmla="*/ 0 w 2927"/>
                <a:gd name="T107" fmla="*/ 0 h 2137"/>
                <a:gd name="T108" fmla="*/ 0 w 2927"/>
                <a:gd name="T109" fmla="*/ 0 h 2137"/>
                <a:gd name="T110" fmla="*/ 0 w 2927"/>
                <a:gd name="T111" fmla="*/ 0 h 2137"/>
                <a:gd name="T112" fmla="*/ 0 w 2927"/>
                <a:gd name="T113" fmla="*/ 0 h 2137"/>
                <a:gd name="T114" fmla="*/ 0 w 2927"/>
                <a:gd name="T115" fmla="*/ 0 h 213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927"/>
                <a:gd name="T175" fmla="*/ 0 h 2137"/>
                <a:gd name="T176" fmla="*/ 2927 w 2927"/>
                <a:gd name="T177" fmla="*/ 2137 h 213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927" h="2137">
                  <a:moveTo>
                    <a:pt x="1442" y="2137"/>
                  </a:moveTo>
                  <a:lnTo>
                    <a:pt x="1429" y="2131"/>
                  </a:lnTo>
                  <a:lnTo>
                    <a:pt x="1418" y="2123"/>
                  </a:lnTo>
                  <a:lnTo>
                    <a:pt x="1406" y="2114"/>
                  </a:lnTo>
                  <a:lnTo>
                    <a:pt x="1397" y="2104"/>
                  </a:lnTo>
                  <a:lnTo>
                    <a:pt x="1377" y="2082"/>
                  </a:lnTo>
                  <a:lnTo>
                    <a:pt x="1359" y="2059"/>
                  </a:lnTo>
                  <a:lnTo>
                    <a:pt x="1334" y="2049"/>
                  </a:lnTo>
                  <a:lnTo>
                    <a:pt x="1310" y="2040"/>
                  </a:lnTo>
                  <a:lnTo>
                    <a:pt x="1284" y="2032"/>
                  </a:lnTo>
                  <a:lnTo>
                    <a:pt x="1258" y="2026"/>
                  </a:lnTo>
                  <a:lnTo>
                    <a:pt x="1230" y="2020"/>
                  </a:lnTo>
                  <a:lnTo>
                    <a:pt x="1204" y="2016"/>
                  </a:lnTo>
                  <a:lnTo>
                    <a:pt x="1177" y="2014"/>
                  </a:lnTo>
                  <a:lnTo>
                    <a:pt x="1150" y="2013"/>
                  </a:lnTo>
                  <a:lnTo>
                    <a:pt x="1095" y="2010"/>
                  </a:lnTo>
                  <a:lnTo>
                    <a:pt x="1040" y="2010"/>
                  </a:lnTo>
                  <a:lnTo>
                    <a:pt x="987" y="2010"/>
                  </a:lnTo>
                  <a:lnTo>
                    <a:pt x="934" y="2011"/>
                  </a:lnTo>
                  <a:lnTo>
                    <a:pt x="917" y="2026"/>
                  </a:lnTo>
                  <a:lnTo>
                    <a:pt x="900" y="2040"/>
                  </a:lnTo>
                  <a:lnTo>
                    <a:pt x="882" y="2054"/>
                  </a:lnTo>
                  <a:lnTo>
                    <a:pt x="865" y="2068"/>
                  </a:lnTo>
                  <a:lnTo>
                    <a:pt x="840" y="2070"/>
                  </a:lnTo>
                  <a:lnTo>
                    <a:pt x="817" y="2072"/>
                  </a:lnTo>
                  <a:lnTo>
                    <a:pt x="792" y="2074"/>
                  </a:lnTo>
                  <a:lnTo>
                    <a:pt x="768" y="2076"/>
                  </a:lnTo>
                  <a:lnTo>
                    <a:pt x="723" y="2057"/>
                  </a:lnTo>
                  <a:lnTo>
                    <a:pt x="677" y="2036"/>
                  </a:lnTo>
                  <a:lnTo>
                    <a:pt x="633" y="2015"/>
                  </a:lnTo>
                  <a:lnTo>
                    <a:pt x="588" y="1996"/>
                  </a:lnTo>
                  <a:lnTo>
                    <a:pt x="577" y="1979"/>
                  </a:lnTo>
                  <a:lnTo>
                    <a:pt x="566" y="1961"/>
                  </a:lnTo>
                  <a:lnTo>
                    <a:pt x="556" y="1944"/>
                  </a:lnTo>
                  <a:lnTo>
                    <a:pt x="546" y="1927"/>
                  </a:lnTo>
                  <a:lnTo>
                    <a:pt x="543" y="1882"/>
                  </a:lnTo>
                  <a:lnTo>
                    <a:pt x="540" y="1840"/>
                  </a:lnTo>
                  <a:lnTo>
                    <a:pt x="537" y="1797"/>
                  </a:lnTo>
                  <a:lnTo>
                    <a:pt x="534" y="1754"/>
                  </a:lnTo>
                  <a:lnTo>
                    <a:pt x="511" y="1737"/>
                  </a:lnTo>
                  <a:lnTo>
                    <a:pt x="486" y="1722"/>
                  </a:lnTo>
                  <a:lnTo>
                    <a:pt x="460" y="1708"/>
                  </a:lnTo>
                  <a:lnTo>
                    <a:pt x="433" y="1695"/>
                  </a:lnTo>
                  <a:lnTo>
                    <a:pt x="407" y="1682"/>
                  </a:lnTo>
                  <a:lnTo>
                    <a:pt x="378" y="1670"/>
                  </a:lnTo>
                  <a:lnTo>
                    <a:pt x="350" y="1659"/>
                  </a:lnTo>
                  <a:lnTo>
                    <a:pt x="321" y="1647"/>
                  </a:lnTo>
                  <a:lnTo>
                    <a:pt x="264" y="1626"/>
                  </a:lnTo>
                  <a:lnTo>
                    <a:pt x="206" y="1605"/>
                  </a:lnTo>
                  <a:lnTo>
                    <a:pt x="149" y="1585"/>
                  </a:lnTo>
                  <a:lnTo>
                    <a:pt x="96" y="1562"/>
                  </a:lnTo>
                  <a:lnTo>
                    <a:pt x="65" y="1544"/>
                  </a:lnTo>
                  <a:lnTo>
                    <a:pt x="45" y="1533"/>
                  </a:lnTo>
                  <a:lnTo>
                    <a:pt x="26" y="1525"/>
                  </a:lnTo>
                  <a:lnTo>
                    <a:pt x="0" y="1514"/>
                  </a:lnTo>
                  <a:lnTo>
                    <a:pt x="0" y="1484"/>
                  </a:lnTo>
                  <a:lnTo>
                    <a:pt x="0" y="1454"/>
                  </a:lnTo>
                  <a:lnTo>
                    <a:pt x="0" y="1425"/>
                  </a:lnTo>
                  <a:lnTo>
                    <a:pt x="0" y="1393"/>
                  </a:lnTo>
                  <a:lnTo>
                    <a:pt x="6" y="1393"/>
                  </a:lnTo>
                  <a:lnTo>
                    <a:pt x="13" y="1393"/>
                  </a:lnTo>
                  <a:lnTo>
                    <a:pt x="13" y="1356"/>
                  </a:lnTo>
                  <a:lnTo>
                    <a:pt x="14" y="1319"/>
                  </a:lnTo>
                  <a:lnTo>
                    <a:pt x="17" y="1283"/>
                  </a:lnTo>
                  <a:lnTo>
                    <a:pt x="20" y="1245"/>
                  </a:lnTo>
                  <a:lnTo>
                    <a:pt x="28" y="1258"/>
                  </a:lnTo>
                  <a:lnTo>
                    <a:pt x="35" y="1271"/>
                  </a:lnTo>
                  <a:lnTo>
                    <a:pt x="43" y="1284"/>
                  </a:lnTo>
                  <a:lnTo>
                    <a:pt x="49" y="1297"/>
                  </a:lnTo>
                  <a:lnTo>
                    <a:pt x="57" y="1296"/>
                  </a:lnTo>
                  <a:lnTo>
                    <a:pt x="69" y="1289"/>
                  </a:lnTo>
                  <a:lnTo>
                    <a:pt x="80" y="1281"/>
                  </a:lnTo>
                  <a:lnTo>
                    <a:pt x="93" y="1272"/>
                  </a:lnTo>
                  <a:lnTo>
                    <a:pt x="121" y="1252"/>
                  </a:lnTo>
                  <a:lnTo>
                    <a:pt x="144" y="1237"/>
                  </a:lnTo>
                  <a:lnTo>
                    <a:pt x="157" y="1219"/>
                  </a:lnTo>
                  <a:lnTo>
                    <a:pt x="169" y="1198"/>
                  </a:lnTo>
                  <a:lnTo>
                    <a:pt x="179" y="1179"/>
                  </a:lnTo>
                  <a:lnTo>
                    <a:pt x="190" y="1160"/>
                  </a:lnTo>
                  <a:lnTo>
                    <a:pt x="200" y="1160"/>
                  </a:lnTo>
                  <a:lnTo>
                    <a:pt x="210" y="1160"/>
                  </a:lnTo>
                  <a:lnTo>
                    <a:pt x="221" y="1160"/>
                  </a:lnTo>
                  <a:lnTo>
                    <a:pt x="230" y="1160"/>
                  </a:lnTo>
                  <a:lnTo>
                    <a:pt x="236" y="1181"/>
                  </a:lnTo>
                  <a:lnTo>
                    <a:pt x="242" y="1201"/>
                  </a:lnTo>
                  <a:lnTo>
                    <a:pt x="248" y="1222"/>
                  </a:lnTo>
                  <a:lnTo>
                    <a:pt x="253" y="1241"/>
                  </a:lnTo>
                  <a:lnTo>
                    <a:pt x="298" y="1280"/>
                  </a:lnTo>
                  <a:lnTo>
                    <a:pt x="339" y="1319"/>
                  </a:lnTo>
                  <a:lnTo>
                    <a:pt x="361" y="1337"/>
                  </a:lnTo>
                  <a:lnTo>
                    <a:pt x="385" y="1356"/>
                  </a:lnTo>
                  <a:lnTo>
                    <a:pt x="396" y="1363"/>
                  </a:lnTo>
                  <a:lnTo>
                    <a:pt x="409" y="1371"/>
                  </a:lnTo>
                  <a:lnTo>
                    <a:pt x="422" y="1379"/>
                  </a:lnTo>
                  <a:lnTo>
                    <a:pt x="435" y="1386"/>
                  </a:lnTo>
                  <a:lnTo>
                    <a:pt x="447" y="1410"/>
                  </a:lnTo>
                  <a:lnTo>
                    <a:pt x="459" y="1435"/>
                  </a:lnTo>
                  <a:lnTo>
                    <a:pt x="472" y="1460"/>
                  </a:lnTo>
                  <a:lnTo>
                    <a:pt x="484" y="1486"/>
                  </a:lnTo>
                  <a:lnTo>
                    <a:pt x="529" y="1488"/>
                  </a:lnTo>
                  <a:lnTo>
                    <a:pt x="560" y="1492"/>
                  </a:lnTo>
                  <a:lnTo>
                    <a:pt x="568" y="1493"/>
                  </a:lnTo>
                  <a:lnTo>
                    <a:pt x="573" y="1497"/>
                  </a:lnTo>
                  <a:lnTo>
                    <a:pt x="580" y="1501"/>
                  </a:lnTo>
                  <a:lnTo>
                    <a:pt x="585" y="1507"/>
                  </a:lnTo>
                  <a:lnTo>
                    <a:pt x="592" y="1513"/>
                  </a:lnTo>
                  <a:lnTo>
                    <a:pt x="597" y="1522"/>
                  </a:lnTo>
                  <a:lnTo>
                    <a:pt x="602" y="1531"/>
                  </a:lnTo>
                  <a:lnTo>
                    <a:pt x="607" y="1544"/>
                  </a:lnTo>
                  <a:lnTo>
                    <a:pt x="627" y="1559"/>
                  </a:lnTo>
                  <a:lnTo>
                    <a:pt x="646" y="1573"/>
                  </a:lnTo>
                  <a:lnTo>
                    <a:pt x="666" y="1587"/>
                  </a:lnTo>
                  <a:lnTo>
                    <a:pt x="687" y="1603"/>
                  </a:lnTo>
                  <a:lnTo>
                    <a:pt x="688" y="1625"/>
                  </a:lnTo>
                  <a:lnTo>
                    <a:pt x="690" y="1647"/>
                  </a:lnTo>
                  <a:lnTo>
                    <a:pt x="693" y="1669"/>
                  </a:lnTo>
                  <a:lnTo>
                    <a:pt x="696" y="1691"/>
                  </a:lnTo>
                  <a:lnTo>
                    <a:pt x="709" y="1698"/>
                  </a:lnTo>
                  <a:lnTo>
                    <a:pt x="722" y="1703"/>
                  </a:lnTo>
                  <a:lnTo>
                    <a:pt x="736" y="1709"/>
                  </a:lnTo>
                  <a:lnTo>
                    <a:pt x="749" y="1715"/>
                  </a:lnTo>
                  <a:lnTo>
                    <a:pt x="753" y="1735"/>
                  </a:lnTo>
                  <a:lnTo>
                    <a:pt x="755" y="1756"/>
                  </a:lnTo>
                  <a:lnTo>
                    <a:pt x="758" y="1778"/>
                  </a:lnTo>
                  <a:lnTo>
                    <a:pt x="761" y="1799"/>
                  </a:lnTo>
                  <a:lnTo>
                    <a:pt x="775" y="1807"/>
                  </a:lnTo>
                  <a:lnTo>
                    <a:pt x="792" y="1814"/>
                  </a:lnTo>
                  <a:lnTo>
                    <a:pt x="810" y="1819"/>
                  </a:lnTo>
                  <a:lnTo>
                    <a:pt x="830" y="1821"/>
                  </a:lnTo>
                  <a:lnTo>
                    <a:pt x="849" y="1824"/>
                  </a:lnTo>
                  <a:lnTo>
                    <a:pt x="869" y="1825"/>
                  </a:lnTo>
                  <a:lnTo>
                    <a:pt x="887" y="1827"/>
                  </a:lnTo>
                  <a:lnTo>
                    <a:pt x="904" y="1827"/>
                  </a:lnTo>
                  <a:lnTo>
                    <a:pt x="921" y="1808"/>
                  </a:lnTo>
                  <a:lnTo>
                    <a:pt x="938" y="1787"/>
                  </a:lnTo>
                  <a:lnTo>
                    <a:pt x="945" y="1777"/>
                  </a:lnTo>
                  <a:lnTo>
                    <a:pt x="953" y="1767"/>
                  </a:lnTo>
                  <a:lnTo>
                    <a:pt x="958" y="1756"/>
                  </a:lnTo>
                  <a:lnTo>
                    <a:pt x="961" y="1746"/>
                  </a:lnTo>
                  <a:lnTo>
                    <a:pt x="982" y="1745"/>
                  </a:lnTo>
                  <a:lnTo>
                    <a:pt x="1001" y="1743"/>
                  </a:lnTo>
                  <a:lnTo>
                    <a:pt x="1020" y="1739"/>
                  </a:lnTo>
                  <a:lnTo>
                    <a:pt x="1038" y="1734"/>
                  </a:lnTo>
                  <a:lnTo>
                    <a:pt x="1055" y="1729"/>
                  </a:lnTo>
                  <a:lnTo>
                    <a:pt x="1070" y="1721"/>
                  </a:lnTo>
                  <a:lnTo>
                    <a:pt x="1086" y="1713"/>
                  </a:lnTo>
                  <a:lnTo>
                    <a:pt x="1102" y="1704"/>
                  </a:lnTo>
                  <a:lnTo>
                    <a:pt x="1116" y="1694"/>
                  </a:lnTo>
                  <a:lnTo>
                    <a:pt x="1130" y="1683"/>
                  </a:lnTo>
                  <a:lnTo>
                    <a:pt x="1144" y="1672"/>
                  </a:lnTo>
                  <a:lnTo>
                    <a:pt x="1159" y="1660"/>
                  </a:lnTo>
                  <a:lnTo>
                    <a:pt x="1187" y="1633"/>
                  </a:lnTo>
                  <a:lnTo>
                    <a:pt x="1217" y="1605"/>
                  </a:lnTo>
                  <a:lnTo>
                    <a:pt x="1224" y="1579"/>
                  </a:lnTo>
                  <a:lnTo>
                    <a:pt x="1232" y="1553"/>
                  </a:lnTo>
                  <a:lnTo>
                    <a:pt x="1239" y="1527"/>
                  </a:lnTo>
                  <a:lnTo>
                    <a:pt x="1247" y="1501"/>
                  </a:lnTo>
                  <a:lnTo>
                    <a:pt x="1275" y="1487"/>
                  </a:lnTo>
                  <a:lnTo>
                    <a:pt x="1299" y="1473"/>
                  </a:lnTo>
                  <a:lnTo>
                    <a:pt x="1325" y="1457"/>
                  </a:lnTo>
                  <a:lnTo>
                    <a:pt x="1350" y="1441"/>
                  </a:lnTo>
                  <a:lnTo>
                    <a:pt x="1373" y="1426"/>
                  </a:lnTo>
                  <a:lnTo>
                    <a:pt x="1397" y="1409"/>
                  </a:lnTo>
                  <a:lnTo>
                    <a:pt x="1420" y="1391"/>
                  </a:lnTo>
                  <a:lnTo>
                    <a:pt x="1444" y="1373"/>
                  </a:lnTo>
                  <a:lnTo>
                    <a:pt x="1465" y="1367"/>
                  </a:lnTo>
                  <a:lnTo>
                    <a:pt x="1484" y="1362"/>
                  </a:lnTo>
                  <a:lnTo>
                    <a:pt x="1504" y="1357"/>
                  </a:lnTo>
                  <a:lnTo>
                    <a:pt x="1522" y="1350"/>
                  </a:lnTo>
                  <a:lnTo>
                    <a:pt x="1541" y="1343"/>
                  </a:lnTo>
                  <a:lnTo>
                    <a:pt x="1559" y="1335"/>
                  </a:lnTo>
                  <a:lnTo>
                    <a:pt x="1578" y="1327"/>
                  </a:lnTo>
                  <a:lnTo>
                    <a:pt x="1596" y="1317"/>
                  </a:lnTo>
                  <a:lnTo>
                    <a:pt x="1596" y="1291"/>
                  </a:lnTo>
                  <a:lnTo>
                    <a:pt x="1596" y="1265"/>
                  </a:lnTo>
                  <a:lnTo>
                    <a:pt x="1596" y="1240"/>
                  </a:lnTo>
                  <a:lnTo>
                    <a:pt x="1596" y="1215"/>
                  </a:lnTo>
                  <a:lnTo>
                    <a:pt x="1613" y="1209"/>
                  </a:lnTo>
                  <a:lnTo>
                    <a:pt x="1631" y="1203"/>
                  </a:lnTo>
                  <a:lnTo>
                    <a:pt x="1648" y="1197"/>
                  </a:lnTo>
                  <a:lnTo>
                    <a:pt x="1665" y="1192"/>
                  </a:lnTo>
                  <a:lnTo>
                    <a:pt x="1675" y="1163"/>
                  </a:lnTo>
                  <a:lnTo>
                    <a:pt x="1688" y="1137"/>
                  </a:lnTo>
                  <a:lnTo>
                    <a:pt x="1695" y="1124"/>
                  </a:lnTo>
                  <a:lnTo>
                    <a:pt x="1701" y="1111"/>
                  </a:lnTo>
                  <a:lnTo>
                    <a:pt x="1710" y="1098"/>
                  </a:lnTo>
                  <a:lnTo>
                    <a:pt x="1720" y="1086"/>
                  </a:lnTo>
                  <a:lnTo>
                    <a:pt x="1722" y="1068"/>
                  </a:lnTo>
                  <a:lnTo>
                    <a:pt x="1726" y="1051"/>
                  </a:lnTo>
                  <a:lnTo>
                    <a:pt x="1731" y="1037"/>
                  </a:lnTo>
                  <a:lnTo>
                    <a:pt x="1736" y="1023"/>
                  </a:lnTo>
                  <a:lnTo>
                    <a:pt x="1744" y="1008"/>
                  </a:lnTo>
                  <a:lnTo>
                    <a:pt x="1752" y="994"/>
                  </a:lnTo>
                  <a:lnTo>
                    <a:pt x="1761" y="980"/>
                  </a:lnTo>
                  <a:lnTo>
                    <a:pt x="1770" y="965"/>
                  </a:lnTo>
                  <a:lnTo>
                    <a:pt x="1765" y="938"/>
                  </a:lnTo>
                  <a:lnTo>
                    <a:pt x="1762" y="912"/>
                  </a:lnTo>
                  <a:lnTo>
                    <a:pt x="1760" y="886"/>
                  </a:lnTo>
                  <a:lnTo>
                    <a:pt x="1760" y="861"/>
                  </a:lnTo>
                  <a:lnTo>
                    <a:pt x="1761" y="837"/>
                  </a:lnTo>
                  <a:lnTo>
                    <a:pt x="1764" y="812"/>
                  </a:lnTo>
                  <a:lnTo>
                    <a:pt x="1768" y="788"/>
                  </a:lnTo>
                  <a:lnTo>
                    <a:pt x="1773" y="764"/>
                  </a:lnTo>
                  <a:lnTo>
                    <a:pt x="1783" y="714"/>
                  </a:lnTo>
                  <a:lnTo>
                    <a:pt x="1796" y="665"/>
                  </a:lnTo>
                  <a:lnTo>
                    <a:pt x="1811" y="614"/>
                  </a:lnTo>
                  <a:lnTo>
                    <a:pt x="1822" y="561"/>
                  </a:lnTo>
                  <a:lnTo>
                    <a:pt x="1822" y="540"/>
                  </a:lnTo>
                  <a:lnTo>
                    <a:pt x="1820" y="523"/>
                  </a:lnTo>
                  <a:lnTo>
                    <a:pt x="1818" y="515"/>
                  </a:lnTo>
                  <a:lnTo>
                    <a:pt x="1816" y="509"/>
                  </a:lnTo>
                  <a:lnTo>
                    <a:pt x="1813" y="504"/>
                  </a:lnTo>
                  <a:lnTo>
                    <a:pt x="1809" y="500"/>
                  </a:lnTo>
                  <a:lnTo>
                    <a:pt x="1804" y="496"/>
                  </a:lnTo>
                  <a:lnTo>
                    <a:pt x="1799" y="492"/>
                  </a:lnTo>
                  <a:lnTo>
                    <a:pt x="1792" y="489"/>
                  </a:lnTo>
                  <a:lnTo>
                    <a:pt x="1786" y="488"/>
                  </a:lnTo>
                  <a:lnTo>
                    <a:pt x="1768" y="487"/>
                  </a:lnTo>
                  <a:lnTo>
                    <a:pt x="1746" y="488"/>
                  </a:lnTo>
                  <a:lnTo>
                    <a:pt x="1727" y="507"/>
                  </a:lnTo>
                  <a:lnTo>
                    <a:pt x="1709" y="527"/>
                  </a:lnTo>
                  <a:lnTo>
                    <a:pt x="1692" y="546"/>
                  </a:lnTo>
                  <a:lnTo>
                    <a:pt x="1675" y="567"/>
                  </a:lnTo>
                  <a:lnTo>
                    <a:pt x="1673" y="592"/>
                  </a:lnTo>
                  <a:lnTo>
                    <a:pt x="1671" y="617"/>
                  </a:lnTo>
                  <a:lnTo>
                    <a:pt x="1670" y="643"/>
                  </a:lnTo>
                  <a:lnTo>
                    <a:pt x="1669" y="669"/>
                  </a:lnTo>
                  <a:lnTo>
                    <a:pt x="1658" y="687"/>
                  </a:lnTo>
                  <a:lnTo>
                    <a:pt x="1651" y="705"/>
                  </a:lnTo>
                  <a:lnTo>
                    <a:pt x="1644" y="723"/>
                  </a:lnTo>
                  <a:lnTo>
                    <a:pt x="1640" y="742"/>
                  </a:lnTo>
                  <a:lnTo>
                    <a:pt x="1635" y="760"/>
                  </a:lnTo>
                  <a:lnTo>
                    <a:pt x="1630" y="778"/>
                  </a:lnTo>
                  <a:lnTo>
                    <a:pt x="1622" y="796"/>
                  </a:lnTo>
                  <a:lnTo>
                    <a:pt x="1613" y="813"/>
                  </a:lnTo>
                  <a:lnTo>
                    <a:pt x="1608" y="799"/>
                  </a:lnTo>
                  <a:lnTo>
                    <a:pt x="1605" y="784"/>
                  </a:lnTo>
                  <a:lnTo>
                    <a:pt x="1604" y="770"/>
                  </a:lnTo>
                  <a:lnTo>
                    <a:pt x="1605" y="756"/>
                  </a:lnTo>
                  <a:lnTo>
                    <a:pt x="1610" y="726"/>
                  </a:lnTo>
                  <a:lnTo>
                    <a:pt x="1619" y="696"/>
                  </a:lnTo>
                  <a:lnTo>
                    <a:pt x="1622" y="680"/>
                  </a:lnTo>
                  <a:lnTo>
                    <a:pt x="1626" y="666"/>
                  </a:lnTo>
                  <a:lnTo>
                    <a:pt x="1628" y="651"/>
                  </a:lnTo>
                  <a:lnTo>
                    <a:pt x="1630" y="636"/>
                  </a:lnTo>
                  <a:lnTo>
                    <a:pt x="1628" y="622"/>
                  </a:lnTo>
                  <a:lnTo>
                    <a:pt x="1626" y="608"/>
                  </a:lnTo>
                  <a:lnTo>
                    <a:pt x="1623" y="601"/>
                  </a:lnTo>
                  <a:lnTo>
                    <a:pt x="1619" y="593"/>
                  </a:lnTo>
                  <a:lnTo>
                    <a:pt x="1615" y="587"/>
                  </a:lnTo>
                  <a:lnTo>
                    <a:pt x="1612" y="580"/>
                  </a:lnTo>
                  <a:lnTo>
                    <a:pt x="1613" y="569"/>
                  </a:lnTo>
                  <a:lnTo>
                    <a:pt x="1614" y="557"/>
                  </a:lnTo>
                  <a:lnTo>
                    <a:pt x="1618" y="545"/>
                  </a:lnTo>
                  <a:lnTo>
                    <a:pt x="1623" y="533"/>
                  </a:lnTo>
                  <a:lnTo>
                    <a:pt x="1635" y="509"/>
                  </a:lnTo>
                  <a:lnTo>
                    <a:pt x="1647" y="484"/>
                  </a:lnTo>
                  <a:lnTo>
                    <a:pt x="1651" y="471"/>
                  </a:lnTo>
                  <a:lnTo>
                    <a:pt x="1654" y="459"/>
                  </a:lnTo>
                  <a:lnTo>
                    <a:pt x="1657" y="448"/>
                  </a:lnTo>
                  <a:lnTo>
                    <a:pt x="1658" y="437"/>
                  </a:lnTo>
                  <a:lnTo>
                    <a:pt x="1657" y="427"/>
                  </a:lnTo>
                  <a:lnTo>
                    <a:pt x="1653" y="418"/>
                  </a:lnTo>
                  <a:lnTo>
                    <a:pt x="1651" y="414"/>
                  </a:lnTo>
                  <a:lnTo>
                    <a:pt x="1648" y="409"/>
                  </a:lnTo>
                  <a:lnTo>
                    <a:pt x="1643" y="405"/>
                  </a:lnTo>
                  <a:lnTo>
                    <a:pt x="1638" y="401"/>
                  </a:lnTo>
                  <a:lnTo>
                    <a:pt x="1635" y="390"/>
                  </a:lnTo>
                  <a:lnTo>
                    <a:pt x="1632" y="379"/>
                  </a:lnTo>
                  <a:lnTo>
                    <a:pt x="1630" y="367"/>
                  </a:lnTo>
                  <a:lnTo>
                    <a:pt x="1627" y="355"/>
                  </a:lnTo>
                  <a:lnTo>
                    <a:pt x="1610" y="349"/>
                  </a:lnTo>
                  <a:lnTo>
                    <a:pt x="1595" y="342"/>
                  </a:lnTo>
                  <a:lnTo>
                    <a:pt x="1579" y="336"/>
                  </a:lnTo>
                  <a:lnTo>
                    <a:pt x="1563" y="330"/>
                  </a:lnTo>
                  <a:lnTo>
                    <a:pt x="1562" y="314"/>
                  </a:lnTo>
                  <a:lnTo>
                    <a:pt x="1563" y="299"/>
                  </a:lnTo>
                  <a:lnTo>
                    <a:pt x="1565" y="286"/>
                  </a:lnTo>
                  <a:lnTo>
                    <a:pt x="1567" y="275"/>
                  </a:lnTo>
                  <a:lnTo>
                    <a:pt x="1571" y="265"/>
                  </a:lnTo>
                  <a:lnTo>
                    <a:pt x="1576" y="256"/>
                  </a:lnTo>
                  <a:lnTo>
                    <a:pt x="1583" y="249"/>
                  </a:lnTo>
                  <a:lnTo>
                    <a:pt x="1589" y="242"/>
                  </a:lnTo>
                  <a:lnTo>
                    <a:pt x="1626" y="216"/>
                  </a:lnTo>
                  <a:lnTo>
                    <a:pt x="1673" y="183"/>
                  </a:lnTo>
                  <a:lnTo>
                    <a:pt x="1686" y="185"/>
                  </a:lnTo>
                  <a:lnTo>
                    <a:pt x="1699" y="185"/>
                  </a:lnTo>
                  <a:lnTo>
                    <a:pt x="1712" y="186"/>
                  </a:lnTo>
                  <a:lnTo>
                    <a:pt x="1725" y="187"/>
                  </a:lnTo>
                  <a:lnTo>
                    <a:pt x="1729" y="172"/>
                  </a:lnTo>
                  <a:lnTo>
                    <a:pt x="1734" y="156"/>
                  </a:lnTo>
                  <a:lnTo>
                    <a:pt x="1738" y="141"/>
                  </a:lnTo>
                  <a:lnTo>
                    <a:pt x="1742" y="126"/>
                  </a:lnTo>
                  <a:lnTo>
                    <a:pt x="1751" y="124"/>
                  </a:lnTo>
                  <a:lnTo>
                    <a:pt x="1761" y="121"/>
                  </a:lnTo>
                  <a:lnTo>
                    <a:pt x="1773" y="129"/>
                  </a:lnTo>
                  <a:lnTo>
                    <a:pt x="1785" y="139"/>
                  </a:lnTo>
                  <a:lnTo>
                    <a:pt x="1796" y="148"/>
                  </a:lnTo>
                  <a:lnTo>
                    <a:pt x="1808" y="159"/>
                  </a:lnTo>
                  <a:lnTo>
                    <a:pt x="1838" y="161"/>
                  </a:lnTo>
                  <a:lnTo>
                    <a:pt x="1869" y="164"/>
                  </a:lnTo>
                  <a:lnTo>
                    <a:pt x="1885" y="164"/>
                  </a:lnTo>
                  <a:lnTo>
                    <a:pt x="1900" y="164"/>
                  </a:lnTo>
                  <a:lnTo>
                    <a:pt x="1916" y="164"/>
                  </a:lnTo>
                  <a:lnTo>
                    <a:pt x="1930" y="163"/>
                  </a:lnTo>
                  <a:lnTo>
                    <a:pt x="1945" y="159"/>
                  </a:lnTo>
                  <a:lnTo>
                    <a:pt x="1958" y="156"/>
                  </a:lnTo>
                  <a:lnTo>
                    <a:pt x="1969" y="150"/>
                  </a:lnTo>
                  <a:lnTo>
                    <a:pt x="1981" y="143"/>
                  </a:lnTo>
                  <a:lnTo>
                    <a:pt x="1990" y="135"/>
                  </a:lnTo>
                  <a:lnTo>
                    <a:pt x="1999" y="125"/>
                  </a:lnTo>
                  <a:lnTo>
                    <a:pt x="2006" y="112"/>
                  </a:lnTo>
                  <a:lnTo>
                    <a:pt x="2011" y="98"/>
                  </a:lnTo>
                  <a:lnTo>
                    <a:pt x="2030" y="95"/>
                  </a:lnTo>
                  <a:lnTo>
                    <a:pt x="2050" y="91"/>
                  </a:lnTo>
                  <a:lnTo>
                    <a:pt x="2055" y="104"/>
                  </a:lnTo>
                  <a:lnTo>
                    <a:pt x="2062" y="118"/>
                  </a:lnTo>
                  <a:lnTo>
                    <a:pt x="2103" y="129"/>
                  </a:lnTo>
                  <a:lnTo>
                    <a:pt x="2140" y="139"/>
                  </a:lnTo>
                  <a:lnTo>
                    <a:pt x="2149" y="141"/>
                  </a:lnTo>
                  <a:lnTo>
                    <a:pt x="2157" y="141"/>
                  </a:lnTo>
                  <a:lnTo>
                    <a:pt x="2164" y="141"/>
                  </a:lnTo>
                  <a:lnTo>
                    <a:pt x="2172" y="138"/>
                  </a:lnTo>
                  <a:lnTo>
                    <a:pt x="2180" y="135"/>
                  </a:lnTo>
                  <a:lnTo>
                    <a:pt x="2187" y="130"/>
                  </a:lnTo>
                  <a:lnTo>
                    <a:pt x="2194" y="124"/>
                  </a:lnTo>
                  <a:lnTo>
                    <a:pt x="2202" y="115"/>
                  </a:lnTo>
                  <a:lnTo>
                    <a:pt x="2211" y="112"/>
                  </a:lnTo>
                  <a:lnTo>
                    <a:pt x="2223" y="111"/>
                  </a:lnTo>
                  <a:lnTo>
                    <a:pt x="2231" y="137"/>
                  </a:lnTo>
                  <a:lnTo>
                    <a:pt x="2240" y="157"/>
                  </a:lnTo>
                  <a:lnTo>
                    <a:pt x="2245" y="167"/>
                  </a:lnTo>
                  <a:lnTo>
                    <a:pt x="2250" y="174"/>
                  </a:lnTo>
                  <a:lnTo>
                    <a:pt x="2256" y="181"/>
                  </a:lnTo>
                  <a:lnTo>
                    <a:pt x="2262" y="186"/>
                  </a:lnTo>
                  <a:lnTo>
                    <a:pt x="2270" y="191"/>
                  </a:lnTo>
                  <a:lnTo>
                    <a:pt x="2278" y="195"/>
                  </a:lnTo>
                  <a:lnTo>
                    <a:pt x="2285" y="198"/>
                  </a:lnTo>
                  <a:lnTo>
                    <a:pt x="2296" y="200"/>
                  </a:lnTo>
                  <a:lnTo>
                    <a:pt x="2306" y="202"/>
                  </a:lnTo>
                  <a:lnTo>
                    <a:pt x="2318" y="202"/>
                  </a:lnTo>
                  <a:lnTo>
                    <a:pt x="2331" y="202"/>
                  </a:lnTo>
                  <a:lnTo>
                    <a:pt x="2347" y="202"/>
                  </a:lnTo>
                  <a:lnTo>
                    <a:pt x="2347" y="194"/>
                  </a:lnTo>
                  <a:lnTo>
                    <a:pt x="2347" y="187"/>
                  </a:lnTo>
                  <a:lnTo>
                    <a:pt x="2393" y="187"/>
                  </a:lnTo>
                  <a:lnTo>
                    <a:pt x="2435" y="185"/>
                  </a:lnTo>
                  <a:lnTo>
                    <a:pt x="2453" y="182"/>
                  </a:lnTo>
                  <a:lnTo>
                    <a:pt x="2471" y="178"/>
                  </a:lnTo>
                  <a:lnTo>
                    <a:pt x="2488" y="174"/>
                  </a:lnTo>
                  <a:lnTo>
                    <a:pt x="2504" y="168"/>
                  </a:lnTo>
                  <a:lnTo>
                    <a:pt x="2518" y="160"/>
                  </a:lnTo>
                  <a:lnTo>
                    <a:pt x="2533" y="151"/>
                  </a:lnTo>
                  <a:lnTo>
                    <a:pt x="2546" y="139"/>
                  </a:lnTo>
                  <a:lnTo>
                    <a:pt x="2557" y="126"/>
                  </a:lnTo>
                  <a:lnTo>
                    <a:pt x="2568" y="111"/>
                  </a:lnTo>
                  <a:lnTo>
                    <a:pt x="2578" y="92"/>
                  </a:lnTo>
                  <a:lnTo>
                    <a:pt x="2587" y="72"/>
                  </a:lnTo>
                  <a:lnTo>
                    <a:pt x="2596" y="47"/>
                  </a:lnTo>
                  <a:lnTo>
                    <a:pt x="2617" y="36"/>
                  </a:lnTo>
                  <a:lnTo>
                    <a:pt x="2641" y="23"/>
                  </a:lnTo>
                  <a:lnTo>
                    <a:pt x="2652" y="17"/>
                  </a:lnTo>
                  <a:lnTo>
                    <a:pt x="2664" y="12"/>
                  </a:lnTo>
                  <a:lnTo>
                    <a:pt x="2676" y="7"/>
                  </a:lnTo>
                  <a:lnTo>
                    <a:pt x="2686" y="3"/>
                  </a:lnTo>
                  <a:lnTo>
                    <a:pt x="2698" y="0"/>
                  </a:lnTo>
                  <a:lnTo>
                    <a:pt x="2708" y="0"/>
                  </a:lnTo>
                  <a:lnTo>
                    <a:pt x="2712" y="0"/>
                  </a:lnTo>
                  <a:lnTo>
                    <a:pt x="2717" y="1"/>
                  </a:lnTo>
                  <a:lnTo>
                    <a:pt x="2721" y="3"/>
                  </a:lnTo>
                  <a:lnTo>
                    <a:pt x="2726" y="5"/>
                  </a:lnTo>
                  <a:lnTo>
                    <a:pt x="2730" y="8"/>
                  </a:lnTo>
                  <a:lnTo>
                    <a:pt x="2734" y="12"/>
                  </a:lnTo>
                  <a:lnTo>
                    <a:pt x="2737" y="17"/>
                  </a:lnTo>
                  <a:lnTo>
                    <a:pt x="2741" y="22"/>
                  </a:lnTo>
                  <a:lnTo>
                    <a:pt x="2746" y="35"/>
                  </a:lnTo>
                  <a:lnTo>
                    <a:pt x="2750" y="53"/>
                  </a:lnTo>
                  <a:lnTo>
                    <a:pt x="2734" y="59"/>
                  </a:lnTo>
                  <a:lnTo>
                    <a:pt x="2720" y="65"/>
                  </a:lnTo>
                  <a:lnTo>
                    <a:pt x="2704" y="70"/>
                  </a:lnTo>
                  <a:lnTo>
                    <a:pt x="2690" y="77"/>
                  </a:lnTo>
                  <a:lnTo>
                    <a:pt x="2685" y="91"/>
                  </a:lnTo>
                  <a:lnTo>
                    <a:pt x="2680" y="105"/>
                  </a:lnTo>
                  <a:lnTo>
                    <a:pt x="2673" y="120"/>
                  </a:lnTo>
                  <a:lnTo>
                    <a:pt x="2667" y="133"/>
                  </a:lnTo>
                  <a:lnTo>
                    <a:pt x="2659" y="146"/>
                  </a:lnTo>
                  <a:lnTo>
                    <a:pt x="2650" y="157"/>
                  </a:lnTo>
                  <a:lnTo>
                    <a:pt x="2639" y="168"/>
                  </a:lnTo>
                  <a:lnTo>
                    <a:pt x="2626" y="178"/>
                  </a:lnTo>
                  <a:lnTo>
                    <a:pt x="2641" y="181"/>
                  </a:lnTo>
                  <a:lnTo>
                    <a:pt x="2652" y="185"/>
                  </a:lnTo>
                  <a:lnTo>
                    <a:pt x="2661" y="190"/>
                  </a:lnTo>
                  <a:lnTo>
                    <a:pt x="2669" y="196"/>
                  </a:lnTo>
                  <a:lnTo>
                    <a:pt x="2674" y="203"/>
                  </a:lnTo>
                  <a:lnTo>
                    <a:pt x="2678" y="209"/>
                  </a:lnTo>
                  <a:lnTo>
                    <a:pt x="2681" y="217"/>
                  </a:lnTo>
                  <a:lnTo>
                    <a:pt x="2684" y="225"/>
                  </a:lnTo>
                  <a:lnTo>
                    <a:pt x="2687" y="242"/>
                  </a:lnTo>
                  <a:lnTo>
                    <a:pt x="2693" y="258"/>
                  </a:lnTo>
                  <a:lnTo>
                    <a:pt x="2697" y="265"/>
                  </a:lnTo>
                  <a:lnTo>
                    <a:pt x="2702" y="273"/>
                  </a:lnTo>
                  <a:lnTo>
                    <a:pt x="2708" y="281"/>
                  </a:lnTo>
                  <a:lnTo>
                    <a:pt x="2717" y="288"/>
                  </a:lnTo>
                  <a:lnTo>
                    <a:pt x="2728" y="334"/>
                  </a:lnTo>
                  <a:lnTo>
                    <a:pt x="2737" y="381"/>
                  </a:lnTo>
                  <a:lnTo>
                    <a:pt x="2747" y="428"/>
                  </a:lnTo>
                  <a:lnTo>
                    <a:pt x="2758" y="476"/>
                  </a:lnTo>
                  <a:lnTo>
                    <a:pt x="2762" y="485"/>
                  </a:lnTo>
                  <a:lnTo>
                    <a:pt x="2767" y="493"/>
                  </a:lnTo>
                  <a:lnTo>
                    <a:pt x="2772" y="500"/>
                  </a:lnTo>
                  <a:lnTo>
                    <a:pt x="2777" y="505"/>
                  </a:lnTo>
                  <a:lnTo>
                    <a:pt x="2790" y="513"/>
                  </a:lnTo>
                  <a:lnTo>
                    <a:pt x="2803" y="517"/>
                  </a:lnTo>
                  <a:lnTo>
                    <a:pt x="2816" y="520"/>
                  </a:lnTo>
                  <a:lnTo>
                    <a:pt x="2831" y="526"/>
                  </a:lnTo>
                  <a:lnTo>
                    <a:pt x="2837" y="530"/>
                  </a:lnTo>
                  <a:lnTo>
                    <a:pt x="2844" y="535"/>
                  </a:lnTo>
                  <a:lnTo>
                    <a:pt x="2850" y="540"/>
                  </a:lnTo>
                  <a:lnTo>
                    <a:pt x="2855" y="548"/>
                  </a:lnTo>
                  <a:lnTo>
                    <a:pt x="2871" y="556"/>
                  </a:lnTo>
                  <a:lnTo>
                    <a:pt x="2885" y="565"/>
                  </a:lnTo>
                  <a:lnTo>
                    <a:pt x="2901" y="574"/>
                  </a:lnTo>
                  <a:lnTo>
                    <a:pt x="2918" y="584"/>
                  </a:lnTo>
                  <a:lnTo>
                    <a:pt x="2922" y="606"/>
                  </a:lnTo>
                  <a:lnTo>
                    <a:pt x="2924" y="627"/>
                  </a:lnTo>
                  <a:lnTo>
                    <a:pt x="2927" y="648"/>
                  </a:lnTo>
                  <a:lnTo>
                    <a:pt x="2927" y="667"/>
                  </a:lnTo>
                  <a:lnTo>
                    <a:pt x="2926" y="687"/>
                  </a:lnTo>
                  <a:lnTo>
                    <a:pt x="2923" y="706"/>
                  </a:lnTo>
                  <a:lnTo>
                    <a:pt x="2918" y="726"/>
                  </a:lnTo>
                  <a:lnTo>
                    <a:pt x="2910" y="747"/>
                  </a:lnTo>
                  <a:lnTo>
                    <a:pt x="2884" y="751"/>
                  </a:lnTo>
                  <a:lnTo>
                    <a:pt x="2858" y="753"/>
                  </a:lnTo>
                  <a:lnTo>
                    <a:pt x="2832" y="757"/>
                  </a:lnTo>
                  <a:lnTo>
                    <a:pt x="2807" y="761"/>
                  </a:lnTo>
                  <a:lnTo>
                    <a:pt x="2781" y="781"/>
                  </a:lnTo>
                  <a:lnTo>
                    <a:pt x="2754" y="800"/>
                  </a:lnTo>
                  <a:lnTo>
                    <a:pt x="2728" y="820"/>
                  </a:lnTo>
                  <a:lnTo>
                    <a:pt x="2702" y="839"/>
                  </a:lnTo>
                  <a:lnTo>
                    <a:pt x="2689" y="863"/>
                  </a:lnTo>
                  <a:lnTo>
                    <a:pt x="2674" y="883"/>
                  </a:lnTo>
                  <a:lnTo>
                    <a:pt x="2660" y="903"/>
                  </a:lnTo>
                  <a:lnTo>
                    <a:pt x="2645" y="922"/>
                  </a:lnTo>
                  <a:lnTo>
                    <a:pt x="2630" y="942"/>
                  </a:lnTo>
                  <a:lnTo>
                    <a:pt x="2616" y="961"/>
                  </a:lnTo>
                  <a:lnTo>
                    <a:pt x="2602" y="981"/>
                  </a:lnTo>
                  <a:lnTo>
                    <a:pt x="2590" y="1003"/>
                  </a:lnTo>
                  <a:lnTo>
                    <a:pt x="2570" y="1012"/>
                  </a:lnTo>
                  <a:lnTo>
                    <a:pt x="2555" y="1017"/>
                  </a:lnTo>
                  <a:lnTo>
                    <a:pt x="2537" y="1021"/>
                  </a:lnTo>
                  <a:lnTo>
                    <a:pt x="2508" y="1026"/>
                  </a:lnTo>
                  <a:lnTo>
                    <a:pt x="2500" y="1037"/>
                  </a:lnTo>
                  <a:lnTo>
                    <a:pt x="2494" y="1049"/>
                  </a:lnTo>
                  <a:lnTo>
                    <a:pt x="2488" y="1059"/>
                  </a:lnTo>
                  <a:lnTo>
                    <a:pt x="2485" y="1068"/>
                  </a:lnTo>
                  <a:lnTo>
                    <a:pt x="2482" y="1079"/>
                  </a:lnTo>
                  <a:lnTo>
                    <a:pt x="2481" y="1089"/>
                  </a:lnTo>
                  <a:lnTo>
                    <a:pt x="2481" y="1098"/>
                  </a:lnTo>
                  <a:lnTo>
                    <a:pt x="2481" y="1108"/>
                  </a:lnTo>
                  <a:lnTo>
                    <a:pt x="2482" y="1118"/>
                  </a:lnTo>
                  <a:lnTo>
                    <a:pt x="2485" y="1128"/>
                  </a:lnTo>
                  <a:lnTo>
                    <a:pt x="2488" y="1137"/>
                  </a:lnTo>
                  <a:lnTo>
                    <a:pt x="2494" y="1147"/>
                  </a:lnTo>
                  <a:lnTo>
                    <a:pt x="2499" y="1158"/>
                  </a:lnTo>
                  <a:lnTo>
                    <a:pt x="2507" y="1168"/>
                  </a:lnTo>
                  <a:lnTo>
                    <a:pt x="2514" y="1179"/>
                  </a:lnTo>
                  <a:lnTo>
                    <a:pt x="2524" y="1190"/>
                  </a:lnTo>
                  <a:lnTo>
                    <a:pt x="2533" y="1193"/>
                  </a:lnTo>
                  <a:lnTo>
                    <a:pt x="2543" y="1196"/>
                  </a:lnTo>
                  <a:lnTo>
                    <a:pt x="2553" y="1198"/>
                  </a:lnTo>
                  <a:lnTo>
                    <a:pt x="2564" y="1201"/>
                  </a:lnTo>
                  <a:lnTo>
                    <a:pt x="2557" y="1242"/>
                  </a:lnTo>
                  <a:lnTo>
                    <a:pt x="2553" y="1268"/>
                  </a:lnTo>
                  <a:lnTo>
                    <a:pt x="2547" y="1288"/>
                  </a:lnTo>
                  <a:lnTo>
                    <a:pt x="2538" y="1311"/>
                  </a:lnTo>
                  <a:lnTo>
                    <a:pt x="2527" y="1313"/>
                  </a:lnTo>
                  <a:lnTo>
                    <a:pt x="2518" y="1314"/>
                  </a:lnTo>
                  <a:lnTo>
                    <a:pt x="2509" y="1317"/>
                  </a:lnTo>
                  <a:lnTo>
                    <a:pt x="2501" y="1319"/>
                  </a:lnTo>
                  <a:lnTo>
                    <a:pt x="2495" y="1324"/>
                  </a:lnTo>
                  <a:lnTo>
                    <a:pt x="2488" y="1330"/>
                  </a:lnTo>
                  <a:lnTo>
                    <a:pt x="2485" y="1339"/>
                  </a:lnTo>
                  <a:lnTo>
                    <a:pt x="2481" y="1349"/>
                  </a:lnTo>
                  <a:lnTo>
                    <a:pt x="2469" y="1350"/>
                  </a:lnTo>
                  <a:lnTo>
                    <a:pt x="2456" y="1352"/>
                  </a:lnTo>
                  <a:lnTo>
                    <a:pt x="2443" y="1353"/>
                  </a:lnTo>
                  <a:lnTo>
                    <a:pt x="2430" y="1357"/>
                  </a:lnTo>
                  <a:lnTo>
                    <a:pt x="2403" y="1365"/>
                  </a:lnTo>
                  <a:lnTo>
                    <a:pt x="2375" y="1374"/>
                  </a:lnTo>
                  <a:lnTo>
                    <a:pt x="2349" y="1387"/>
                  </a:lnTo>
                  <a:lnTo>
                    <a:pt x="2324" y="1400"/>
                  </a:lnTo>
                  <a:lnTo>
                    <a:pt x="2301" y="1414"/>
                  </a:lnTo>
                  <a:lnTo>
                    <a:pt x="2280" y="1428"/>
                  </a:lnTo>
                  <a:lnTo>
                    <a:pt x="2259" y="1428"/>
                  </a:lnTo>
                  <a:lnTo>
                    <a:pt x="2237" y="1428"/>
                  </a:lnTo>
                  <a:lnTo>
                    <a:pt x="2215" y="1428"/>
                  </a:lnTo>
                  <a:lnTo>
                    <a:pt x="2194" y="1430"/>
                  </a:lnTo>
                  <a:lnTo>
                    <a:pt x="2183" y="1454"/>
                  </a:lnTo>
                  <a:lnTo>
                    <a:pt x="2171" y="1477"/>
                  </a:lnTo>
                  <a:lnTo>
                    <a:pt x="2164" y="1487"/>
                  </a:lnTo>
                  <a:lnTo>
                    <a:pt x="2157" y="1497"/>
                  </a:lnTo>
                  <a:lnTo>
                    <a:pt x="2149" y="1508"/>
                  </a:lnTo>
                  <a:lnTo>
                    <a:pt x="2140" y="1517"/>
                  </a:lnTo>
                  <a:lnTo>
                    <a:pt x="2109" y="1530"/>
                  </a:lnTo>
                  <a:lnTo>
                    <a:pt x="2085" y="1542"/>
                  </a:lnTo>
                  <a:lnTo>
                    <a:pt x="2075" y="1547"/>
                  </a:lnTo>
                  <a:lnTo>
                    <a:pt x="2066" y="1552"/>
                  </a:lnTo>
                  <a:lnTo>
                    <a:pt x="2058" y="1559"/>
                  </a:lnTo>
                  <a:lnTo>
                    <a:pt x="2050" y="1564"/>
                  </a:lnTo>
                  <a:lnTo>
                    <a:pt x="2045" y="1572"/>
                  </a:lnTo>
                  <a:lnTo>
                    <a:pt x="2038" y="1578"/>
                  </a:lnTo>
                  <a:lnTo>
                    <a:pt x="2033" y="1587"/>
                  </a:lnTo>
                  <a:lnTo>
                    <a:pt x="2029" y="1596"/>
                  </a:lnTo>
                  <a:lnTo>
                    <a:pt x="2020" y="1620"/>
                  </a:lnTo>
                  <a:lnTo>
                    <a:pt x="2011" y="1650"/>
                  </a:lnTo>
                  <a:lnTo>
                    <a:pt x="1977" y="1650"/>
                  </a:lnTo>
                  <a:lnTo>
                    <a:pt x="1947" y="1650"/>
                  </a:lnTo>
                  <a:lnTo>
                    <a:pt x="1920" y="1652"/>
                  </a:lnTo>
                  <a:lnTo>
                    <a:pt x="1894" y="1656"/>
                  </a:lnTo>
                  <a:lnTo>
                    <a:pt x="1882" y="1659"/>
                  </a:lnTo>
                  <a:lnTo>
                    <a:pt x="1869" y="1663"/>
                  </a:lnTo>
                  <a:lnTo>
                    <a:pt x="1857" y="1668"/>
                  </a:lnTo>
                  <a:lnTo>
                    <a:pt x="1844" y="1673"/>
                  </a:lnTo>
                  <a:lnTo>
                    <a:pt x="1833" y="1680"/>
                  </a:lnTo>
                  <a:lnTo>
                    <a:pt x="1818" y="1687"/>
                  </a:lnTo>
                  <a:lnTo>
                    <a:pt x="1805" y="1696"/>
                  </a:lnTo>
                  <a:lnTo>
                    <a:pt x="1790" y="1707"/>
                  </a:lnTo>
                  <a:lnTo>
                    <a:pt x="1773" y="1707"/>
                  </a:lnTo>
                  <a:lnTo>
                    <a:pt x="1757" y="1707"/>
                  </a:lnTo>
                  <a:lnTo>
                    <a:pt x="1753" y="1696"/>
                  </a:lnTo>
                  <a:lnTo>
                    <a:pt x="1749" y="1687"/>
                  </a:lnTo>
                  <a:lnTo>
                    <a:pt x="1735" y="1689"/>
                  </a:lnTo>
                  <a:lnTo>
                    <a:pt x="1720" y="1691"/>
                  </a:lnTo>
                  <a:lnTo>
                    <a:pt x="1705" y="1694"/>
                  </a:lnTo>
                  <a:lnTo>
                    <a:pt x="1690" y="1698"/>
                  </a:lnTo>
                  <a:lnTo>
                    <a:pt x="1658" y="1707"/>
                  </a:lnTo>
                  <a:lnTo>
                    <a:pt x="1627" y="1715"/>
                  </a:lnTo>
                  <a:lnTo>
                    <a:pt x="1614" y="1742"/>
                  </a:lnTo>
                  <a:lnTo>
                    <a:pt x="1601" y="1773"/>
                  </a:lnTo>
                  <a:lnTo>
                    <a:pt x="1600" y="1781"/>
                  </a:lnTo>
                  <a:lnTo>
                    <a:pt x="1599" y="1789"/>
                  </a:lnTo>
                  <a:lnTo>
                    <a:pt x="1599" y="1795"/>
                  </a:lnTo>
                  <a:lnTo>
                    <a:pt x="1600" y="1802"/>
                  </a:lnTo>
                  <a:lnTo>
                    <a:pt x="1602" y="1808"/>
                  </a:lnTo>
                  <a:lnTo>
                    <a:pt x="1606" y="1814"/>
                  </a:lnTo>
                  <a:lnTo>
                    <a:pt x="1613" y="1819"/>
                  </a:lnTo>
                  <a:lnTo>
                    <a:pt x="1621" y="1823"/>
                  </a:lnTo>
                  <a:lnTo>
                    <a:pt x="1621" y="1838"/>
                  </a:lnTo>
                  <a:lnTo>
                    <a:pt x="1621" y="1855"/>
                  </a:lnTo>
                  <a:lnTo>
                    <a:pt x="1606" y="1858"/>
                  </a:lnTo>
                  <a:lnTo>
                    <a:pt x="1592" y="1860"/>
                  </a:lnTo>
                  <a:lnTo>
                    <a:pt x="1579" y="1864"/>
                  </a:lnTo>
                  <a:lnTo>
                    <a:pt x="1565" y="1867"/>
                  </a:lnTo>
                  <a:lnTo>
                    <a:pt x="1559" y="1877"/>
                  </a:lnTo>
                  <a:lnTo>
                    <a:pt x="1554" y="1888"/>
                  </a:lnTo>
                  <a:lnTo>
                    <a:pt x="1552" y="1897"/>
                  </a:lnTo>
                  <a:lnTo>
                    <a:pt x="1552" y="1906"/>
                  </a:lnTo>
                  <a:lnTo>
                    <a:pt x="1552" y="1914"/>
                  </a:lnTo>
                  <a:lnTo>
                    <a:pt x="1554" y="1923"/>
                  </a:lnTo>
                  <a:lnTo>
                    <a:pt x="1557" y="1929"/>
                  </a:lnTo>
                  <a:lnTo>
                    <a:pt x="1562" y="1937"/>
                  </a:lnTo>
                  <a:lnTo>
                    <a:pt x="1567" y="1944"/>
                  </a:lnTo>
                  <a:lnTo>
                    <a:pt x="1574" y="1949"/>
                  </a:lnTo>
                  <a:lnTo>
                    <a:pt x="1580" y="1955"/>
                  </a:lnTo>
                  <a:lnTo>
                    <a:pt x="1588" y="1961"/>
                  </a:lnTo>
                  <a:lnTo>
                    <a:pt x="1605" y="1970"/>
                  </a:lnTo>
                  <a:lnTo>
                    <a:pt x="1623" y="1976"/>
                  </a:lnTo>
                  <a:lnTo>
                    <a:pt x="1621" y="1985"/>
                  </a:lnTo>
                  <a:lnTo>
                    <a:pt x="1621" y="1996"/>
                  </a:lnTo>
                  <a:lnTo>
                    <a:pt x="1606" y="1998"/>
                  </a:lnTo>
                  <a:lnTo>
                    <a:pt x="1593" y="2001"/>
                  </a:lnTo>
                  <a:lnTo>
                    <a:pt x="1582" y="2005"/>
                  </a:lnTo>
                  <a:lnTo>
                    <a:pt x="1571" y="2011"/>
                  </a:lnTo>
                  <a:lnTo>
                    <a:pt x="1562" y="2018"/>
                  </a:lnTo>
                  <a:lnTo>
                    <a:pt x="1554" y="2024"/>
                  </a:lnTo>
                  <a:lnTo>
                    <a:pt x="1548" y="2032"/>
                  </a:lnTo>
                  <a:lnTo>
                    <a:pt x="1541" y="2041"/>
                  </a:lnTo>
                  <a:lnTo>
                    <a:pt x="1518" y="2084"/>
                  </a:lnTo>
                  <a:lnTo>
                    <a:pt x="1494" y="2132"/>
                  </a:lnTo>
                  <a:lnTo>
                    <a:pt x="1481" y="2134"/>
                  </a:lnTo>
                  <a:lnTo>
                    <a:pt x="1468" y="2135"/>
                  </a:lnTo>
                  <a:lnTo>
                    <a:pt x="1455" y="2136"/>
                  </a:lnTo>
                  <a:lnTo>
                    <a:pt x="1442" y="2137"/>
                  </a:lnTo>
                  <a:close/>
                </a:path>
              </a:pathLst>
            </a:custGeom>
            <a:noFill/>
            <a:ln w="1905">
              <a:solidFill>
                <a:srgbClr val="3399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932873" name="Freeform 108"/>
            <p:cNvSpPr>
              <a:spLocks/>
            </p:cNvSpPr>
            <p:nvPr/>
          </p:nvSpPr>
          <p:spPr bwMode="auto">
            <a:xfrm>
              <a:off x="4217" y="1960"/>
              <a:ext cx="532" cy="1157"/>
            </a:xfrm>
            <a:custGeom>
              <a:avLst/>
              <a:gdLst>
                <a:gd name="T0" fmla="*/ 0 w 2127"/>
                <a:gd name="T1" fmla="*/ 0 h 4627"/>
                <a:gd name="T2" fmla="*/ 0 w 2127"/>
                <a:gd name="T3" fmla="*/ 0 h 4627"/>
                <a:gd name="T4" fmla="*/ 0 w 2127"/>
                <a:gd name="T5" fmla="*/ 0 h 4627"/>
                <a:gd name="T6" fmla="*/ 0 w 2127"/>
                <a:gd name="T7" fmla="*/ 0 h 4627"/>
                <a:gd name="T8" fmla="*/ 0 w 2127"/>
                <a:gd name="T9" fmla="*/ 0 h 4627"/>
                <a:gd name="T10" fmla="*/ 0 w 2127"/>
                <a:gd name="T11" fmla="*/ 0 h 4627"/>
                <a:gd name="T12" fmla="*/ 0 w 2127"/>
                <a:gd name="T13" fmla="*/ 0 h 4627"/>
                <a:gd name="T14" fmla="*/ 0 w 2127"/>
                <a:gd name="T15" fmla="*/ 0 h 4627"/>
                <a:gd name="T16" fmla="*/ 0 w 2127"/>
                <a:gd name="T17" fmla="*/ 0 h 4627"/>
                <a:gd name="T18" fmla="*/ 0 w 2127"/>
                <a:gd name="T19" fmla="*/ 0 h 4627"/>
                <a:gd name="T20" fmla="*/ 0 w 2127"/>
                <a:gd name="T21" fmla="*/ 0 h 4627"/>
                <a:gd name="T22" fmla="*/ 0 w 2127"/>
                <a:gd name="T23" fmla="*/ 0 h 4627"/>
                <a:gd name="T24" fmla="*/ 0 w 2127"/>
                <a:gd name="T25" fmla="*/ 0 h 4627"/>
                <a:gd name="T26" fmla="*/ 0 w 2127"/>
                <a:gd name="T27" fmla="*/ 0 h 4627"/>
                <a:gd name="T28" fmla="*/ 0 w 2127"/>
                <a:gd name="T29" fmla="*/ 0 h 4627"/>
                <a:gd name="T30" fmla="*/ 0 w 2127"/>
                <a:gd name="T31" fmla="*/ 0 h 4627"/>
                <a:gd name="T32" fmla="*/ 0 w 2127"/>
                <a:gd name="T33" fmla="*/ 0 h 4627"/>
                <a:gd name="T34" fmla="*/ 0 w 2127"/>
                <a:gd name="T35" fmla="*/ 0 h 4627"/>
                <a:gd name="T36" fmla="*/ 0 w 2127"/>
                <a:gd name="T37" fmla="*/ 0 h 4627"/>
                <a:gd name="T38" fmla="*/ 0 w 2127"/>
                <a:gd name="T39" fmla="*/ 0 h 4627"/>
                <a:gd name="T40" fmla="*/ 0 w 2127"/>
                <a:gd name="T41" fmla="*/ 0 h 4627"/>
                <a:gd name="T42" fmla="*/ 0 w 2127"/>
                <a:gd name="T43" fmla="*/ 0 h 4627"/>
                <a:gd name="T44" fmla="*/ 0 w 2127"/>
                <a:gd name="T45" fmla="*/ 0 h 4627"/>
                <a:gd name="T46" fmla="*/ 0 w 2127"/>
                <a:gd name="T47" fmla="*/ 0 h 4627"/>
                <a:gd name="T48" fmla="*/ 0 w 2127"/>
                <a:gd name="T49" fmla="*/ 0 h 4627"/>
                <a:gd name="T50" fmla="*/ 0 w 2127"/>
                <a:gd name="T51" fmla="*/ 0 h 4627"/>
                <a:gd name="T52" fmla="*/ 0 w 2127"/>
                <a:gd name="T53" fmla="*/ 0 h 4627"/>
                <a:gd name="T54" fmla="*/ 0 w 2127"/>
                <a:gd name="T55" fmla="*/ 0 h 4627"/>
                <a:gd name="T56" fmla="*/ 0 w 2127"/>
                <a:gd name="T57" fmla="*/ 0 h 4627"/>
                <a:gd name="T58" fmla="*/ 0 w 2127"/>
                <a:gd name="T59" fmla="*/ 0 h 4627"/>
                <a:gd name="T60" fmla="*/ 0 w 2127"/>
                <a:gd name="T61" fmla="*/ 0 h 4627"/>
                <a:gd name="T62" fmla="*/ 0 w 2127"/>
                <a:gd name="T63" fmla="*/ 0 h 4627"/>
                <a:gd name="T64" fmla="*/ 0 w 2127"/>
                <a:gd name="T65" fmla="*/ 0 h 4627"/>
                <a:gd name="T66" fmla="*/ 0 w 2127"/>
                <a:gd name="T67" fmla="*/ 0 h 4627"/>
                <a:gd name="T68" fmla="*/ 0 w 2127"/>
                <a:gd name="T69" fmla="*/ 0 h 4627"/>
                <a:gd name="T70" fmla="*/ 0 w 2127"/>
                <a:gd name="T71" fmla="*/ 0 h 4627"/>
                <a:gd name="T72" fmla="*/ 0 w 2127"/>
                <a:gd name="T73" fmla="*/ 0 h 4627"/>
                <a:gd name="T74" fmla="*/ 0 w 2127"/>
                <a:gd name="T75" fmla="*/ 0 h 4627"/>
                <a:gd name="T76" fmla="*/ 0 w 2127"/>
                <a:gd name="T77" fmla="*/ 0 h 4627"/>
                <a:gd name="T78" fmla="*/ 0 w 2127"/>
                <a:gd name="T79" fmla="*/ 0 h 4627"/>
                <a:gd name="T80" fmla="*/ 0 w 2127"/>
                <a:gd name="T81" fmla="*/ 0 h 4627"/>
                <a:gd name="T82" fmla="*/ 0 w 2127"/>
                <a:gd name="T83" fmla="*/ 0 h 4627"/>
                <a:gd name="T84" fmla="*/ 0 w 2127"/>
                <a:gd name="T85" fmla="*/ 0 h 4627"/>
                <a:gd name="T86" fmla="*/ 0 w 2127"/>
                <a:gd name="T87" fmla="*/ 0 h 4627"/>
                <a:gd name="T88" fmla="*/ 0 w 2127"/>
                <a:gd name="T89" fmla="*/ 0 h 4627"/>
                <a:gd name="T90" fmla="*/ 0 w 2127"/>
                <a:gd name="T91" fmla="*/ 0 h 4627"/>
                <a:gd name="T92" fmla="*/ 0 w 2127"/>
                <a:gd name="T93" fmla="*/ 0 h 4627"/>
                <a:gd name="T94" fmla="*/ 0 w 2127"/>
                <a:gd name="T95" fmla="*/ 0 h 4627"/>
                <a:gd name="T96" fmla="*/ 0 w 2127"/>
                <a:gd name="T97" fmla="*/ 0 h 4627"/>
                <a:gd name="T98" fmla="*/ 0 w 2127"/>
                <a:gd name="T99" fmla="*/ 0 h 4627"/>
                <a:gd name="T100" fmla="*/ 0 w 2127"/>
                <a:gd name="T101" fmla="*/ 0 h 4627"/>
                <a:gd name="T102" fmla="*/ 0 w 2127"/>
                <a:gd name="T103" fmla="*/ 0 h 4627"/>
                <a:gd name="T104" fmla="*/ 0 w 2127"/>
                <a:gd name="T105" fmla="*/ 0 h 4627"/>
                <a:gd name="T106" fmla="*/ 0 w 2127"/>
                <a:gd name="T107" fmla="*/ 0 h 4627"/>
                <a:gd name="T108" fmla="*/ 0 w 2127"/>
                <a:gd name="T109" fmla="*/ 0 h 4627"/>
                <a:gd name="T110" fmla="*/ 0 w 2127"/>
                <a:gd name="T111" fmla="*/ 0 h 4627"/>
                <a:gd name="T112" fmla="*/ 0 w 2127"/>
                <a:gd name="T113" fmla="*/ 0 h 4627"/>
                <a:gd name="T114" fmla="*/ 0 w 2127"/>
                <a:gd name="T115" fmla="*/ 0 h 4627"/>
                <a:gd name="T116" fmla="*/ 0 w 2127"/>
                <a:gd name="T117" fmla="*/ 0 h 4627"/>
                <a:gd name="T118" fmla="*/ 0 w 2127"/>
                <a:gd name="T119" fmla="*/ 0 h 4627"/>
                <a:gd name="T120" fmla="*/ 0 w 2127"/>
                <a:gd name="T121" fmla="*/ 0 h 46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127"/>
                <a:gd name="T184" fmla="*/ 0 h 4627"/>
                <a:gd name="T185" fmla="*/ 2127 w 2127"/>
                <a:gd name="T186" fmla="*/ 4627 h 46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127" h="4627">
                  <a:moveTo>
                    <a:pt x="1277" y="4627"/>
                  </a:moveTo>
                  <a:lnTo>
                    <a:pt x="1275" y="4596"/>
                  </a:lnTo>
                  <a:lnTo>
                    <a:pt x="1272" y="4567"/>
                  </a:lnTo>
                  <a:lnTo>
                    <a:pt x="1270" y="4540"/>
                  </a:lnTo>
                  <a:lnTo>
                    <a:pt x="1270" y="4514"/>
                  </a:lnTo>
                  <a:lnTo>
                    <a:pt x="1270" y="4502"/>
                  </a:lnTo>
                  <a:lnTo>
                    <a:pt x="1272" y="4490"/>
                  </a:lnTo>
                  <a:lnTo>
                    <a:pt x="1275" y="4479"/>
                  </a:lnTo>
                  <a:lnTo>
                    <a:pt x="1280" y="4467"/>
                  </a:lnTo>
                  <a:lnTo>
                    <a:pt x="1286" y="4455"/>
                  </a:lnTo>
                  <a:lnTo>
                    <a:pt x="1294" y="4445"/>
                  </a:lnTo>
                  <a:lnTo>
                    <a:pt x="1305" y="4434"/>
                  </a:lnTo>
                  <a:lnTo>
                    <a:pt x="1318" y="4423"/>
                  </a:lnTo>
                  <a:lnTo>
                    <a:pt x="1322" y="4407"/>
                  </a:lnTo>
                  <a:lnTo>
                    <a:pt x="1324" y="4393"/>
                  </a:lnTo>
                  <a:lnTo>
                    <a:pt x="1324" y="4372"/>
                  </a:lnTo>
                  <a:lnTo>
                    <a:pt x="1323" y="4338"/>
                  </a:lnTo>
                  <a:lnTo>
                    <a:pt x="1303" y="4333"/>
                  </a:lnTo>
                  <a:lnTo>
                    <a:pt x="1285" y="4326"/>
                  </a:lnTo>
                  <a:lnTo>
                    <a:pt x="1283" y="4306"/>
                  </a:lnTo>
                  <a:lnTo>
                    <a:pt x="1280" y="4283"/>
                  </a:lnTo>
                  <a:lnTo>
                    <a:pt x="1279" y="4263"/>
                  </a:lnTo>
                  <a:lnTo>
                    <a:pt x="1277" y="4242"/>
                  </a:lnTo>
                  <a:lnTo>
                    <a:pt x="1299" y="4237"/>
                  </a:lnTo>
                  <a:lnTo>
                    <a:pt x="1314" y="4231"/>
                  </a:lnTo>
                  <a:lnTo>
                    <a:pt x="1324" y="4226"/>
                  </a:lnTo>
                  <a:lnTo>
                    <a:pt x="1337" y="4217"/>
                  </a:lnTo>
                  <a:lnTo>
                    <a:pt x="1336" y="4191"/>
                  </a:lnTo>
                  <a:lnTo>
                    <a:pt x="1333" y="4170"/>
                  </a:lnTo>
                  <a:lnTo>
                    <a:pt x="1331" y="4160"/>
                  </a:lnTo>
                  <a:lnTo>
                    <a:pt x="1328" y="4152"/>
                  </a:lnTo>
                  <a:lnTo>
                    <a:pt x="1325" y="4144"/>
                  </a:lnTo>
                  <a:lnTo>
                    <a:pt x="1323" y="4138"/>
                  </a:lnTo>
                  <a:lnTo>
                    <a:pt x="1319" y="4133"/>
                  </a:lnTo>
                  <a:lnTo>
                    <a:pt x="1315" y="4127"/>
                  </a:lnTo>
                  <a:lnTo>
                    <a:pt x="1310" y="4123"/>
                  </a:lnTo>
                  <a:lnTo>
                    <a:pt x="1306" y="4120"/>
                  </a:lnTo>
                  <a:lnTo>
                    <a:pt x="1296" y="4114"/>
                  </a:lnTo>
                  <a:lnTo>
                    <a:pt x="1283" y="4110"/>
                  </a:lnTo>
                  <a:lnTo>
                    <a:pt x="1270" y="4109"/>
                  </a:lnTo>
                  <a:lnTo>
                    <a:pt x="1254" y="4109"/>
                  </a:lnTo>
                  <a:lnTo>
                    <a:pt x="1238" y="4110"/>
                  </a:lnTo>
                  <a:lnTo>
                    <a:pt x="1221" y="4112"/>
                  </a:lnTo>
                  <a:lnTo>
                    <a:pt x="1184" y="4116"/>
                  </a:lnTo>
                  <a:lnTo>
                    <a:pt x="1142" y="4117"/>
                  </a:lnTo>
                  <a:lnTo>
                    <a:pt x="1124" y="4131"/>
                  </a:lnTo>
                  <a:lnTo>
                    <a:pt x="1106" y="4144"/>
                  </a:lnTo>
                  <a:lnTo>
                    <a:pt x="1098" y="4148"/>
                  </a:lnTo>
                  <a:lnTo>
                    <a:pt x="1089" y="4153"/>
                  </a:lnTo>
                  <a:lnTo>
                    <a:pt x="1081" y="4156"/>
                  </a:lnTo>
                  <a:lnTo>
                    <a:pt x="1072" y="4159"/>
                  </a:lnTo>
                  <a:lnTo>
                    <a:pt x="1064" y="4159"/>
                  </a:lnTo>
                  <a:lnTo>
                    <a:pt x="1056" y="4159"/>
                  </a:lnTo>
                  <a:lnTo>
                    <a:pt x="1047" y="4156"/>
                  </a:lnTo>
                  <a:lnTo>
                    <a:pt x="1039" y="4153"/>
                  </a:lnTo>
                  <a:lnTo>
                    <a:pt x="1031" y="4148"/>
                  </a:lnTo>
                  <a:lnTo>
                    <a:pt x="1024" y="4140"/>
                  </a:lnTo>
                  <a:lnTo>
                    <a:pt x="1016" y="4131"/>
                  </a:lnTo>
                  <a:lnTo>
                    <a:pt x="1008" y="4121"/>
                  </a:lnTo>
                  <a:lnTo>
                    <a:pt x="1002" y="4121"/>
                  </a:lnTo>
                  <a:lnTo>
                    <a:pt x="996" y="4121"/>
                  </a:lnTo>
                  <a:lnTo>
                    <a:pt x="979" y="4091"/>
                  </a:lnTo>
                  <a:lnTo>
                    <a:pt x="968" y="4070"/>
                  </a:lnTo>
                  <a:lnTo>
                    <a:pt x="961" y="4062"/>
                  </a:lnTo>
                  <a:lnTo>
                    <a:pt x="956" y="4057"/>
                  </a:lnTo>
                  <a:lnTo>
                    <a:pt x="951" y="4052"/>
                  </a:lnTo>
                  <a:lnTo>
                    <a:pt x="944" y="4049"/>
                  </a:lnTo>
                  <a:lnTo>
                    <a:pt x="938" y="4047"/>
                  </a:lnTo>
                  <a:lnTo>
                    <a:pt x="930" y="4045"/>
                  </a:lnTo>
                  <a:lnTo>
                    <a:pt x="922" y="4044"/>
                  </a:lnTo>
                  <a:lnTo>
                    <a:pt x="912" y="4044"/>
                  </a:lnTo>
                  <a:lnTo>
                    <a:pt x="887" y="4045"/>
                  </a:lnTo>
                  <a:lnTo>
                    <a:pt x="854" y="4045"/>
                  </a:lnTo>
                  <a:lnTo>
                    <a:pt x="836" y="4038"/>
                  </a:lnTo>
                  <a:lnTo>
                    <a:pt x="826" y="4032"/>
                  </a:lnTo>
                  <a:lnTo>
                    <a:pt x="817" y="4030"/>
                  </a:lnTo>
                  <a:lnTo>
                    <a:pt x="804" y="4027"/>
                  </a:lnTo>
                  <a:lnTo>
                    <a:pt x="780" y="4052"/>
                  </a:lnTo>
                  <a:lnTo>
                    <a:pt x="752" y="4081"/>
                  </a:lnTo>
                  <a:lnTo>
                    <a:pt x="736" y="4094"/>
                  </a:lnTo>
                  <a:lnTo>
                    <a:pt x="719" y="4104"/>
                  </a:lnTo>
                  <a:lnTo>
                    <a:pt x="711" y="4108"/>
                  </a:lnTo>
                  <a:lnTo>
                    <a:pt x="702" y="4110"/>
                  </a:lnTo>
                  <a:lnTo>
                    <a:pt x="693" y="4113"/>
                  </a:lnTo>
                  <a:lnTo>
                    <a:pt x="684" y="4113"/>
                  </a:lnTo>
                  <a:lnTo>
                    <a:pt x="671" y="4099"/>
                  </a:lnTo>
                  <a:lnTo>
                    <a:pt x="661" y="4083"/>
                  </a:lnTo>
                  <a:lnTo>
                    <a:pt x="653" y="4069"/>
                  </a:lnTo>
                  <a:lnTo>
                    <a:pt x="646" y="4055"/>
                  </a:lnTo>
                  <a:lnTo>
                    <a:pt x="641" y="4039"/>
                  </a:lnTo>
                  <a:lnTo>
                    <a:pt x="639" y="4025"/>
                  </a:lnTo>
                  <a:lnTo>
                    <a:pt x="636" y="4009"/>
                  </a:lnTo>
                  <a:lnTo>
                    <a:pt x="635" y="3995"/>
                  </a:lnTo>
                  <a:lnTo>
                    <a:pt x="633" y="3963"/>
                  </a:lnTo>
                  <a:lnTo>
                    <a:pt x="632" y="3934"/>
                  </a:lnTo>
                  <a:lnTo>
                    <a:pt x="631" y="3918"/>
                  </a:lnTo>
                  <a:lnTo>
                    <a:pt x="627" y="3902"/>
                  </a:lnTo>
                  <a:lnTo>
                    <a:pt x="623" y="3887"/>
                  </a:lnTo>
                  <a:lnTo>
                    <a:pt x="618" y="3871"/>
                  </a:lnTo>
                  <a:lnTo>
                    <a:pt x="606" y="3868"/>
                  </a:lnTo>
                  <a:lnTo>
                    <a:pt x="596" y="3866"/>
                  </a:lnTo>
                  <a:lnTo>
                    <a:pt x="588" y="3862"/>
                  </a:lnTo>
                  <a:lnTo>
                    <a:pt x="580" y="3858"/>
                  </a:lnTo>
                  <a:lnTo>
                    <a:pt x="566" y="3846"/>
                  </a:lnTo>
                  <a:lnTo>
                    <a:pt x="550" y="3831"/>
                  </a:lnTo>
                  <a:lnTo>
                    <a:pt x="534" y="3828"/>
                  </a:lnTo>
                  <a:lnTo>
                    <a:pt x="519" y="3824"/>
                  </a:lnTo>
                  <a:lnTo>
                    <a:pt x="505" y="3822"/>
                  </a:lnTo>
                  <a:lnTo>
                    <a:pt x="490" y="3819"/>
                  </a:lnTo>
                  <a:lnTo>
                    <a:pt x="481" y="3806"/>
                  </a:lnTo>
                  <a:lnTo>
                    <a:pt x="473" y="3798"/>
                  </a:lnTo>
                  <a:lnTo>
                    <a:pt x="464" y="3793"/>
                  </a:lnTo>
                  <a:lnTo>
                    <a:pt x="450" y="3788"/>
                  </a:lnTo>
                  <a:lnTo>
                    <a:pt x="454" y="3749"/>
                  </a:lnTo>
                  <a:lnTo>
                    <a:pt x="459" y="3706"/>
                  </a:lnTo>
                  <a:lnTo>
                    <a:pt x="467" y="3663"/>
                  </a:lnTo>
                  <a:lnTo>
                    <a:pt x="475" y="3625"/>
                  </a:lnTo>
                  <a:lnTo>
                    <a:pt x="484" y="3616"/>
                  </a:lnTo>
                  <a:lnTo>
                    <a:pt x="492" y="3607"/>
                  </a:lnTo>
                  <a:lnTo>
                    <a:pt x="495" y="3598"/>
                  </a:lnTo>
                  <a:lnTo>
                    <a:pt x="498" y="3589"/>
                  </a:lnTo>
                  <a:lnTo>
                    <a:pt x="501" y="3571"/>
                  </a:lnTo>
                  <a:lnTo>
                    <a:pt x="499" y="3552"/>
                  </a:lnTo>
                  <a:lnTo>
                    <a:pt x="499" y="3543"/>
                  </a:lnTo>
                  <a:lnTo>
                    <a:pt x="499" y="3534"/>
                  </a:lnTo>
                  <a:lnTo>
                    <a:pt x="501" y="3526"/>
                  </a:lnTo>
                  <a:lnTo>
                    <a:pt x="503" y="3519"/>
                  </a:lnTo>
                  <a:lnTo>
                    <a:pt x="507" y="3511"/>
                  </a:lnTo>
                  <a:lnTo>
                    <a:pt x="514" y="3504"/>
                  </a:lnTo>
                  <a:lnTo>
                    <a:pt x="523" y="3498"/>
                  </a:lnTo>
                  <a:lnTo>
                    <a:pt x="534" y="3493"/>
                  </a:lnTo>
                  <a:lnTo>
                    <a:pt x="541" y="3481"/>
                  </a:lnTo>
                  <a:lnTo>
                    <a:pt x="546" y="3469"/>
                  </a:lnTo>
                  <a:lnTo>
                    <a:pt x="554" y="3464"/>
                  </a:lnTo>
                  <a:lnTo>
                    <a:pt x="562" y="3460"/>
                  </a:lnTo>
                  <a:lnTo>
                    <a:pt x="570" y="3455"/>
                  </a:lnTo>
                  <a:lnTo>
                    <a:pt x="576" y="3448"/>
                  </a:lnTo>
                  <a:lnTo>
                    <a:pt x="586" y="3437"/>
                  </a:lnTo>
                  <a:lnTo>
                    <a:pt x="596" y="3424"/>
                  </a:lnTo>
                  <a:lnTo>
                    <a:pt x="605" y="3409"/>
                  </a:lnTo>
                  <a:lnTo>
                    <a:pt x="611" y="3395"/>
                  </a:lnTo>
                  <a:lnTo>
                    <a:pt x="618" y="3381"/>
                  </a:lnTo>
                  <a:lnTo>
                    <a:pt x="623" y="3366"/>
                  </a:lnTo>
                  <a:lnTo>
                    <a:pt x="629" y="3352"/>
                  </a:lnTo>
                  <a:lnTo>
                    <a:pt x="635" y="3338"/>
                  </a:lnTo>
                  <a:lnTo>
                    <a:pt x="642" y="3326"/>
                  </a:lnTo>
                  <a:lnTo>
                    <a:pt x="650" y="3314"/>
                  </a:lnTo>
                  <a:lnTo>
                    <a:pt x="659" y="3304"/>
                  </a:lnTo>
                  <a:lnTo>
                    <a:pt x="671" y="3295"/>
                  </a:lnTo>
                  <a:lnTo>
                    <a:pt x="678" y="3292"/>
                  </a:lnTo>
                  <a:lnTo>
                    <a:pt x="684" y="3288"/>
                  </a:lnTo>
                  <a:lnTo>
                    <a:pt x="692" y="3286"/>
                  </a:lnTo>
                  <a:lnTo>
                    <a:pt x="700" y="3284"/>
                  </a:lnTo>
                  <a:lnTo>
                    <a:pt x="717" y="3270"/>
                  </a:lnTo>
                  <a:lnTo>
                    <a:pt x="728" y="3256"/>
                  </a:lnTo>
                  <a:lnTo>
                    <a:pt x="734" y="3249"/>
                  </a:lnTo>
                  <a:lnTo>
                    <a:pt x="737" y="3241"/>
                  </a:lnTo>
                  <a:lnTo>
                    <a:pt x="740" y="3235"/>
                  </a:lnTo>
                  <a:lnTo>
                    <a:pt x="743" y="3227"/>
                  </a:lnTo>
                  <a:lnTo>
                    <a:pt x="744" y="3219"/>
                  </a:lnTo>
                  <a:lnTo>
                    <a:pt x="745" y="3212"/>
                  </a:lnTo>
                  <a:lnTo>
                    <a:pt x="745" y="3202"/>
                  </a:lnTo>
                  <a:lnTo>
                    <a:pt x="745" y="3193"/>
                  </a:lnTo>
                  <a:lnTo>
                    <a:pt x="743" y="3175"/>
                  </a:lnTo>
                  <a:lnTo>
                    <a:pt x="739" y="3153"/>
                  </a:lnTo>
                  <a:lnTo>
                    <a:pt x="763" y="3153"/>
                  </a:lnTo>
                  <a:lnTo>
                    <a:pt x="787" y="3153"/>
                  </a:lnTo>
                  <a:lnTo>
                    <a:pt x="809" y="3150"/>
                  </a:lnTo>
                  <a:lnTo>
                    <a:pt x="830" y="3148"/>
                  </a:lnTo>
                  <a:lnTo>
                    <a:pt x="851" y="3144"/>
                  </a:lnTo>
                  <a:lnTo>
                    <a:pt x="871" y="3137"/>
                  </a:lnTo>
                  <a:lnTo>
                    <a:pt x="892" y="3130"/>
                  </a:lnTo>
                  <a:lnTo>
                    <a:pt x="916" y="3119"/>
                  </a:lnTo>
                  <a:lnTo>
                    <a:pt x="917" y="3106"/>
                  </a:lnTo>
                  <a:lnTo>
                    <a:pt x="916" y="3094"/>
                  </a:lnTo>
                  <a:lnTo>
                    <a:pt x="914" y="3083"/>
                  </a:lnTo>
                  <a:lnTo>
                    <a:pt x="912" y="3071"/>
                  </a:lnTo>
                  <a:lnTo>
                    <a:pt x="905" y="3049"/>
                  </a:lnTo>
                  <a:lnTo>
                    <a:pt x="897" y="3025"/>
                  </a:lnTo>
                  <a:lnTo>
                    <a:pt x="895" y="3015"/>
                  </a:lnTo>
                  <a:lnTo>
                    <a:pt x="892" y="3003"/>
                  </a:lnTo>
                  <a:lnTo>
                    <a:pt x="890" y="2992"/>
                  </a:lnTo>
                  <a:lnTo>
                    <a:pt x="890" y="2981"/>
                  </a:lnTo>
                  <a:lnTo>
                    <a:pt x="890" y="2970"/>
                  </a:lnTo>
                  <a:lnTo>
                    <a:pt x="892" y="2958"/>
                  </a:lnTo>
                  <a:lnTo>
                    <a:pt x="896" y="2946"/>
                  </a:lnTo>
                  <a:lnTo>
                    <a:pt x="901" y="2934"/>
                  </a:lnTo>
                  <a:lnTo>
                    <a:pt x="900" y="2921"/>
                  </a:lnTo>
                  <a:lnTo>
                    <a:pt x="897" y="2911"/>
                  </a:lnTo>
                  <a:lnTo>
                    <a:pt x="895" y="2901"/>
                  </a:lnTo>
                  <a:lnTo>
                    <a:pt x="891" y="2893"/>
                  </a:lnTo>
                  <a:lnTo>
                    <a:pt x="887" y="2885"/>
                  </a:lnTo>
                  <a:lnTo>
                    <a:pt x="882" y="2877"/>
                  </a:lnTo>
                  <a:lnTo>
                    <a:pt x="877" y="2872"/>
                  </a:lnTo>
                  <a:lnTo>
                    <a:pt x="871" y="2867"/>
                  </a:lnTo>
                  <a:lnTo>
                    <a:pt x="866" y="2863"/>
                  </a:lnTo>
                  <a:lnTo>
                    <a:pt x="860" y="2860"/>
                  </a:lnTo>
                  <a:lnTo>
                    <a:pt x="853" y="2858"/>
                  </a:lnTo>
                  <a:lnTo>
                    <a:pt x="847" y="2856"/>
                  </a:lnTo>
                  <a:lnTo>
                    <a:pt x="831" y="2855"/>
                  </a:lnTo>
                  <a:lnTo>
                    <a:pt x="815" y="2855"/>
                  </a:lnTo>
                  <a:lnTo>
                    <a:pt x="800" y="2858"/>
                  </a:lnTo>
                  <a:lnTo>
                    <a:pt x="783" y="2862"/>
                  </a:lnTo>
                  <a:lnTo>
                    <a:pt x="765" y="2865"/>
                  </a:lnTo>
                  <a:lnTo>
                    <a:pt x="748" y="2871"/>
                  </a:lnTo>
                  <a:lnTo>
                    <a:pt x="731" y="2876"/>
                  </a:lnTo>
                  <a:lnTo>
                    <a:pt x="713" y="2880"/>
                  </a:lnTo>
                  <a:lnTo>
                    <a:pt x="697" y="2884"/>
                  </a:lnTo>
                  <a:lnTo>
                    <a:pt x="680" y="2886"/>
                  </a:lnTo>
                  <a:lnTo>
                    <a:pt x="667" y="2897"/>
                  </a:lnTo>
                  <a:lnTo>
                    <a:pt x="655" y="2906"/>
                  </a:lnTo>
                  <a:lnTo>
                    <a:pt x="646" y="2915"/>
                  </a:lnTo>
                  <a:lnTo>
                    <a:pt x="639" y="2923"/>
                  </a:lnTo>
                  <a:lnTo>
                    <a:pt x="633" y="2933"/>
                  </a:lnTo>
                  <a:lnTo>
                    <a:pt x="628" y="2944"/>
                  </a:lnTo>
                  <a:lnTo>
                    <a:pt x="624" y="2958"/>
                  </a:lnTo>
                  <a:lnTo>
                    <a:pt x="619" y="2975"/>
                  </a:lnTo>
                  <a:lnTo>
                    <a:pt x="605" y="2977"/>
                  </a:lnTo>
                  <a:lnTo>
                    <a:pt x="592" y="2980"/>
                  </a:lnTo>
                  <a:lnTo>
                    <a:pt x="586" y="2999"/>
                  </a:lnTo>
                  <a:lnTo>
                    <a:pt x="581" y="3019"/>
                  </a:lnTo>
                  <a:lnTo>
                    <a:pt x="559" y="3020"/>
                  </a:lnTo>
                  <a:lnTo>
                    <a:pt x="538" y="3022"/>
                  </a:lnTo>
                  <a:lnTo>
                    <a:pt x="516" y="3024"/>
                  </a:lnTo>
                  <a:lnTo>
                    <a:pt x="497" y="3027"/>
                  </a:lnTo>
                  <a:lnTo>
                    <a:pt x="471" y="3044"/>
                  </a:lnTo>
                  <a:lnTo>
                    <a:pt x="451" y="3057"/>
                  </a:lnTo>
                  <a:lnTo>
                    <a:pt x="447" y="3058"/>
                  </a:lnTo>
                  <a:lnTo>
                    <a:pt x="442" y="3059"/>
                  </a:lnTo>
                  <a:lnTo>
                    <a:pt x="438" y="3059"/>
                  </a:lnTo>
                  <a:lnTo>
                    <a:pt x="433" y="3058"/>
                  </a:lnTo>
                  <a:lnTo>
                    <a:pt x="426" y="3057"/>
                  </a:lnTo>
                  <a:lnTo>
                    <a:pt x="420" y="3054"/>
                  </a:lnTo>
                  <a:lnTo>
                    <a:pt x="413" y="3050"/>
                  </a:lnTo>
                  <a:lnTo>
                    <a:pt x="406" y="3046"/>
                  </a:lnTo>
                  <a:lnTo>
                    <a:pt x="390" y="3045"/>
                  </a:lnTo>
                  <a:lnTo>
                    <a:pt x="374" y="3044"/>
                  </a:lnTo>
                  <a:lnTo>
                    <a:pt x="358" y="3044"/>
                  </a:lnTo>
                  <a:lnTo>
                    <a:pt x="342" y="3044"/>
                  </a:lnTo>
                  <a:lnTo>
                    <a:pt x="338" y="3032"/>
                  </a:lnTo>
                  <a:lnTo>
                    <a:pt x="333" y="3022"/>
                  </a:lnTo>
                  <a:lnTo>
                    <a:pt x="328" y="3011"/>
                  </a:lnTo>
                  <a:lnTo>
                    <a:pt x="321" y="3002"/>
                  </a:lnTo>
                  <a:lnTo>
                    <a:pt x="309" y="2981"/>
                  </a:lnTo>
                  <a:lnTo>
                    <a:pt x="298" y="2959"/>
                  </a:lnTo>
                  <a:lnTo>
                    <a:pt x="276" y="2958"/>
                  </a:lnTo>
                  <a:lnTo>
                    <a:pt x="257" y="2959"/>
                  </a:lnTo>
                  <a:lnTo>
                    <a:pt x="238" y="2962"/>
                  </a:lnTo>
                  <a:lnTo>
                    <a:pt x="208" y="2970"/>
                  </a:lnTo>
                  <a:lnTo>
                    <a:pt x="192" y="2959"/>
                  </a:lnTo>
                  <a:lnTo>
                    <a:pt x="177" y="2949"/>
                  </a:lnTo>
                  <a:lnTo>
                    <a:pt x="162" y="2938"/>
                  </a:lnTo>
                  <a:lnTo>
                    <a:pt x="148" y="2928"/>
                  </a:lnTo>
                  <a:lnTo>
                    <a:pt x="148" y="2905"/>
                  </a:lnTo>
                  <a:lnTo>
                    <a:pt x="149" y="2886"/>
                  </a:lnTo>
                  <a:lnTo>
                    <a:pt x="152" y="2871"/>
                  </a:lnTo>
                  <a:lnTo>
                    <a:pt x="156" y="2859"/>
                  </a:lnTo>
                  <a:lnTo>
                    <a:pt x="162" y="2847"/>
                  </a:lnTo>
                  <a:lnTo>
                    <a:pt x="173" y="2836"/>
                  </a:lnTo>
                  <a:lnTo>
                    <a:pt x="186" y="2821"/>
                  </a:lnTo>
                  <a:lnTo>
                    <a:pt x="204" y="2806"/>
                  </a:lnTo>
                  <a:lnTo>
                    <a:pt x="205" y="2776"/>
                  </a:lnTo>
                  <a:lnTo>
                    <a:pt x="208" y="2744"/>
                  </a:lnTo>
                  <a:lnTo>
                    <a:pt x="211" y="2716"/>
                  </a:lnTo>
                  <a:lnTo>
                    <a:pt x="213" y="2686"/>
                  </a:lnTo>
                  <a:lnTo>
                    <a:pt x="239" y="2666"/>
                  </a:lnTo>
                  <a:lnTo>
                    <a:pt x="261" y="2647"/>
                  </a:lnTo>
                  <a:lnTo>
                    <a:pt x="272" y="2637"/>
                  </a:lnTo>
                  <a:lnTo>
                    <a:pt x="281" y="2626"/>
                  </a:lnTo>
                  <a:lnTo>
                    <a:pt x="290" y="2616"/>
                  </a:lnTo>
                  <a:lnTo>
                    <a:pt x="298" y="2605"/>
                  </a:lnTo>
                  <a:lnTo>
                    <a:pt x="305" y="2594"/>
                  </a:lnTo>
                  <a:lnTo>
                    <a:pt x="312" y="2582"/>
                  </a:lnTo>
                  <a:lnTo>
                    <a:pt x="317" y="2569"/>
                  </a:lnTo>
                  <a:lnTo>
                    <a:pt x="322" y="2556"/>
                  </a:lnTo>
                  <a:lnTo>
                    <a:pt x="326" y="2542"/>
                  </a:lnTo>
                  <a:lnTo>
                    <a:pt x="330" y="2527"/>
                  </a:lnTo>
                  <a:lnTo>
                    <a:pt x="333" y="2512"/>
                  </a:lnTo>
                  <a:lnTo>
                    <a:pt x="334" y="2493"/>
                  </a:lnTo>
                  <a:lnTo>
                    <a:pt x="354" y="2480"/>
                  </a:lnTo>
                  <a:lnTo>
                    <a:pt x="373" y="2467"/>
                  </a:lnTo>
                  <a:lnTo>
                    <a:pt x="393" y="2454"/>
                  </a:lnTo>
                  <a:lnTo>
                    <a:pt x="413" y="2441"/>
                  </a:lnTo>
                  <a:lnTo>
                    <a:pt x="412" y="2432"/>
                  </a:lnTo>
                  <a:lnTo>
                    <a:pt x="410" y="2423"/>
                  </a:lnTo>
                  <a:lnTo>
                    <a:pt x="404" y="2414"/>
                  </a:lnTo>
                  <a:lnTo>
                    <a:pt x="398" y="2405"/>
                  </a:lnTo>
                  <a:lnTo>
                    <a:pt x="390" y="2397"/>
                  </a:lnTo>
                  <a:lnTo>
                    <a:pt x="381" y="2391"/>
                  </a:lnTo>
                  <a:lnTo>
                    <a:pt x="371" y="2384"/>
                  </a:lnTo>
                  <a:lnTo>
                    <a:pt x="360" y="2378"/>
                  </a:lnTo>
                  <a:lnTo>
                    <a:pt x="348" y="2372"/>
                  </a:lnTo>
                  <a:lnTo>
                    <a:pt x="337" y="2367"/>
                  </a:lnTo>
                  <a:lnTo>
                    <a:pt x="325" y="2363"/>
                  </a:lnTo>
                  <a:lnTo>
                    <a:pt x="313" y="2359"/>
                  </a:lnTo>
                  <a:lnTo>
                    <a:pt x="302" y="2357"/>
                  </a:lnTo>
                  <a:lnTo>
                    <a:pt x="291" y="2356"/>
                  </a:lnTo>
                  <a:lnTo>
                    <a:pt x="281" y="2354"/>
                  </a:lnTo>
                  <a:lnTo>
                    <a:pt x="272" y="2353"/>
                  </a:lnTo>
                  <a:lnTo>
                    <a:pt x="259" y="2361"/>
                  </a:lnTo>
                  <a:lnTo>
                    <a:pt x="246" y="2369"/>
                  </a:lnTo>
                  <a:lnTo>
                    <a:pt x="233" y="2378"/>
                  </a:lnTo>
                  <a:lnTo>
                    <a:pt x="221" y="2387"/>
                  </a:lnTo>
                  <a:lnTo>
                    <a:pt x="199" y="2385"/>
                  </a:lnTo>
                  <a:lnTo>
                    <a:pt x="177" y="2387"/>
                  </a:lnTo>
                  <a:lnTo>
                    <a:pt x="166" y="2388"/>
                  </a:lnTo>
                  <a:lnTo>
                    <a:pt x="156" y="2391"/>
                  </a:lnTo>
                  <a:lnTo>
                    <a:pt x="145" y="2396"/>
                  </a:lnTo>
                  <a:lnTo>
                    <a:pt x="136" y="2401"/>
                  </a:lnTo>
                  <a:lnTo>
                    <a:pt x="136" y="2408"/>
                  </a:lnTo>
                  <a:lnTo>
                    <a:pt x="136" y="2415"/>
                  </a:lnTo>
                  <a:lnTo>
                    <a:pt x="114" y="2415"/>
                  </a:lnTo>
                  <a:lnTo>
                    <a:pt x="92" y="2415"/>
                  </a:lnTo>
                  <a:lnTo>
                    <a:pt x="70" y="2415"/>
                  </a:lnTo>
                  <a:lnTo>
                    <a:pt x="48" y="2415"/>
                  </a:lnTo>
                  <a:lnTo>
                    <a:pt x="44" y="2396"/>
                  </a:lnTo>
                  <a:lnTo>
                    <a:pt x="41" y="2379"/>
                  </a:lnTo>
                  <a:lnTo>
                    <a:pt x="40" y="2363"/>
                  </a:lnTo>
                  <a:lnTo>
                    <a:pt x="39" y="2350"/>
                  </a:lnTo>
                  <a:lnTo>
                    <a:pt x="41" y="2337"/>
                  </a:lnTo>
                  <a:lnTo>
                    <a:pt x="45" y="2323"/>
                  </a:lnTo>
                  <a:lnTo>
                    <a:pt x="52" y="2310"/>
                  </a:lnTo>
                  <a:lnTo>
                    <a:pt x="63" y="2294"/>
                  </a:lnTo>
                  <a:lnTo>
                    <a:pt x="63" y="2271"/>
                  </a:lnTo>
                  <a:lnTo>
                    <a:pt x="63" y="2248"/>
                  </a:lnTo>
                  <a:lnTo>
                    <a:pt x="65" y="2224"/>
                  </a:lnTo>
                  <a:lnTo>
                    <a:pt x="65" y="2202"/>
                  </a:lnTo>
                  <a:lnTo>
                    <a:pt x="79" y="2192"/>
                  </a:lnTo>
                  <a:lnTo>
                    <a:pt x="91" y="2183"/>
                  </a:lnTo>
                  <a:lnTo>
                    <a:pt x="100" y="2173"/>
                  </a:lnTo>
                  <a:lnTo>
                    <a:pt x="109" y="2164"/>
                  </a:lnTo>
                  <a:lnTo>
                    <a:pt x="125" y="2143"/>
                  </a:lnTo>
                  <a:lnTo>
                    <a:pt x="143" y="2119"/>
                  </a:lnTo>
                  <a:lnTo>
                    <a:pt x="125" y="2104"/>
                  </a:lnTo>
                  <a:lnTo>
                    <a:pt x="108" y="2090"/>
                  </a:lnTo>
                  <a:lnTo>
                    <a:pt x="99" y="2084"/>
                  </a:lnTo>
                  <a:lnTo>
                    <a:pt x="88" y="2077"/>
                  </a:lnTo>
                  <a:lnTo>
                    <a:pt x="78" y="2072"/>
                  </a:lnTo>
                  <a:lnTo>
                    <a:pt x="67" y="2069"/>
                  </a:lnTo>
                  <a:lnTo>
                    <a:pt x="62" y="2058"/>
                  </a:lnTo>
                  <a:lnTo>
                    <a:pt x="56" y="2047"/>
                  </a:lnTo>
                  <a:lnTo>
                    <a:pt x="49" y="2037"/>
                  </a:lnTo>
                  <a:lnTo>
                    <a:pt x="41" y="2028"/>
                  </a:lnTo>
                  <a:lnTo>
                    <a:pt x="35" y="2017"/>
                  </a:lnTo>
                  <a:lnTo>
                    <a:pt x="30" y="2007"/>
                  </a:lnTo>
                  <a:lnTo>
                    <a:pt x="28" y="2002"/>
                  </a:lnTo>
                  <a:lnTo>
                    <a:pt x="27" y="1996"/>
                  </a:lnTo>
                  <a:lnTo>
                    <a:pt x="27" y="1990"/>
                  </a:lnTo>
                  <a:lnTo>
                    <a:pt x="27" y="1985"/>
                  </a:lnTo>
                  <a:lnTo>
                    <a:pt x="35" y="1980"/>
                  </a:lnTo>
                  <a:lnTo>
                    <a:pt x="41" y="1973"/>
                  </a:lnTo>
                  <a:lnTo>
                    <a:pt x="48" y="1967"/>
                  </a:lnTo>
                  <a:lnTo>
                    <a:pt x="54" y="1960"/>
                  </a:lnTo>
                  <a:lnTo>
                    <a:pt x="66" y="1943"/>
                  </a:lnTo>
                  <a:lnTo>
                    <a:pt x="74" y="1926"/>
                  </a:lnTo>
                  <a:lnTo>
                    <a:pt x="82" y="1907"/>
                  </a:lnTo>
                  <a:lnTo>
                    <a:pt x="87" y="1887"/>
                  </a:lnTo>
                  <a:lnTo>
                    <a:pt x="90" y="1868"/>
                  </a:lnTo>
                  <a:lnTo>
                    <a:pt x="91" y="1848"/>
                  </a:lnTo>
                  <a:lnTo>
                    <a:pt x="63" y="1831"/>
                  </a:lnTo>
                  <a:lnTo>
                    <a:pt x="32" y="1809"/>
                  </a:lnTo>
                  <a:lnTo>
                    <a:pt x="24" y="1803"/>
                  </a:lnTo>
                  <a:lnTo>
                    <a:pt x="18" y="1796"/>
                  </a:lnTo>
                  <a:lnTo>
                    <a:pt x="13" y="1790"/>
                  </a:lnTo>
                  <a:lnTo>
                    <a:pt x="8" y="1783"/>
                  </a:lnTo>
                  <a:lnTo>
                    <a:pt x="4" y="1777"/>
                  </a:lnTo>
                  <a:lnTo>
                    <a:pt x="1" y="1769"/>
                  </a:lnTo>
                  <a:lnTo>
                    <a:pt x="0" y="1761"/>
                  </a:lnTo>
                  <a:lnTo>
                    <a:pt x="0" y="1753"/>
                  </a:lnTo>
                  <a:lnTo>
                    <a:pt x="14" y="1749"/>
                  </a:lnTo>
                  <a:lnTo>
                    <a:pt x="30" y="1745"/>
                  </a:lnTo>
                  <a:lnTo>
                    <a:pt x="45" y="1740"/>
                  </a:lnTo>
                  <a:lnTo>
                    <a:pt x="61" y="1736"/>
                  </a:lnTo>
                  <a:lnTo>
                    <a:pt x="61" y="1693"/>
                  </a:lnTo>
                  <a:lnTo>
                    <a:pt x="62" y="1652"/>
                  </a:lnTo>
                  <a:lnTo>
                    <a:pt x="63" y="1610"/>
                  </a:lnTo>
                  <a:lnTo>
                    <a:pt x="65" y="1567"/>
                  </a:lnTo>
                  <a:lnTo>
                    <a:pt x="73" y="1562"/>
                  </a:lnTo>
                  <a:lnTo>
                    <a:pt x="80" y="1557"/>
                  </a:lnTo>
                  <a:lnTo>
                    <a:pt x="83" y="1527"/>
                  </a:lnTo>
                  <a:lnTo>
                    <a:pt x="86" y="1502"/>
                  </a:lnTo>
                  <a:lnTo>
                    <a:pt x="88" y="1490"/>
                  </a:lnTo>
                  <a:lnTo>
                    <a:pt x="92" y="1481"/>
                  </a:lnTo>
                  <a:lnTo>
                    <a:pt x="95" y="1472"/>
                  </a:lnTo>
                  <a:lnTo>
                    <a:pt x="99" y="1464"/>
                  </a:lnTo>
                  <a:lnTo>
                    <a:pt x="103" y="1457"/>
                  </a:lnTo>
                  <a:lnTo>
                    <a:pt x="108" y="1451"/>
                  </a:lnTo>
                  <a:lnTo>
                    <a:pt x="113" y="1445"/>
                  </a:lnTo>
                  <a:lnTo>
                    <a:pt x="118" y="1441"/>
                  </a:lnTo>
                  <a:lnTo>
                    <a:pt x="130" y="1432"/>
                  </a:lnTo>
                  <a:lnTo>
                    <a:pt x="144" y="1425"/>
                  </a:lnTo>
                  <a:lnTo>
                    <a:pt x="174" y="1416"/>
                  </a:lnTo>
                  <a:lnTo>
                    <a:pt x="209" y="1407"/>
                  </a:lnTo>
                  <a:lnTo>
                    <a:pt x="229" y="1402"/>
                  </a:lnTo>
                  <a:lnTo>
                    <a:pt x="248" y="1394"/>
                  </a:lnTo>
                  <a:lnTo>
                    <a:pt x="269" y="1385"/>
                  </a:lnTo>
                  <a:lnTo>
                    <a:pt x="290" y="1372"/>
                  </a:lnTo>
                  <a:lnTo>
                    <a:pt x="312" y="1371"/>
                  </a:lnTo>
                  <a:lnTo>
                    <a:pt x="330" y="1368"/>
                  </a:lnTo>
                  <a:lnTo>
                    <a:pt x="347" y="1364"/>
                  </a:lnTo>
                  <a:lnTo>
                    <a:pt x="361" y="1360"/>
                  </a:lnTo>
                  <a:lnTo>
                    <a:pt x="374" y="1356"/>
                  </a:lnTo>
                  <a:lnTo>
                    <a:pt x="385" y="1350"/>
                  </a:lnTo>
                  <a:lnTo>
                    <a:pt x="394" y="1343"/>
                  </a:lnTo>
                  <a:lnTo>
                    <a:pt x="402" y="1336"/>
                  </a:lnTo>
                  <a:lnTo>
                    <a:pt x="408" y="1328"/>
                  </a:lnTo>
                  <a:lnTo>
                    <a:pt x="413" y="1317"/>
                  </a:lnTo>
                  <a:lnTo>
                    <a:pt x="417" y="1306"/>
                  </a:lnTo>
                  <a:lnTo>
                    <a:pt x="421" y="1293"/>
                  </a:lnTo>
                  <a:lnTo>
                    <a:pt x="426" y="1261"/>
                  </a:lnTo>
                  <a:lnTo>
                    <a:pt x="430" y="1225"/>
                  </a:lnTo>
                  <a:lnTo>
                    <a:pt x="441" y="1221"/>
                  </a:lnTo>
                  <a:lnTo>
                    <a:pt x="452" y="1219"/>
                  </a:lnTo>
                  <a:lnTo>
                    <a:pt x="475" y="1233"/>
                  </a:lnTo>
                  <a:lnTo>
                    <a:pt x="494" y="1243"/>
                  </a:lnTo>
                  <a:lnTo>
                    <a:pt x="503" y="1247"/>
                  </a:lnTo>
                  <a:lnTo>
                    <a:pt x="515" y="1248"/>
                  </a:lnTo>
                  <a:lnTo>
                    <a:pt x="527" y="1248"/>
                  </a:lnTo>
                  <a:lnTo>
                    <a:pt x="541" y="1247"/>
                  </a:lnTo>
                  <a:lnTo>
                    <a:pt x="544" y="1241"/>
                  </a:lnTo>
                  <a:lnTo>
                    <a:pt x="546" y="1234"/>
                  </a:lnTo>
                  <a:lnTo>
                    <a:pt x="560" y="1230"/>
                  </a:lnTo>
                  <a:lnTo>
                    <a:pt x="576" y="1224"/>
                  </a:lnTo>
                  <a:lnTo>
                    <a:pt x="592" y="1217"/>
                  </a:lnTo>
                  <a:lnTo>
                    <a:pt x="606" y="1208"/>
                  </a:lnTo>
                  <a:lnTo>
                    <a:pt x="619" y="1199"/>
                  </a:lnTo>
                  <a:lnTo>
                    <a:pt x="632" y="1189"/>
                  </a:lnTo>
                  <a:lnTo>
                    <a:pt x="644" y="1177"/>
                  </a:lnTo>
                  <a:lnTo>
                    <a:pt x="653" y="1164"/>
                  </a:lnTo>
                  <a:lnTo>
                    <a:pt x="661" y="1152"/>
                  </a:lnTo>
                  <a:lnTo>
                    <a:pt x="666" y="1139"/>
                  </a:lnTo>
                  <a:lnTo>
                    <a:pt x="668" y="1131"/>
                  </a:lnTo>
                  <a:lnTo>
                    <a:pt x="670" y="1125"/>
                  </a:lnTo>
                  <a:lnTo>
                    <a:pt x="670" y="1118"/>
                  </a:lnTo>
                  <a:lnTo>
                    <a:pt x="670" y="1112"/>
                  </a:lnTo>
                  <a:lnTo>
                    <a:pt x="668" y="1104"/>
                  </a:lnTo>
                  <a:lnTo>
                    <a:pt x="666" y="1098"/>
                  </a:lnTo>
                  <a:lnTo>
                    <a:pt x="663" y="1091"/>
                  </a:lnTo>
                  <a:lnTo>
                    <a:pt x="659" y="1085"/>
                  </a:lnTo>
                  <a:lnTo>
                    <a:pt x="654" y="1077"/>
                  </a:lnTo>
                  <a:lnTo>
                    <a:pt x="649" y="1070"/>
                  </a:lnTo>
                  <a:lnTo>
                    <a:pt x="642" y="1064"/>
                  </a:lnTo>
                  <a:lnTo>
                    <a:pt x="635" y="1057"/>
                  </a:lnTo>
                  <a:lnTo>
                    <a:pt x="635" y="1042"/>
                  </a:lnTo>
                  <a:lnTo>
                    <a:pt x="636" y="1026"/>
                  </a:lnTo>
                  <a:lnTo>
                    <a:pt x="649" y="1023"/>
                  </a:lnTo>
                  <a:lnTo>
                    <a:pt x="659" y="1022"/>
                  </a:lnTo>
                  <a:lnTo>
                    <a:pt x="674" y="1022"/>
                  </a:lnTo>
                  <a:lnTo>
                    <a:pt x="700" y="1025"/>
                  </a:lnTo>
                  <a:lnTo>
                    <a:pt x="700" y="1012"/>
                  </a:lnTo>
                  <a:lnTo>
                    <a:pt x="701" y="999"/>
                  </a:lnTo>
                  <a:lnTo>
                    <a:pt x="702" y="986"/>
                  </a:lnTo>
                  <a:lnTo>
                    <a:pt x="704" y="973"/>
                  </a:lnTo>
                  <a:lnTo>
                    <a:pt x="697" y="962"/>
                  </a:lnTo>
                  <a:lnTo>
                    <a:pt x="691" y="951"/>
                  </a:lnTo>
                  <a:lnTo>
                    <a:pt x="684" y="940"/>
                  </a:lnTo>
                  <a:lnTo>
                    <a:pt x="680" y="930"/>
                  </a:lnTo>
                  <a:lnTo>
                    <a:pt x="671" y="909"/>
                  </a:lnTo>
                  <a:lnTo>
                    <a:pt x="665" y="888"/>
                  </a:lnTo>
                  <a:lnTo>
                    <a:pt x="658" y="867"/>
                  </a:lnTo>
                  <a:lnTo>
                    <a:pt x="650" y="846"/>
                  </a:lnTo>
                  <a:lnTo>
                    <a:pt x="645" y="836"/>
                  </a:lnTo>
                  <a:lnTo>
                    <a:pt x="640" y="826"/>
                  </a:lnTo>
                  <a:lnTo>
                    <a:pt x="633" y="815"/>
                  </a:lnTo>
                  <a:lnTo>
                    <a:pt x="627" y="805"/>
                  </a:lnTo>
                  <a:lnTo>
                    <a:pt x="626" y="785"/>
                  </a:lnTo>
                  <a:lnTo>
                    <a:pt x="624" y="765"/>
                  </a:lnTo>
                  <a:lnTo>
                    <a:pt x="623" y="745"/>
                  </a:lnTo>
                  <a:lnTo>
                    <a:pt x="623" y="724"/>
                  </a:lnTo>
                  <a:lnTo>
                    <a:pt x="610" y="709"/>
                  </a:lnTo>
                  <a:lnTo>
                    <a:pt x="600" y="693"/>
                  </a:lnTo>
                  <a:lnTo>
                    <a:pt x="592" y="677"/>
                  </a:lnTo>
                  <a:lnTo>
                    <a:pt x="585" y="662"/>
                  </a:lnTo>
                  <a:lnTo>
                    <a:pt x="580" y="646"/>
                  </a:lnTo>
                  <a:lnTo>
                    <a:pt x="577" y="631"/>
                  </a:lnTo>
                  <a:lnTo>
                    <a:pt x="576" y="615"/>
                  </a:lnTo>
                  <a:lnTo>
                    <a:pt x="577" y="599"/>
                  </a:lnTo>
                  <a:lnTo>
                    <a:pt x="580" y="584"/>
                  </a:lnTo>
                  <a:lnTo>
                    <a:pt x="585" y="568"/>
                  </a:lnTo>
                  <a:lnTo>
                    <a:pt x="592" y="554"/>
                  </a:lnTo>
                  <a:lnTo>
                    <a:pt x="600" y="538"/>
                  </a:lnTo>
                  <a:lnTo>
                    <a:pt x="609" y="523"/>
                  </a:lnTo>
                  <a:lnTo>
                    <a:pt x="619" y="508"/>
                  </a:lnTo>
                  <a:lnTo>
                    <a:pt x="632" y="493"/>
                  </a:lnTo>
                  <a:lnTo>
                    <a:pt x="646" y="478"/>
                  </a:lnTo>
                  <a:lnTo>
                    <a:pt x="649" y="463"/>
                  </a:lnTo>
                  <a:lnTo>
                    <a:pt x="652" y="451"/>
                  </a:lnTo>
                  <a:lnTo>
                    <a:pt x="657" y="441"/>
                  </a:lnTo>
                  <a:lnTo>
                    <a:pt x="662" y="430"/>
                  </a:lnTo>
                  <a:lnTo>
                    <a:pt x="676" y="412"/>
                  </a:lnTo>
                  <a:lnTo>
                    <a:pt x="691" y="390"/>
                  </a:lnTo>
                  <a:lnTo>
                    <a:pt x="689" y="359"/>
                  </a:lnTo>
                  <a:lnTo>
                    <a:pt x="688" y="326"/>
                  </a:lnTo>
                  <a:lnTo>
                    <a:pt x="687" y="295"/>
                  </a:lnTo>
                  <a:lnTo>
                    <a:pt x="687" y="265"/>
                  </a:lnTo>
                  <a:lnTo>
                    <a:pt x="693" y="261"/>
                  </a:lnTo>
                  <a:lnTo>
                    <a:pt x="697" y="257"/>
                  </a:lnTo>
                  <a:lnTo>
                    <a:pt x="701" y="252"/>
                  </a:lnTo>
                  <a:lnTo>
                    <a:pt x="704" y="247"/>
                  </a:lnTo>
                  <a:lnTo>
                    <a:pt x="705" y="240"/>
                  </a:lnTo>
                  <a:lnTo>
                    <a:pt x="706" y="234"/>
                  </a:lnTo>
                  <a:lnTo>
                    <a:pt x="706" y="227"/>
                  </a:lnTo>
                  <a:lnTo>
                    <a:pt x="706" y="221"/>
                  </a:lnTo>
                  <a:lnTo>
                    <a:pt x="700" y="192"/>
                  </a:lnTo>
                  <a:lnTo>
                    <a:pt x="694" y="165"/>
                  </a:lnTo>
                  <a:lnTo>
                    <a:pt x="720" y="161"/>
                  </a:lnTo>
                  <a:lnTo>
                    <a:pt x="745" y="156"/>
                  </a:lnTo>
                  <a:lnTo>
                    <a:pt x="758" y="153"/>
                  </a:lnTo>
                  <a:lnTo>
                    <a:pt x="771" y="152"/>
                  </a:lnTo>
                  <a:lnTo>
                    <a:pt x="786" y="150"/>
                  </a:lnTo>
                  <a:lnTo>
                    <a:pt x="800" y="149"/>
                  </a:lnTo>
                  <a:lnTo>
                    <a:pt x="810" y="166"/>
                  </a:lnTo>
                  <a:lnTo>
                    <a:pt x="821" y="179"/>
                  </a:lnTo>
                  <a:lnTo>
                    <a:pt x="831" y="190"/>
                  </a:lnTo>
                  <a:lnTo>
                    <a:pt x="843" y="197"/>
                  </a:lnTo>
                  <a:lnTo>
                    <a:pt x="856" y="203"/>
                  </a:lnTo>
                  <a:lnTo>
                    <a:pt x="868" y="205"/>
                  </a:lnTo>
                  <a:lnTo>
                    <a:pt x="879" y="206"/>
                  </a:lnTo>
                  <a:lnTo>
                    <a:pt x="892" y="204"/>
                  </a:lnTo>
                  <a:lnTo>
                    <a:pt x="904" y="200"/>
                  </a:lnTo>
                  <a:lnTo>
                    <a:pt x="916" y="195"/>
                  </a:lnTo>
                  <a:lnTo>
                    <a:pt x="926" y="187"/>
                  </a:lnTo>
                  <a:lnTo>
                    <a:pt x="936" y="178"/>
                  </a:lnTo>
                  <a:lnTo>
                    <a:pt x="947" y="167"/>
                  </a:lnTo>
                  <a:lnTo>
                    <a:pt x="955" y="154"/>
                  </a:lnTo>
                  <a:lnTo>
                    <a:pt x="962" y="141"/>
                  </a:lnTo>
                  <a:lnTo>
                    <a:pt x="969" y="126"/>
                  </a:lnTo>
                  <a:lnTo>
                    <a:pt x="995" y="118"/>
                  </a:lnTo>
                  <a:lnTo>
                    <a:pt x="1018" y="113"/>
                  </a:lnTo>
                  <a:lnTo>
                    <a:pt x="1030" y="111"/>
                  </a:lnTo>
                  <a:lnTo>
                    <a:pt x="1043" y="110"/>
                  </a:lnTo>
                  <a:lnTo>
                    <a:pt x="1055" y="110"/>
                  </a:lnTo>
                  <a:lnTo>
                    <a:pt x="1069" y="111"/>
                  </a:lnTo>
                  <a:lnTo>
                    <a:pt x="1078" y="123"/>
                  </a:lnTo>
                  <a:lnTo>
                    <a:pt x="1089" y="132"/>
                  </a:lnTo>
                  <a:lnTo>
                    <a:pt x="1098" y="139"/>
                  </a:lnTo>
                  <a:lnTo>
                    <a:pt x="1106" y="143"/>
                  </a:lnTo>
                  <a:lnTo>
                    <a:pt x="1115" y="143"/>
                  </a:lnTo>
                  <a:lnTo>
                    <a:pt x="1123" y="141"/>
                  </a:lnTo>
                  <a:lnTo>
                    <a:pt x="1130" y="137"/>
                  </a:lnTo>
                  <a:lnTo>
                    <a:pt x="1138" y="132"/>
                  </a:lnTo>
                  <a:lnTo>
                    <a:pt x="1145" y="126"/>
                  </a:lnTo>
                  <a:lnTo>
                    <a:pt x="1151" y="118"/>
                  </a:lnTo>
                  <a:lnTo>
                    <a:pt x="1158" y="109"/>
                  </a:lnTo>
                  <a:lnTo>
                    <a:pt x="1163" y="98"/>
                  </a:lnTo>
                  <a:lnTo>
                    <a:pt x="1172" y="79"/>
                  </a:lnTo>
                  <a:lnTo>
                    <a:pt x="1178" y="59"/>
                  </a:lnTo>
                  <a:lnTo>
                    <a:pt x="1197" y="58"/>
                  </a:lnTo>
                  <a:lnTo>
                    <a:pt x="1212" y="57"/>
                  </a:lnTo>
                  <a:lnTo>
                    <a:pt x="1225" y="54"/>
                  </a:lnTo>
                  <a:lnTo>
                    <a:pt x="1236" y="50"/>
                  </a:lnTo>
                  <a:lnTo>
                    <a:pt x="1245" y="44"/>
                  </a:lnTo>
                  <a:lnTo>
                    <a:pt x="1253" y="36"/>
                  </a:lnTo>
                  <a:lnTo>
                    <a:pt x="1262" y="24"/>
                  </a:lnTo>
                  <a:lnTo>
                    <a:pt x="1271" y="11"/>
                  </a:lnTo>
                  <a:lnTo>
                    <a:pt x="1301" y="9"/>
                  </a:lnTo>
                  <a:lnTo>
                    <a:pt x="1329" y="5"/>
                  </a:lnTo>
                  <a:lnTo>
                    <a:pt x="1358" y="2"/>
                  </a:lnTo>
                  <a:lnTo>
                    <a:pt x="1387" y="0"/>
                  </a:lnTo>
                  <a:lnTo>
                    <a:pt x="1419" y="31"/>
                  </a:lnTo>
                  <a:lnTo>
                    <a:pt x="1449" y="57"/>
                  </a:lnTo>
                  <a:lnTo>
                    <a:pt x="1463" y="69"/>
                  </a:lnTo>
                  <a:lnTo>
                    <a:pt x="1476" y="80"/>
                  </a:lnTo>
                  <a:lnTo>
                    <a:pt x="1488" y="92"/>
                  </a:lnTo>
                  <a:lnTo>
                    <a:pt x="1498" y="104"/>
                  </a:lnTo>
                  <a:lnTo>
                    <a:pt x="1508" y="115"/>
                  </a:lnTo>
                  <a:lnTo>
                    <a:pt x="1514" y="128"/>
                  </a:lnTo>
                  <a:lnTo>
                    <a:pt x="1519" y="141"/>
                  </a:lnTo>
                  <a:lnTo>
                    <a:pt x="1522" y="157"/>
                  </a:lnTo>
                  <a:lnTo>
                    <a:pt x="1523" y="174"/>
                  </a:lnTo>
                  <a:lnTo>
                    <a:pt x="1522" y="192"/>
                  </a:lnTo>
                  <a:lnTo>
                    <a:pt x="1518" y="213"/>
                  </a:lnTo>
                  <a:lnTo>
                    <a:pt x="1512" y="236"/>
                  </a:lnTo>
                  <a:lnTo>
                    <a:pt x="1515" y="243"/>
                  </a:lnTo>
                  <a:lnTo>
                    <a:pt x="1517" y="251"/>
                  </a:lnTo>
                  <a:lnTo>
                    <a:pt x="1517" y="265"/>
                  </a:lnTo>
                  <a:lnTo>
                    <a:pt x="1515" y="288"/>
                  </a:lnTo>
                  <a:lnTo>
                    <a:pt x="1506" y="291"/>
                  </a:lnTo>
                  <a:lnTo>
                    <a:pt x="1498" y="295"/>
                  </a:lnTo>
                  <a:lnTo>
                    <a:pt x="1492" y="301"/>
                  </a:lnTo>
                  <a:lnTo>
                    <a:pt x="1485" y="308"/>
                  </a:lnTo>
                  <a:lnTo>
                    <a:pt x="1482" y="317"/>
                  </a:lnTo>
                  <a:lnTo>
                    <a:pt x="1476" y="325"/>
                  </a:lnTo>
                  <a:lnTo>
                    <a:pt x="1474" y="335"/>
                  </a:lnTo>
                  <a:lnTo>
                    <a:pt x="1471" y="346"/>
                  </a:lnTo>
                  <a:lnTo>
                    <a:pt x="1470" y="356"/>
                  </a:lnTo>
                  <a:lnTo>
                    <a:pt x="1470" y="366"/>
                  </a:lnTo>
                  <a:lnTo>
                    <a:pt x="1470" y="377"/>
                  </a:lnTo>
                  <a:lnTo>
                    <a:pt x="1470" y="387"/>
                  </a:lnTo>
                  <a:lnTo>
                    <a:pt x="1472" y="396"/>
                  </a:lnTo>
                  <a:lnTo>
                    <a:pt x="1474" y="407"/>
                  </a:lnTo>
                  <a:lnTo>
                    <a:pt x="1478" y="415"/>
                  </a:lnTo>
                  <a:lnTo>
                    <a:pt x="1480" y="422"/>
                  </a:lnTo>
                  <a:lnTo>
                    <a:pt x="1491" y="426"/>
                  </a:lnTo>
                  <a:lnTo>
                    <a:pt x="1501" y="429"/>
                  </a:lnTo>
                  <a:lnTo>
                    <a:pt x="1513" y="430"/>
                  </a:lnTo>
                  <a:lnTo>
                    <a:pt x="1523" y="429"/>
                  </a:lnTo>
                  <a:lnTo>
                    <a:pt x="1545" y="426"/>
                  </a:lnTo>
                  <a:lnTo>
                    <a:pt x="1569" y="421"/>
                  </a:lnTo>
                  <a:lnTo>
                    <a:pt x="1580" y="420"/>
                  </a:lnTo>
                  <a:lnTo>
                    <a:pt x="1592" y="417"/>
                  </a:lnTo>
                  <a:lnTo>
                    <a:pt x="1603" y="417"/>
                  </a:lnTo>
                  <a:lnTo>
                    <a:pt x="1614" y="417"/>
                  </a:lnTo>
                  <a:lnTo>
                    <a:pt x="1626" y="418"/>
                  </a:lnTo>
                  <a:lnTo>
                    <a:pt x="1636" y="421"/>
                  </a:lnTo>
                  <a:lnTo>
                    <a:pt x="1647" y="425"/>
                  </a:lnTo>
                  <a:lnTo>
                    <a:pt x="1657" y="433"/>
                  </a:lnTo>
                  <a:lnTo>
                    <a:pt x="1678" y="434"/>
                  </a:lnTo>
                  <a:lnTo>
                    <a:pt x="1699" y="435"/>
                  </a:lnTo>
                  <a:lnTo>
                    <a:pt x="1718" y="437"/>
                  </a:lnTo>
                  <a:lnTo>
                    <a:pt x="1739" y="439"/>
                  </a:lnTo>
                  <a:lnTo>
                    <a:pt x="1750" y="472"/>
                  </a:lnTo>
                  <a:lnTo>
                    <a:pt x="1757" y="503"/>
                  </a:lnTo>
                  <a:lnTo>
                    <a:pt x="1765" y="536"/>
                  </a:lnTo>
                  <a:lnTo>
                    <a:pt x="1772" y="568"/>
                  </a:lnTo>
                  <a:lnTo>
                    <a:pt x="1750" y="571"/>
                  </a:lnTo>
                  <a:lnTo>
                    <a:pt x="1734" y="575"/>
                  </a:lnTo>
                  <a:lnTo>
                    <a:pt x="1729" y="577"/>
                  </a:lnTo>
                  <a:lnTo>
                    <a:pt x="1724" y="580"/>
                  </a:lnTo>
                  <a:lnTo>
                    <a:pt x="1720" y="582"/>
                  </a:lnTo>
                  <a:lnTo>
                    <a:pt x="1717" y="585"/>
                  </a:lnTo>
                  <a:lnTo>
                    <a:pt x="1714" y="589"/>
                  </a:lnTo>
                  <a:lnTo>
                    <a:pt x="1713" y="593"/>
                  </a:lnTo>
                  <a:lnTo>
                    <a:pt x="1713" y="597"/>
                  </a:lnTo>
                  <a:lnTo>
                    <a:pt x="1712" y="601"/>
                  </a:lnTo>
                  <a:lnTo>
                    <a:pt x="1713" y="610"/>
                  </a:lnTo>
                  <a:lnTo>
                    <a:pt x="1716" y="619"/>
                  </a:lnTo>
                  <a:lnTo>
                    <a:pt x="1717" y="628"/>
                  </a:lnTo>
                  <a:lnTo>
                    <a:pt x="1720" y="637"/>
                  </a:lnTo>
                  <a:lnTo>
                    <a:pt x="1720" y="646"/>
                  </a:lnTo>
                  <a:lnTo>
                    <a:pt x="1720" y="655"/>
                  </a:lnTo>
                  <a:lnTo>
                    <a:pt x="1717" y="660"/>
                  </a:lnTo>
                  <a:lnTo>
                    <a:pt x="1716" y="664"/>
                  </a:lnTo>
                  <a:lnTo>
                    <a:pt x="1712" y="668"/>
                  </a:lnTo>
                  <a:lnTo>
                    <a:pt x="1708" y="672"/>
                  </a:lnTo>
                  <a:lnTo>
                    <a:pt x="1703" y="675"/>
                  </a:lnTo>
                  <a:lnTo>
                    <a:pt x="1698" y="679"/>
                  </a:lnTo>
                  <a:lnTo>
                    <a:pt x="1690" y="681"/>
                  </a:lnTo>
                  <a:lnTo>
                    <a:pt x="1681" y="684"/>
                  </a:lnTo>
                  <a:lnTo>
                    <a:pt x="1678" y="670"/>
                  </a:lnTo>
                  <a:lnTo>
                    <a:pt x="1675" y="657"/>
                  </a:lnTo>
                  <a:lnTo>
                    <a:pt x="1673" y="644"/>
                  </a:lnTo>
                  <a:lnTo>
                    <a:pt x="1669" y="631"/>
                  </a:lnTo>
                  <a:lnTo>
                    <a:pt x="1659" y="631"/>
                  </a:lnTo>
                  <a:lnTo>
                    <a:pt x="1647" y="633"/>
                  </a:lnTo>
                  <a:lnTo>
                    <a:pt x="1635" y="637"/>
                  </a:lnTo>
                  <a:lnTo>
                    <a:pt x="1622" y="642"/>
                  </a:lnTo>
                  <a:lnTo>
                    <a:pt x="1596" y="655"/>
                  </a:lnTo>
                  <a:lnTo>
                    <a:pt x="1570" y="671"/>
                  </a:lnTo>
                  <a:lnTo>
                    <a:pt x="1519" y="705"/>
                  </a:lnTo>
                  <a:lnTo>
                    <a:pt x="1478" y="732"/>
                  </a:lnTo>
                  <a:lnTo>
                    <a:pt x="1443" y="745"/>
                  </a:lnTo>
                  <a:lnTo>
                    <a:pt x="1410" y="759"/>
                  </a:lnTo>
                  <a:lnTo>
                    <a:pt x="1378" y="775"/>
                  </a:lnTo>
                  <a:lnTo>
                    <a:pt x="1348" y="792"/>
                  </a:lnTo>
                  <a:lnTo>
                    <a:pt x="1318" y="811"/>
                  </a:lnTo>
                  <a:lnTo>
                    <a:pt x="1289" y="831"/>
                  </a:lnTo>
                  <a:lnTo>
                    <a:pt x="1260" y="853"/>
                  </a:lnTo>
                  <a:lnTo>
                    <a:pt x="1233" y="876"/>
                  </a:lnTo>
                  <a:lnTo>
                    <a:pt x="1223" y="899"/>
                  </a:lnTo>
                  <a:lnTo>
                    <a:pt x="1215" y="922"/>
                  </a:lnTo>
                  <a:lnTo>
                    <a:pt x="1207" y="945"/>
                  </a:lnTo>
                  <a:lnTo>
                    <a:pt x="1202" y="969"/>
                  </a:lnTo>
                  <a:lnTo>
                    <a:pt x="1194" y="1016"/>
                  </a:lnTo>
                  <a:lnTo>
                    <a:pt x="1188" y="1062"/>
                  </a:lnTo>
                  <a:lnTo>
                    <a:pt x="1185" y="1086"/>
                  </a:lnTo>
                  <a:lnTo>
                    <a:pt x="1181" y="1109"/>
                  </a:lnTo>
                  <a:lnTo>
                    <a:pt x="1176" y="1133"/>
                  </a:lnTo>
                  <a:lnTo>
                    <a:pt x="1171" y="1155"/>
                  </a:lnTo>
                  <a:lnTo>
                    <a:pt x="1164" y="1178"/>
                  </a:lnTo>
                  <a:lnTo>
                    <a:pt x="1155" y="1199"/>
                  </a:lnTo>
                  <a:lnTo>
                    <a:pt x="1146" y="1221"/>
                  </a:lnTo>
                  <a:lnTo>
                    <a:pt x="1133" y="1242"/>
                  </a:lnTo>
                  <a:lnTo>
                    <a:pt x="1129" y="1273"/>
                  </a:lnTo>
                  <a:lnTo>
                    <a:pt x="1125" y="1303"/>
                  </a:lnTo>
                  <a:lnTo>
                    <a:pt x="1121" y="1333"/>
                  </a:lnTo>
                  <a:lnTo>
                    <a:pt x="1116" y="1362"/>
                  </a:lnTo>
                  <a:lnTo>
                    <a:pt x="1109" y="1389"/>
                  </a:lnTo>
                  <a:lnTo>
                    <a:pt x="1103" y="1418"/>
                  </a:lnTo>
                  <a:lnTo>
                    <a:pt x="1096" y="1444"/>
                  </a:lnTo>
                  <a:lnTo>
                    <a:pt x="1089" y="1471"/>
                  </a:lnTo>
                  <a:lnTo>
                    <a:pt x="1070" y="1524"/>
                  </a:lnTo>
                  <a:lnTo>
                    <a:pt x="1051" y="1578"/>
                  </a:lnTo>
                  <a:lnTo>
                    <a:pt x="1029" y="1634"/>
                  </a:lnTo>
                  <a:lnTo>
                    <a:pt x="1004" y="1689"/>
                  </a:lnTo>
                  <a:lnTo>
                    <a:pt x="1000" y="1730"/>
                  </a:lnTo>
                  <a:lnTo>
                    <a:pt x="994" y="1769"/>
                  </a:lnTo>
                  <a:lnTo>
                    <a:pt x="991" y="1788"/>
                  </a:lnTo>
                  <a:lnTo>
                    <a:pt x="986" y="1807"/>
                  </a:lnTo>
                  <a:lnTo>
                    <a:pt x="981" y="1826"/>
                  </a:lnTo>
                  <a:lnTo>
                    <a:pt x="973" y="1844"/>
                  </a:lnTo>
                  <a:lnTo>
                    <a:pt x="964" y="1929"/>
                  </a:lnTo>
                  <a:lnTo>
                    <a:pt x="957" y="1994"/>
                  </a:lnTo>
                  <a:lnTo>
                    <a:pt x="952" y="2042"/>
                  </a:lnTo>
                  <a:lnTo>
                    <a:pt x="948" y="2077"/>
                  </a:lnTo>
                  <a:lnTo>
                    <a:pt x="944" y="2102"/>
                  </a:lnTo>
                  <a:lnTo>
                    <a:pt x="942" y="2121"/>
                  </a:lnTo>
                  <a:lnTo>
                    <a:pt x="939" y="2140"/>
                  </a:lnTo>
                  <a:lnTo>
                    <a:pt x="935" y="2159"/>
                  </a:lnTo>
                  <a:lnTo>
                    <a:pt x="918" y="2197"/>
                  </a:lnTo>
                  <a:lnTo>
                    <a:pt x="909" y="2225"/>
                  </a:lnTo>
                  <a:lnTo>
                    <a:pt x="900" y="2257"/>
                  </a:lnTo>
                  <a:lnTo>
                    <a:pt x="888" y="2305"/>
                  </a:lnTo>
                  <a:lnTo>
                    <a:pt x="862" y="2353"/>
                  </a:lnTo>
                  <a:lnTo>
                    <a:pt x="836" y="2397"/>
                  </a:lnTo>
                  <a:lnTo>
                    <a:pt x="826" y="2418"/>
                  </a:lnTo>
                  <a:lnTo>
                    <a:pt x="817" y="2437"/>
                  </a:lnTo>
                  <a:lnTo>
                    <a:pt x="810" y="2456"/>
                  </a:lnTo>
                  <a:lnTo>
                    <a:pt x="806" y="2473"/>
                  </a:lnTo>
                  <a:lnTo>
                    <a:pt x="805" y="2480"/>
                  </a:lnTo>
                  <a:lnTo>
                    <a:pt x="805" y="2487"/>
                  </a:lnTo>
                  <a:lnTo>
                    <a:pt x="806" y="2493"/>
                  </a:lnTo>
                  <a:lnTo>
                    <a:pt x="809" y="2500"/>
                  </a:lnTo>
                  <a:lnTo>
                    <a:pt x="812" y="2505"/>
                  </a:lnTo>
                  <a:lnTo>
                    <a:pt x="817" y="2509"/>
                  </a:lnTo>
                  <a:lnTo>
                    <a:pt x="822" y="2514"/>
                  </a:lnTo>
                  <a:lnTo>
                    <a:pt x="830" y="2517"/>
                  </a:lnTo>
                  <a:lnTo>
                    <a:pt x="838" y="2521"/>
                  </a:lnTo>
                  <a:lnTo>
                    <a:pt x="847" y="2523"/>
                  </a:lnTo>
                  <a:lnTo>
                    <a:pt x="858" y="2525"/>
                  </a:lnTo>
                  <a:lnTo>
                    <a:pt x="871" y="2525"/>
                  </a:lnTo>
                  <a:lnTo>
                    <a:pt x="886" y="2525"/>
                  </a:lnTo>
                  <a:lnTo>
                    <a:pt x="901" y="2525"/>
                  </a:lnTo>
                  <a:lnTo>
                    <a:pt x="920" y="2523"/>
                  </a:lnTo>
                  <a:lnTo>
                    <a:pt x="939" y="2521"/>
                  </a:lnTo>
                  <a:lnTo>
                    <a:pt x="951" y="2512"/>
                  </a:lnTo>
                  <a:lnTo>
                    <a:pt x="962" y="2504"/>
                  </a:lnTo>
                  <a:lnTo>
                    <a:pt x="975" y="2495"/>
                  </a:lnTo>
                  <a:lnTo>
                    <a:pt x="989" y="2486"/>
                  </a:lnTo>
                  <a:lnTo>
                    <a:pt x="991" y="2509"/>
                  </a:lnTo>
                  <a:lnTo>
                    <a:pt x="996" y="2531"/>
                  </a:lnTo>
                  <a:lnTo>
                    <a:pt x="1003" y="2553"/>
                  </a:lnTo>
                  <a:lnTo>
                    <a:pt x="1009" y="2575"/>
                  </a:lnTo>
                  <a:lnTo>
                    <a:pt x="1017" y="2597"/>
                  </a:lnTo>
                  <a:lnTo>
                    <a:pt x="1024" y="2621"/>
                  </a:lnTo>
                  <a:lnTo>
                    <a:pt x="1029" y="2643"/>
                  </a:lnTo>
                  <a:lnTo>
                    <a:pt x="1033" y="2666"/>
                  </a:lnTo>
                  <a:lnTo>
                    <a:pt x="1046" y="2676"/>
                  </a:lnTo>
                  <a:lnTo>
                    <a:pt x="1056" y="2679"/>
                  </a:lnTo>
                  <a:lnTo>
                    <a:pt x="1072" y="2685"/>
                  </a:lnTo>
                  <a:lnTo>
                    <a:pt x="1098" y="2690"/>
                  </a:lnTo>
                  <a:lnTo>
                    <a:pt x="1096" y="2664"/>
                  </a:lnTo>
                  <a:lnTo>
                    <a:pt x="1096" y="2639"/>
                  </a:lnTo>
                  <a:lnTo>
                    <a:pt x="1096" y="2614"/>
                  </a:lnTo>
                  <a:lnTo>
                    <a:pt x="1096" y="2590"/>
                  </a:lnTo>
                  <a:lnTo>
                    <a:pt x="1090" y="2586"/>
                  </a:lnTo>
                  <a:lnTo>
                    <a:pt x="1083" y="2581"/>
                  </a:lnTo>
                  <a:lnTo>
                    <a:pt x="1080" y="2575"/>
                  </a:lnTo>
                  <a:lnTo>
                    <a:pt x="1076" y="2570"/>
                  </a:lnTo>
                  <a:lnTo>
                    <a:pt x="1070" y="2558"/>
                  </a:lnTo>
                  <a:lnTo>
                    <a:pt x="1065" y="2544"/>
                  </a:lnTo>
                  <a:lnTo>
                    <a:pt x="1081" y="2538"/>
                  </a:lnTo>
                  <a:lnTo>
                    <a:pt x="1093" y="2534"/>
                  </a:lnTo>
                  <a:lnTo>
                    <a:pt x="1103" y="2531"/>
                  </a:lnTo>
                  <a:lnTo>
                    <a:pt x="1117" y="2530"/>
                  </a:lnTo>
                  <a:lnTo>
                    <a:pt x="1113" y="2545"/>
                  </a:lnTo>
                  <a:lnTo>
                    <a:pt x="1109" y="2560"/>
                  </a:lnTo>
                  <a:lnTo>
                    <a:pt x="1107" y="2574"/>
                  </a:lnTo>
                  <a:lnTo>
                    <a:pt x="1104" y="2588"/>
                  </a:lnTo>
                  <a:lnTo>
                    <a:pt x="1120" y="2588"/>
                  </a:lnTo>
                  <a:lnTo>
                    <a:pt x="1136" y="2588"/>
                  </a:lnTo>
                  <a:lnTo>
                    <a:pt x="1152" y="2588"/>
                  </a:lnTo>
                  <a:lnTo>
                    <a:pt x="1169" y="2588"/>
                  </a:lnTo>
                  <a:lnTo>
                    <a:pt x="1162" y="2620"/>
                  </a:lnTo>
                  <a:lnTo>
                    <a:pt x="1155" y="2652"/>
                  </a:lnTo>
                  <a:lnTo>
                    <a:pt x="1149" y="2685"/>
                  </a:lnTo>
                  <a:lnTo>
                    <a:pt x="1142" y="2717"/>
                  </a:lnTo>
                  <a:lnTo>
                    <a:pt x="1156" y="2716"/>
                  </a:lnTo>
                  <a:lnTo>
                    <a:pt x="1171" y="2713"/>
                  </a:lnTo>
                  <a:lnTo>
                    <a:pt x="1184" y="2708"/>
                  </a:lnTo>
                  <a:lnTo>
                    <a:pt x="1197" y="2700"/>
                  </a:lnTo>
                  <a:lnTo>
                    <a:pt x="1208" y="2692"/>
                  </a:lnTo>
                  <a:lnTo>
                    <a:pt x="1219" y="2683"/>
                  </a:lnTo>
                  <a:lnTo>
                    <a:pt x="1229" y="2672"/>
                  </a:lnTo>
                  <a:lnTo>
                    <a:pt x="1238" y="2660"/>
                  </a:lnTo>
                  <a:lnTo>
                    <a:pt x="1247" y="2647"/>
                  </a:lnTo>
                  <a:lnTo>
                    <a:pt x="1255" y="2634"/>
                  </a:lnTo>
                  <a:lnTo>
                    <a:pt x="1263" y="2620"/>
                  </a:lnTo>
                  <a:lnTo>
                    <a:pt x="1268" y="2605"/>
                  </a:lnTo>
                  <a:lnTo>
                    <a:pt x="1273" y="2591"/>
                  </a:lnTo>
                  <a:lnTo>
                    <a:pt x="1279" y="2577"/>
                  </a:lnTo>
                  <a:lnTo>
                    <a:pt x="1283" y="2564"/>
                  </a:lnTo>
                  <a:lnTo>
                    <a:pt x="1285" y="2549"/>
                  </a:lnTo>
                  <a:lnTo>
                    <a:pt x="1290" y="2549"/>
                  </a:lnTo>
                  <a:lnTo>
                    <a:pt x="1297" y="2549"/>
                  </a:lnTo>
                  <a:lnTo>
                    <a:pt x="1298" y="2575"/>
                  </a:lnTo>
                  <a:lnTo>
                    <a:pt x="1299" y="2601"/>
                  </a:lnTo>
                  <a:lnTo>
                    <a:pt x="1301" y="2627"/>
                  </a:lnTo>
                  <a:lnTo>
                    <a:pt x="1302" y="2653"/>
                  </a:lnTo>
                  <a:lnTo>
                    <a:pt x="1309" y="2653"/>
                  </a:lnTo>
                  <a:lnTo>
                    <a:pt x="1318" y="2653"/>
                  </a:lnTo>
                  <a:lnTo>
                    <a:pt x="1320" y="2647"/>
                  </a:lnTo>
                  <a:lnTo>
                    <a:pt x="1323" y="2638"/>
                  </a:lnTo>
                  <a:lnTo>
                    <a:pt x="1325" y="2629"/>
                  </a:lnTo>
                  <a:lnTo>
                    <a:pt x="1327" y="2620"/>
                  </a:lnTo>
                  <a:lnTo>
                    <a:pt x="1328" y="2597"/>
                  </a:lnTo>
                  <a:lnTo>
                    <a:pt x="1328" y="2574"/>
                  </a:lnTo>
                  <a:lnTo>
                    <a:pt x="1328" y="2549"/>
                  </a:lnTo>
                  <a:lnTo>
                    <a:pt x="1325" y="2526"/>
                  </a:lnTo>
                  <a:lnTo>
                    <a:pt x="1323" y="2505"/>
                  </a:lnTo>
                  <a:lnTo>
                    <a:pt x="1319" y="2486"/>
                  </a:lnTo>
                  <a:lnTo>
                    <a:pt x="1306" y="2469"/>
                  </a:lnTo>
                  <a:lnTo>
                    <a:pt x="1298" y="2457"/>
                  </a:lnTo>
                  <a:lnTo>
                    <a:pt x="1294" y="2447"/>
                  </a:lnTo>
                  <a:lnTo>
                    <a:pt x="1290" y="2435"/>
                  </a:lnTo>
                  <a:lnTo>
                    <a:pt x="1312" y="2436"/>
                  </a:lnTo>
                  <a:lnTo>
                    <a:pt x="1332" y="2439"/>
                  </a:lnTo>
                  <a:lnTo>
                    <a:pt x="1350" y="2439"/>
                  </a:lnTo>
                  <a:lnTo>
                    <a:pt x="1367" y="2439"/>
                  </a:lnTo>
                  <a:lnTo>
                    <a:pt x="1376" y="2437"/>
                  </a:lnTo>
                  <a:lnTo>
                    <a:pt x="1384" y="2435"/>
                  </a:lnTo>
                  <a:lnTo>
                    <a:pt x="1392" y="2431"/>
                  </a:lnTo>
                  <a:lnTo>
                    <a:pt x="1400" y="2427"/>
                  </a:lnTo>
                  <a:lnTo>
                    <a:pt x="1407" y="2421"/>
                  </a:lnTo>
                  <a:lnTo>
                    <a:pt x="1414" y="2414"/>
                  </a:lnTo>
                  <a:lnTo>
                    <a:pt x="1422" y="2405"/>
                  </a:lnTo>
                  <a:lnTo>
                    <a:pt x="1430" y="2393"/>
                  </a:lnTo>
                  <a:lnTo>
                    <a:pt x="1443" y="2395"/>
                  </a:lnTo>
                  <a:lnTo>
                    <a:pt x="1457" y="2396"/>
                  </a:lnTo>
                  <a:lnTo>
                    <a:pt x="1470" y="2398"/>
                  </a:lnTo>
                  <a:lnTo>
                    <a:pt x="1483" y="2402"/>
                  </a:lnTo>
                  <a:lnTo>
                    <a:pt x="1496" y="2406"/>
                  </a:lnTo>
                  <a:lnTo>
                    <a:pt x="1508" y="2410"/>
                  </a:lnTo>
                  <a:lnTo>
                    <a:pt x="1521" y="2417"/>
                  </a:lnTo>
                  <a:lnTo>
                    <a:pt x="1532" y="2422"/>
                  </a:lnTo>
                  <a:lnTo>
                    <a:pt x="1554" y="2436"/>
                  </a:lnTo>
                  <a:lnTo>
                    <a:pt x="1578" y="2450"/>
                  </a:lnTo>
                  <a:lnTo>
                    <a:pt x="1600" y="2466"/>
                  </a:lnTo>
                  <a:lnTo>
                    <a:pt x="1623" y="2482"/>
                  </a:lnTo>
                  <a:lnTo>
                    <a:pt x="1690" y="2495"/>
                  </a:lnTo>
                  <a:lnTo>
                    <a:pt x="1740" y="2508"/>
                  </a:lnTo>
                  <a:lnTo>
                    <a:pt x="1750" y="2512"/>
                  </a:lnTo>
                  <a:lnTo>
                    <a:pt x="1759" y="2517"/>
                  </a:lnTo>
                  <a:lnTo>
                    <a:pt x="1768" y="2525"/>
                  </a:lnTo>
                  <a:lnTo>
                    <a:pt x="1774" y="2532"/>
                  </a:lnTo>
                  <a:lnTo>
                    <a:pt x="1780" y="2543"/>
                  </a:lnTo>
                  <a:lnTo>
                    <a:pt x="1785" y="2556"/>
                  </a:lnTo>
                  <a:lnTo>
                    <a:pt x="1789" y="2570"/>
                  </a:lnTo>
                  <a:lnTo>
                    <a:pt x="1791" y="2588"/>
                  </a:lnTo>
                  <a:lnTo>
                    <a:pt x="1770" y="2590"/>
                  </a:lnTo>
                  <a:lnTo>
                    <a:pt x="1750" y="2591"/>
                  </a:lnTo>
                  <a:lnTo>
                    <a:pt x="1730" y="2592"/>
                  </a:lnTo>
                  <a:lnTo>
                    <a:pt x="1709" y="2594"/>
                  </a:lnTo>
                  <a:lnTo>
                    <a:pt x="1707" y="2605"/>
                  </a:lnTo>
                  <a:lnTo>
                    <a:pt x="1705" y="2617"/>
                  </a:lnTo>
                  <a:lnTo>
                    <a:pt x="1742" y="2631"/>
                  </a:lnTo>
                  <a:lnTo>
                    <a:pt x="1772" y="2642"/>
                  </a:lnTo>
                  <a:lnTo>
                    <a:pt x="1785" y="2646"/>
                  </a:lnTo>
                  <a:lnTo>
                    <a:pt x="1796" y="2651"/>
                  </a:lnTo>
                  <a:lnTo>
                    <a:pt x="1806" y="2655"/>
                  </a:lnTo>
                  <a:lnTo>
                    <a:pt x="1815" y="2661"/>
                  </a:lnTo>
                  <a:lnTo>
                    <a:pt x="1822" y="2668"/>
                  </a:lnTo>
                  <a:lnTo>
                    <a:pt x="1829" y="2676"/>
                  </a:lnTo>
                  <a:lnTo>
                    <a:pt x="1834" y="2685"/>
                  </a:lnTo>
                  <a:lnTo>
                    <a:pt x="1839" y="2696"/>
                  </a:lnTo>
                  <a:lnTo>
                    <a:pt x="1843" y="2709"/>
                  </a:lnTo>
                  <a:lnTo>
                    <a:pt x="1846" y="2726"/>
                  </a:lnTo>
                  <a:lnTo>
                    <a:pt x="1848" y="2744"/>
                  </a:lnTo>
                  <a:lnTo>
                    <a:pt x="1850" y="2767"/>
                  </a:lnTo>
                  <a:lnTo>
                    <a:pt x="1860" y="2776"/>
                  </a:lnTo>
                  <a:lnTo>
                    <a:pt x="1871" y="2782"/>
                  </a:lnTo>
                  <a:lnTo>
                    <a:pt x="1890" y="2791"/>
                  </a:lnTo>
                  <a:lnTo>
                    <a:pt x="1925" y="2806"/>
                  </a:lnTo>
                  <a:lnTo>
                    <a:pt x="1924" y="2852"/>
                  </a:lnTo>
                  <a:lnTo>
                    <a:pt x="1923" y="2884"/>
                  </a:lnTo>
                  <a:lnTo>
                    <a:pt x="1919" y="2908"/>
                  </a:lnTo>
                  <a:lnTo>
                    <a:pt x="1914" y="2942"/>
                  </a:lnTo>
                  <a:lnTo>
                    <a:pt x="1906" y="2947"/>
                  </a:lnTo>
                  <a:lnTo>
                    <a:pt x="1899" y="2954"/>
                  </a:lnTo>
                  <a:lnTo>
                    <a:pt x="1894" y="2959"/>
                  </a:lnTo>
                  <a:lnTo>
                    <a:pt x="1893" y="2964"/>
                  </a:lnTo>
                  <a:lnTo>
                    <a:pt x="1891" y="2971"/>
                  </a:lnTo>
                  <a:lnTo>
                    <a:pt x="1891" y="2976"/>
                  </a:lnTo>
                  <a:lnTo>
                    <a:pt x="1893" y="2983"/>
                  </a:lnTo>
                  <a:lnTo>
                    <a:pt x="1895" y="2988"/>
                  </a:lnTo>
                  <a:lnTo>
                    <a:pt x="1902" y="3001"/>
                  </a:lnTo>
                  <a:lnTo>
                    <a:pt x="1908" y="3014"/>
                  </a:lnTo>
                  <a:lnTo>
                    <a:pt x="1911" y="3020"/>
                  </a:lnTo>
                  <a:lnTo>
                    <a:pt x="1914" y="3028"/>
                  </a:lnTo>
                  <a:lnTo>
                    <a:pt x="1915" y="3036"/>
                  </a:lnTo>
                  <a:lnTo>
                    <a:pt x="1916" y="3044"/>
                  </a:lnTo>
                  <a:lnTo>
                    <a:pt x="1911" y="3055"/>
                  </a:lnTo>
                  <a:lnTo>
                    <a:pt x="1907" y="3066"/>
                  </a:lnTo>
                  <a:lnTo>
                    <a:pt x="1906" y="3076"/>
                  </a:lnTo>
                  <a:lnTo>
                    <a:pt x="1904" y="3085"/>
                  </a:lnTo>
                  <a:lnTo>
                    <a:pt x="1906" y="3094"/>
                  </a:lnTo>
                  <a:lnTo>
                    <a:pt x="1908" y="3105"/>
                  </a:lnTo>
                  <a:lnTo>
                    <a:pt x="1914" y="3115"/>
                  </a:lnTo>
                  <a:lnTo>
                    <a:pt x="1921" y="3127"/>
                  </a:lnTo>
                  <a:lnTo>
                    <a:pt x="1923" y="3150"/>
                  </a:lnTo>
                  <a:lnTo>
                    <a:pt x="1925" y="3172"/>
                  </a:lnTo>
                  <a:lnTo>
                    <a:pt x="1930" y="3193"/>
                  </a:lnTo>
                  <a:lnTo>
                    <a:pt x="1937" y="3214"/>
                  </a:lnTo>
                  <a:lnTo>
                    <a:pt x="1945" y="3234"/>
                  </a:lnTo>
                  <a:lnTo>
                    <a:pt x="1954" y="3253"/>
                  </a:lnTo>
                  <a:lnTo>
                    <a:pt x="1963" y="3273"/>
                  </a:lnTo>
                  <a:lnTo>
                    <a:pt x="1972" y="3291"/>
                  </a:lnTo>
                  <a:lnTo>
                    <a:pt x="1990" y="3327"/>
                  </a:lnTo>
                  <a:lnTo>
                    <a:pt x="2007" y="3365"/>
                  </a:lnTo>
                  <a:lnTo>
                    <a:pt x="2014" y="3385"/>
                  </a:lnTo>
                  <a:lnTo>
                    <a:pt x="2020" y="3405"/>
                  </a:lnTo>
                  <a:lnTo>
                    <a:pt x="2023" y="3426"/>
                  </a:lnTo>
                  <a:lnTo>
                    <a:pt x="2025" y="3448"/>
                  </a:lnTo>
                  <a:lnTo>
                    <a:pt x="2031" y="3455"/>
                  </a:lnTo>
                  <a:lnTo>
                    <a:pt x="2037" y="3461"/>
                  </a:lnTo>
                  <a:lnTo>
                    <a:pt x="2042" y="3470"/>
                  </a:lnTo>
                  <a:lnTo>
                    <a:pt x="2048" y="3480"/>
                  </a:lnTo>
                  <a:lnTo>
                    <a:pt x="2057" y="3499"/>
                  </a:lnTo>
                  <a:lnTo>
                    <a:pt x="2066" y="3522"/>
                  </a:lnTo>
                  <a:lnTo>
                    <a:pt x="2074" y="3547"/>
                  </a:lnTo>
                  <a:lnTo>
                    <a:pt x="2080" y="3574"/>
                  </a:lnTo>
                  <a:lnTo>
                    <a:pt x="2087" y="3603"/>
                  </a:lnTo>
                  <a:lnTo>
                    <a:pt x="2093" y="3632"/>
                  </a:lnTo>
                  <a:lnTo>
                    <a:pt x="2103" y="3689"/>
                  </a:lnTo>
                  <a:lnTo>
                    <a:pt x="2113" y="3745"/>
                  </a:lnTo>
                  <a:lnTo>
                    <a:pt x="2120" y="3794"/>
                  </a:lnTo>
                  <a:lnTo>
                    <a:pt x="2127" y="3832"/>
                  </a:lnTo>
                  <a:lnTo>
                    <a:pt x="2120" y="3859"/>
                  </a:lnTo>
                  <a:lnTo>
                    <a:pt x="2114" y="3887"/>
                  </a:lnTo>
                  <a:lnTo>
                    <a:pt x="2106" y="3914"/>
                  </a:lnTo>
                  <a:lnTo>
                    <a:pt x="2098" y="3941"/>
                  </a:lnTo>
                  <a:lnTo>
                    <a:pt x="2089" y="3967"/>
                  </a:lnTo>
                  <a:lnTo>
                    <a:pt x="2079" y="3993"/>
                  </a:lnTo>
                  <a:lnTo>
                    <a:pt x="2068" y="4019"/>
                  </a:lnTo>
                  <a:lnTo>
                    <a:pt x="2057" y="4044"/>
                  </a:lnTo>
                  <a:lnTo>
                    <a:pt x="2055" y="4071"/>
                  </a:lnTo>
                  <a:lnTo>
                    <a:pt x="2054" y="4099"/>
                  </a:lnTo>
                  <a:lnTo>
                    <a:pt x="2054" y="4126"/>
                  </a:lnTo>
                  <a:lnTo>
                    <a:pt x="2054" y="4153"/>
                  </a:lnTo>
                  <a:lnTo>
                    <a:pt x="2040" y="4152"/>
                  </a:lnTo>
                  <a:lnTo>
                    <a:pt x="2027" y="4151"/>
                  </a:lnTo>
                  <a:lnTo>
                    <a:pt x="2014" y="4149"/>
                  </a:lnTo>
                  <a:lnTo>
                    <a:pt x="2001" y="4148"/>
                  </a:lnTo>
                  <a:lnTo>
                    <a:pt x="1994" y="4136"/>
                  </a:lnTo>
                  <a:lnTo>
                    <a:pt x="1989" y="4126"/>
                  </a:lnTo>
                  <a:lnTo>
                    <a:pt x="1982" y="4116"/>
                  </a:lnTo>
                  <a:lnTo>
                    <a:pt x="1977" y="4105"/>
                  </a:lnTo>
                  <a:lnTo>
                    <a:pt x="1967" y="4103"/>
                  </a:lnTo>
                  <a:lnTo>
                    <a:pt x="1958" y="4101"/>
                  </a:lnTo>
                  <a:lnTo>
                    <a:pt x="1960" y="4087"/>
                  </a:lnTo>
                  <a:lnTo>
                    <a:pt x="1960" y="4073"/>
                  </a:lnTo>
                  <a:lnTo>
                    <a:pt x="1960" y="4057"/>
                  </a:lnTo>
                  <a:lnTo>
                    <a:pt x="1958" y="4043"/>
                  </a:lnTo>
                  <a:lnTo>
                    <a:pt x="1954" y="4028"/>
                  </a:lnTo>
                  <a:lnTo>
                    <a:pt x="1950" y="4014"/>
                  </a:lnTo>
                  <a:lnTo>
                    <a:pt x="1943" y="4001"/>
                  </a:lnTo>
                  <a:lnTo>
                    <a:pt x="1936" y="3988"/>
                  </a:lnTo>
                  <a:lnTo>
                    <a:pt x="1928" y="3976"/>
                  </a:lnTo>
                  <a:lnTo>
                    <a:pt x="1919" y="3965"/>
                  </a:lnTo>
                  <a:lnTo>
                    <a:pt x="1908" y="3954"/>
                  </a:lnTo>
                  <a:lnTo>
                    <a:pt x="1897" y="3945"/>
                  </a:lnTo>
                  <a:lnTo>
                    <a:pt x="1885" y="3939"/>
                  </a:lnTo>
                  <a:lnTo>
                    <a:pt x="1872" y="3932"/>
                  </a:lnTo>
                  <a:lnTo>
                    <a:pt x="1858" y="3927"/>
                  </a:lnTo>
                  <a:lnTo>
                    <a:pt x="1842" y="3924"/>
                  </a:lnTo>
                  <a:lnTo>
                    <a:pt x="1834" y="3931"/>
                  </a:lnTo>
                  <a:lnTo>
                    <a:pt x="1826" y="3937"/>
                  </a:lnTo>
                  <a:lnTo>
                    <a:pt x="1820" y="3944"/>
                  </a:lnTo>
                  <a:lnTo>
                    <a:pt x="1815" y="3952"/>
                  </a:lnTo>
                  <a:lnTo>
                    <a:pt x="1803" y="3967"/>
                  </a:lnTo>
                  <a:lnTo>
                    <a:pt x="1794" y="3983"/>
                  </a:lnTo>
                  <a:lnTo>
                    <a:pt x="1783" y="3999"/>
                  </a:lnTo>
                  <a:lnTo>
                    <a:pt x="1770" y="4013"/>
                  </a:lnTo>
                  <a:lnTo>
                    <a:pt x="1763" y="4021"/>
                  </a:lnTo>
                  <a:lnTo>
                    <a:pt x="1753" y="4027"/>
                  </a:lnTo>
                  <a:lnTo>
                    <a:pt x="1744" y="4032"/>
                  </a:lnTo>
                  <a:lnTo>
                    <a:pt x="1733" y="4038"/>
                  </a:lnTo>
                  <a:lnTo>
                    <a:pt x="1734" y="4055"/>
                  </a:lnTo>
                  <a:lnTo>
                    <a:pt x="1735" y="4069"/>
                  </a:lnTo>
                  <a:lnTo>
                    <a:pt x="1739" y="4082"/>
                  </a:lnTo>
                  <a:lnTo>
                    <a:pt x="1743" y="4095"/>
                  </a:lnTo>
                  <a:lnTo>
                    <a:pt x="1752" y="4118"/>
                  </a:lnTo>
                  <a:lnTo>
                    <a:pt x="1764" y="4148"/>
                  </a:lnTo>
                  <a:lnTo>
                    <a:pt x="1786" y="4148"/>
                  </a:lnTo>
                  <a:lnTo>
                    <a:pt x="1808" y="4148"/>
                  </a:lnTo>
                  <a:lnTo>
                    <a:pt x="1819" y="4149"/>
                  </a:lnTo>
                  <a:lnTo>
                    <a:pt x="1829" y="4153"/>
                  </a:lnTo>
                  <a:lnTo>
                    <a:pt x="1839" y="4157"/>
                  </a:lnTo>
                  <a:lnTo>
                    <a:pt x="1848" y="4164"/>
                  </a:lnTo>
                  <a:lnTo>
                    <a:pt x="1848" y="4179"/>
                  </a:lnTo>
                  <a:lnTo>
                    <a:pt x="1848" y="4196"/>
                  </a:lnTo>
                  <a:lnTo>
                    <a:pt x="1848" y="4213"/>
                  </a:lnTo>
                  <a:lnTo>
                    <a:pt x="1848" y="4230"/>
                  </a:lnTo>
                  <a:lnTo>
                    <a:pt x="1835" y="4238"/>
                  </a:lnTo>
                  <a:lnTo>
                    <a:pt x="1825" y="4243"/>
                  </a:lnTo>
                  <a:lnTo>
                    <a:pt x="1817" y="4250"/>
                  </a:lnTo>
                  <a:lnTo>
                    <a:pt x="1809" y="4256"/>
                  </a:lnTo>
                  <a:lnTo>
                    <a:pt x="1798" y="4272"/>
                  </a:lnTo>
                  <a:lnTo>
                    <a:pt x="1785" y="4294"/>
                  </a:lnTo>
                  <a:lnTo>
                    <a:pt x="1770" y="4302"/>
                  </a:lnTo>
                  <a:lnTo>
                    <a:pt x="1757" y="4308"/>
                  </a:lnTo>
                  <a:lnTo>
                    <a:pt x="1744" y="4316"/>
                  </a:lnTo>
                  <a:lnTo>
                    <a:pt x="1731" y="4325"/>
                  </a:lnTo>
                  <a:lnTo>
                    <a:pt x="1730" y="4346"/>
                  </a:lnTo>
                  <a:lnTo>
                    <a:pt x="1727" y="4368"/>
                  </a:lnTo>
                  <a:lnTo>
                    <a:pt x="1726" y="4390"/>
                  </a:lnTo>
                  <a:lnTo>
                    <a:pt x="1725" y="4411"/>
                  </a:lnTo>
                  <a:lnTo>
                    <a:pt x="1712" y="4421"/>
                  </a:lnTo>
                  <a:lnTo>
                    <a:pt x="1699" y="4430"/>
                  </a:lnTo>
                  <a:lnTo>
                    <a:pt x="1687" y="4438"/>
                  </a:lnTo>
                  <a:lnTo>
                    <a:pt x="1675" y="4445"/>
                  </a:lnTo>
                  <a:lnTo>
                    <a:pt x="1664" y="4450"/>
                  </a:lnTo>
                  <a:lnTo>
                    <a:pt x="1652" y="4455"/>
                  </a:lnTo>
                  <a:lnTo>
                    <a:pt x="1640" y="4460"/>
                  </a:lnTo>
                  <a:lnTo>
                    <a:pt x="1629" y="4464"/>
                  </a:lnTo>
                  <a:lnTo>
                    <a:pt x="1604" y="4469"/>
                  </a:lnTo>
                  <a:lnTo>
                    <a:pt x="1578" y="4473"/>
                  </a:lnTo>
                  <a:lnTo>
                    <a:pt x="1551" y="4476"/>
                  </a:lnTo>
                  <a:lnTo>
                    <a:pt x="1519" y="4479"/>
                  </a:lnTo>
                  <a:lnTo>
                    <a:pt x="1512" y="4494"/>
                  </a:lnTo>
                  <a:lnTo>
                    <a:pt x="1504" y="4507"/>
                  </a:lnTo>
                  <a:lnTo>
                    <a:pt x="1498" y="4514"/>
                  </a:lnTo>
                  <a:lnTo>
                    <a:pt x="1492" y="4518"/>
                  </a:lnTo>
                  <a:lnTo>
                    <a:pt x="1485" y="4522"/>
                  </a:lnTo>
                  <a:lnTo>
                    <a:pt x="1478" y="4525"/>
                  </a:lnTo>
                  <a:lnTo>
                    <a:pt x="1472" y="4507"/>
                  </a:lnTo>
                  <a:lnTo>
                    <a:pt x="1470" y="4492"/>
                  </a:lnTo>
                  <a:lnTo>
                    <a:pt x="1466" y="4475"/>
                  </a:lnTo>
                  <a:lnTo>
                    <a:pt x="1463" y="4459"/>
                  </a:lnTo>
                  <a:lnTo>
                    <a:pt x="1443" y="4460"/>
                  </a:lnTo>
                  <a:lnTo>
                    <a:pt x="1423" y="4462"/>
                  </a:lnTo>
                  <a:lnTo>
                    <a:pt x="1409" y="4466"/>
                  </a:lnTo>
                  <a:lnTo>
                    <a:pt x="1396" y="4469"/>
                  </a:lnTo>
                  <a:lnTo>
                    <a:pt x="1385" y="4476"/>
                  </a:lnTo>
                  <a:lnTo>
                    <a:pt x="1376" y="4483"/>
                  </a:lnTo>
                  <a:lnTo>
                    <a:pt x="1370" y="4492"/>
                  </a:lnTo>
                  <a:lnTo>
                    <a:pt x="1363" y="4501"/>
                  </a:lnTo>
                  <a:lnTo>
                    <a:pt x="1354" y="4523"/>
                  </a:lnTo>
                  <a:lnTo>
                    <a:pt x="1345" y="4549"/>
                  </a:lnTo>
                  <a:lnTo>
                    <a:pt x="1340" y="4564"/>
                  </a:lnTo>
                  <a:lnTo>
                    <a:pt x="1335" y="4580"/>
                  </a:lnTo>
                  <a:lnTo>
                    <a:pt x="1327" y="4597"/>
                  </a:lnTo>
                  <a:lnTo>
                    <a:pt x="1318" y="4615"/>
                  </a:lnTo>
                  <a:lnTo>
                    <a:pt x="1307" y="4618"/>
                  </a:lnTo>
                  <a:lnTo>
                    <a:pt x="1297" y="4620"/>
                  </a:lnTo>
                  <a:lnTo>
                    <a:pt x="1288" y="4624"/>
                  </a:lnTo>
                  <a:lnTo>
                    <a:pt x="1277" y="4627"/>
                  </a:lnTo>
                </a:path>
              </a:pathLst>
            </a:custGeom>
            <a:noFill/>
            <a:ln w="1905">
              <a:solidFill>
                <a:srgbClr val="3399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932874" name="Freeform 109"/>
            <p:cNvSpPr>
              <a:spLocks/>
            </p:cNvSpPr>
            <p:nvPr/>
          </p:nvSpPr>
          <p:spPr bwMode="auto">
            <a:xfrm>
              <a:off x="4673" y="2498"/>
              <a:ext cx="284" cy="531"/>
            </a:xfrm>
            <a:custGeom>
              <a:avLst/>
              <a:gdLst>
                <a:gd name="T0" fmla="*/ 0 w 1134"/>
                <a:gd name="T1" fmla="*/ 0 h 2123"/>
                <a:gd name="T2" fmla="*/ 0 w 1134"/>
                <a:gd name="T3" fmla="*/ 0 h 2123"/>
                <a:gd name="T4" fmla="*/ 0 w 1134"/>
                <a:gd name="T5" fmla="*/ 0 h 2123"/>
                <a:gd name="T6" fmla="*/ 0 w 1134"/>
                <a:gd name="T7" fmla="*/ 0 h 2123"/>
                <a:gd name="T8" fmla="*/ 0 w 1134"/>
                <a:gd name="T9" fmla="*/ 0 h 2123"/>
                <a:gd name="T10" fmla="*/ 0 w 1134"/>
                <a:gd name="T11" fmla="*/ 0 h 2123"/>
                <a:gd name="T12" fmla="*/ 0 w 1134"/>
                <a:gd name="T13" fmla="*/ 0 h 2123"/>
                <a:gd name="T14" fmla="*/ 0 w 1134"/>
                <a:gd name="T15" fmla="*/ 0 h 2123"/>
                <a:gd name="T16" fmla="*/ 0 w 1134"/>
                <a:gd name="T17" fmla="*/ 0 h 2123"/>
                <a:gd name="T18" fmla="*/ 0 w 1134"/>
                <a:gd name="T19" fmla="*/ 0 h 2123"/>
                <a:gd name="T20" fmla="*/ 0 w 1134"/>
                <a:gd name="T21" fmla="*/ 0 h 2123"/>
                <a:gd name="T22" fmla="*/ 0 w 1134"/>
                <a:gd name="T23" fmla="*/ 0 h 2123"/>
                <a:gd name="T24" fmla="*/ 0 w 1134"/>
                <a:gd name="T25" fmla="*/ 0 h 2123"/>
                <a:gd name="T26" fmla="*/ 0 w 1134"/>
                <a:gd name="T27" fmla="*/ 0 h 2123"/>
                <a:gd name="T28" fmla="*/ 0 w 1134"/>
                <a:gd name="T29" fmla="*/ 0 h 2123"/>
                <a:gd name="T30" fmla="*/ 0 w 1134"/>
                <a:gd name="T31" fmla="*/ 0 h 2123"/>
                <a:gd name="T32" fmla="*/ 0 w 1134"/>
                <a:gd name="T33" fmla="*/ 0 h 2123"/>
                <a:gd name="T34" fmla="*/ 0 w 1134"/>
                <a:gd name="T35" fmla="*/ 0 h 2123"/>
                <a:gd name="T36" fmla="*/ 0 w 1134"/>
                <a:gd name="T37" fmla="*/ 0 h 2123"/>
                <a:gd name="T38" fmla="*/ 0 w 1134"/>
                <a:gd name="T39" fmla="*/ 0 h 2123"/>
                <a:gd name="T40" fmla="*/ 0 w 1134"/>
                <a:gd name="T41" fmla="*/ 0 h 2123"/>
                <a:gd name="T42" fmla="*/ 0 w 1134"/>
                <a:gd name="T43" fmla="*/ 0 h 2123"/>
                <a:gd name="T44" fmla="*/ 0 w 1134"/>
                <a:gd name="T45" fmla="*/ 0 h 2123"/>
                <a:gd name="T46" fmla="*/ 0 w 1134"/>
                <a:gd name="T47" fmla="*/ 0 h 2123"/>
                <a:gd name="T48" fmla="*/ 0 w 1134"/>
                <a:gd name="T49" fmla="*/ 0 h 2123"/>
                <a:gd name="T50" fmla="*/ 0 w 1134"/>
                <a:gd name="T51" fmla="*/ 0 h 2123"/>
                <a:gd name="T52" fmla="*/ 0 w 1134"/>
                <a:gd name="T53" fmla="*/ 0 h 2123"/>
                <a:gd name="T54" fmla="*/ 0 w 1134"/>
                <a:gd name="T55" fmla="*/ 0 h 2123"/>
                <a:gd name="T56" fmla="*/ 0 w 1134"/>
                <a:gd name="T57" fmla="*/ 0 h 2123"/>
                <a:gd name="T58" fmla="*/ 0 w 1134"/>
                <a:gd name="T59" fmla="*/ 0 h 2123"/>
                <a:gd name="T60" fmla="*/ 0 w 1134"/>
                <a:gd name="T61" fmla="*/ 0 h 2123"/>
                <a:gd name="T62" fmla="*/ 0 w 1134"/>
                <a:gd name="T63" fmla="*/ 0 h 2123"/>
                <a:gd name="T64" fmla="*/ 0 w 1134"/>
                <a:gd name="T65" fmla="*/ 0 h 2123"/>
                <a:gd name="T66" fmla="*/ 0 w 1134"/>
                <a:gd name="T67" fmla="*/ 0 h 2123"/>
                <a:gd name="T68" fmla="*/ 0 w 1134"/>
                <a:gd name="T69" fmla="*/ 0 h 2123"/>
                <a:gd name="T70" fmla="*/ 0 w 1134"/>
                <a:gd name="T71" fmla="*/ 0 h 2123"/>
                <a:gd name="T72" fmla="*/ 0 w 1134"/>
                <a:gd name="T73" fmla="*/ 0 h 2123"/>
                <a:gd name="T74" fmla="*/ 0 w 1134"/>
                <a:gd name="T75" fmla="*/ 0 h 2123"/>
                <a:gd name="T76" fmla="*/ 0 w 1134"/>
                <a:gd name="T77" fmla="*/ 0 h 2123"/>
                <a:gd name="T78" fmla="*/ 0 w 1134"/>
                <a:gd name="T79" fmla="*/ 0 h 2123"/>
                <a:gd name="T80" fmla="*/ 0 w 1134"/>
                <a:gd name="T81" fmla="*/ 0 h 2123"/>
                <a:gd name="T82" fmla="*/ 0 w 1134"/>
                <a:gd name="T83" fmla="*/ 0 h 2123"/>
                <a:gd name="T84" fmla="*/ 0 w 1134"/>
                <a:gd name="T85" fmla="*/ 0 h 2123"/>
                <a:gd name="T86" fmla="*/ 0 w 1134"/>
                <a:gd name="T87" fmla="*/ 0 h 2123"/>
                <a:gd name="T88" fmla="*/ 0 w 1134"/>
                <a:gd name="T89" fmla="*/ 0 h 2123"/>
                <a:gd name="T90" fmla="*/ 0 w 1134"/>
                <a:gd name="T91" fmla="*/ 0 h 2123"/>
                <a:gd name="T92" fmla="*/ 0 w 1134"/>
                <a:gd name="T93" fmla="*/ 0 h 2123"/>
                <a:gd name="T94" fmla="*/ 0 w 1134"/>
                <a:gd name="T95" fmla="*/ 0 h 2123"/>
                <a:gd name="T96" fmla="*/ 0 w 1134"/>
                <a:gd name="T97" fmla="*/ 0 h 2123"/>
                <a:gd name="T98" fmla="*/ 0 w 1134"/>
                <a:gd name="T99" fmla="*/ 0 h 2123"/>
                <a:gd name="T100" fmla="*/ 0 w 1134"/>
                <a:gd name="T101" fmla="*/ 0 h 2123"/>
                <a:gd name="T102" fmla="*/ 0 w 1134"/>
                <a:gd name="T103" fmla="*/ 0 h 2123"/>
                <a:gd name="T104" fmla="*/ 0 w 1134"/>
                <a:gd name="T105" fmla="*/ 0 h 2123"/>
                <a:gd name="T106" fmla="*/ 0 w 1134"/>
                <a:gd name="T107" fmla="*/ 0 h 2123"/>
                <a:gd name="T108" fmla="*/ 0 w 1134"/>
                <a:gd name="T109" fmla="*/ 0 h 2123"/>
                <a:gd name="T110" fmla="*/ 0 w 1134"/>
                <a:gd name="T111" fmla="*/ 0 h 2123"/>
                <a:gd name="T112" fmla="*/ 0 w 1134"/>
                <a:gd name="T113" fmla="*/ 0 h 2123"/>
                <a:gd name="T114" fmla="*/ 0 w 1134"/>
                <a:gd name="T115" fmla="*/ 0 h 212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34"/>
                <a:gd name="T175" fmla="*/ 0 h 2123"/>
                <a:gd name="T176" fmla="*/ 1134 w 1134"/>
                <a:gd name="T177" fmla="*/ 2123 h 212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34" h="2123">
                  <a:moveTo>
                    <a:pt x="909" y="2123"/>
                  </a:moveTo>
                  <a:lnTo>
                    <a:pt x="886" y="2101"/>
                  </a:lnTo>
                  <a:lnTo>
                    <a:pt x="873" y="2088"/>
                  </a:lnTo>
                  <a:lnTo>
                    <a:pt x="868" y="2080"/>
                  </a:lnTo>
                  <a:lnTo>
                    <a:pt x="865" y="2071"/>
                  </a:lnTo>
                  <a:lnTo>
                    <a:pt x="857" y="2071"/>
                  </a:lnTo>
                  <a:lnTo>
                    <a:pt x="852" y="2071"/>
                  </a:lnTo>
                  <a:lnTo>
                    <a:pt x="841" y="2052"/>
                  </a:lnTo>
                  <a:lnTo>
                    <a:pt x="832" y="2032"/>
                  </a:lnTo>
                  <a:lnTo>
                    <a:pt x="823" y="2014"/>
                  </a:lnTo>
                  <a:lnTo>
                    <a:pt x="814" y="1995"/>
                  </a:lnTo>
                  <a:lnTo>
                    <a:pt x="819" y="1961"/>
                  </a:lnTo>
                  <a:lnTo>
                    <a:pt x="822" y="1936"/>
                  </a:lnTo>
                  <a:lnTo>
                    <a:pt x="822" y="1911"/>
                  </a:lnTo>
                  <a:lnTo>
                    <a:pt x="822" y="1874"/>
                  </a:lnTo>
                  <a:lnTo>
                    <a:pt x="804" y="1833"/>
                  </a:lnTo>
                  <a:lnTo>
                    <a:pt x="784" y="1797"/>
                  </a:lnTo>
                  <a:lnTo>
                    <a:pt x="774" y="1779"/>
                  </a:lnTo>
                  <a:lnTo>
                    <a:pt x="763" y="1762"/>
                  </a:lnTo>
                  <a:lnTo>
                    <a:pt x="752" y="1743"/>
                  </a:lnTo>
                  <a:lnTo>
                    <a:pt x="737" y="1725"/>
                  </a:lnTo>
                  <a:lnTo>
                    <a:pt x="735" y="1690"/>
                  </a:lnTo>
                  <a:lnTo>
                    <a:pt x="732" y="1654"/>
                  </a:lnTo>
                  <a:lnTo>
                    <a:pt x="730" y="1617"/>
                  </a:lnTo>
                  <a:lnTo>
                    <a:pt x="728" y="1581"/>
                  </a:lnTo>
                  <a:lnTo>
                    <a:pt x="711" y="1568"/>
                  </a:lnTo>
                  <a:lnTo>
                    <a:pt x="684" y="1547"/>
                  </a:lnTo>
                  <a:lnTo>
                    <a:pt x="665" y="1533"/>
                  </a:lnTo>
                  <a:lnTo>
                    <a:pt x="640" y="1513"/>
                  </a:lnTo>
                  <a:lnTo>
                    <a:pt x="610" y="1489"/>
                  </a:lnTo>
                  <a:lnTo>
                    <a:pt x="575" y="1459"/>
                  </a:lnTo>
                  <a:lnTo>
                    <a:pt x="570" y="1430"/>
                  </a:lnTo>
                  <a:lnTo>
                    <a:pt x="564" y="1403"/>
                  </a:lnTo>
                  <a:lnTo>
                    <a:pt x="559" y="1374"/>
                  </a:lnTo>
                  <a:lnTo>
                    <a:pt x="554" y="1345"/>
                  </a:lnTo>
                  <a:lnTo>
                    <a:pt x="549" y="1318"/>
                  </a:lnTo>
                  <a:lnTo>
                    <a:pt x="544" y="1289"/>
                  </a:lnTo>
                  <a:lnTo>
                    <a:pt x="540" y="1261"/>
                  </a:lnTo>
                  <a:lnTo>
                    <a:pt x="534" y="1234"/>
                  </a:lnTo>
                  <a:lnTo>
                    <a:pt x="512" y="1200"/>
                  </a:lnTo>
                  <a:lnTo>
                    <a:pt x="493" y="1165"/>
                  </a:lnTo>
                  <a:lnTo>
                    <a:pt x="473" y="1129"/>
                  </a:lnTo>
                  <a:lnTo>
                    <a:pt x="454" y="1094"/>
                  </a:lnTo>
                  <a:lnTo>
                    <a:pt x="434" y="1059"/>
                  </a:lnTo>
                  <a:lnTo>
                    <a:pt x="415" y="1024"/>
                  </a:lnTo>
                  <a:lnTo>
                    <a:pt x="394" y="989"/>
                  </a:lnTo>
                  <a:lnTo>
                    <a:pt x="372" y="956"/>
                  </a:lnTo>
                  <a:lnTo>
                    <a:pt x="364" y="912"/>
                  </a:lnTo>
                  <a:lnTo>
                    <a:pt x="355" y="876"/>
                  </a:lnTo>
                  <a:lnTo>
                    <a:pt x="351" y="860"/>
                  </a:lnTo>
                  <a:lnTo>
                    <a:pt x="345" y="847"/>
                  </a:lnTo>
                  <a:lnTo>
                    <a:pt x="339" y="834"/>
                  </a:lnTo>
                  <a:lnTo>
                    <a:pt x="331" y="821"/>
                  </a:lnTo>
                  <a:lnTo>
                    <a:pt x="324" y="811"/>
                  </a:lnTo>
                  <a:lnTo>
                    <a:pt x="315" y="800"/>
                  </a:lnTo>
                  <a:lnTo>
                    <a:pt x="304" y="790"/>
                  </a:lnTo>
                  <a:lnTo>
                    <a:pt x="292" y="780"/>
                  </a:lnTo>
                  <a:lnTo>
                    <a:pt x="264" y="757"/>
                  </a:lnTo>
                  <a:lnTo>
                    <a:pt x="229" y="733"/>
                  </a:lnTo>
                  <a:lnTo>
                    <a:pt x="213" y="716"/>
                  </a:lnTo>
                  <a:lnTo>
                    <a:pt x="204" y="705"/>
                  </a:lnTo>
                  <a:lnTo>
                    <a:pt x="195" y="700"/>
                  </a:lnTo>
                  <a:lnTo>
                    <a:pt x="184" y="695"/>
                  </a:lnTo>
                  <a:lnTo>
                    <a:pt x="179" y="678"/>
                  </a:lnTo>
                  <a:lnTo>
                    <a:pt x="174" y="664"/>
                  </a:lnTo>
                  <a:lnTo>
                    <a:pt x="169" y="651"/>
                  </a:lnTo>
                  <a:lnTo>
                    <a:pt x="164" y="640"/>
                  </a:lnTo>
                  <a:lnTo>
                    <a:pt x="156" y="630"/>
                  </a:lnTo>
                  <a:lnTo>
                    <a:pt x="148" y="621"/>
                  </a:lnTo>
                  <a:lnTo>
                    <a:pt x="138" y="610"/>
                  </a:lnTo>
                  <a:lnTo>
                    <a:pt x="125" y="599"/>
                  </a:lnTo>
                  <a:lnTo>
                    <a:pt x="123" y="580"/>
                  </a:lnTo>
                  <a:lnTo>
                    <a:pt x="122" y="561"/>
                  </a:lnTo>
                  <a:lnTo>
                    <a:pt x="119" y="541"/>
                  </a:lnTo>
                  <a:lnTo>
                    <a:pt x="116" y="522"/>
                  </a:lnTo>
                  <a:lnTo>
                    <a:pt x="112" y="502"/>
                  </a:lnTo>
                  <a:lnTo>
                    <a:pt x="106" y="482"/>
                  </a:lnTo>
                  <a:lnTo>
                    <a:pt x="100" y="461"/>
                  </a:lnTo>
                  <a:lnTo>
                    <a:pt x="93" y="441"/>
                  </a:lnTo>
                  <a:lnTo>
                    <a:pt x="86" y="422"/>
                  </a:lnTo>
                  <a:lnTo>
                    <a:pt x="78" y="401"/>
                  </a:lnTo>
                  <a:lnTo>
                    <a:pt x="69" y="383"/>
                  </a:lnTo>
                  <a:lnTo>
                    <a:pt x="60" y="363"/>
                  </a:lnTo>
                  <a:lnTo>
                    <a:pt x="50" y="345"/>
                  </a:lnTo>
                  <a:lnTo>
                    <a:pt x="41" y="328"/>
                  </a:lnTo>
                  <a:lnTo>
                    <a:pt x="31" y="313"/>
                  </a:lnTo>
                  <a:lnTo>
                    <a:pt x="21" y="297"/>
                  </a:lnTo>
                  <a:lnTo>
                    <a:pt x="21" y="285"/>
                  </a:lnTo>
                  <a:lnTo>
                    <a:pt x="22" y="273"/>
                  </a:lnTo>
                  <a:lnTo>
                    <a:pt x="43" y="260"/>
                  </a:lnTo>
                  <a:lnTo>
                    <a:pt x="60" y="246"/>
                  </a:lnTo>
                  <a:lnTo>
                    <a:pt x="74" y="232"/>
                  </a:lnTo>
                  <a:lnTo>
                    <a:pt x="84" y="218"/>
                  </a:lnTo>
                  <a:lnTo>
                    <a:pt x="88" y="211"/>
                  </a:lnTo>
                  <a:lnTo>
                    <a:pt x="92" y="203"/>
                  </a:lnTo>
                  <a:lnTo>
                    <a:pt x="95" y="197"/>
                  </a:lnTo>
                  <a:lnTo>
                    <a:pt x="97" y="189"/>
                  </a:lnTo>
                  <a:lnTo>
                    <a:pt x="99" y="182"/>
                  </a:lnTo>
                  <a:lnTo>
                    <a:pt x="99" y="175"/>
                  </a:lnTo>
                  <a:lnTo>
                    <a:pt x="99" y="168"/>
                  </a:lnTo>
                  <a:lnTo>
                    <a:pt x="97" y="162"/>
                  </a:lnTo>
                  <a:lnTo>
                    <a:pt x="95" y="147"/>
                  </a:lnTo>
                  <a:lnTo>
                    <a:pt x="88" y="134"/>
                  </a:lnTo>
                  <a:lnTo>
                    <a:pt x="80" y="120"/>
                  </a:lnTo>
                  <a:lnTo>
                    <a:pt x="69" y="107"/>
                  </a:lnTo>
                  <a:lnTo>
                    <a:pt x="56" y="95"/>
                  </a:lnTo>
                  <a:lnTo>
                    <a:pt x="40" y="84"/>
                  </a:lnTo>
                  <a:lnTo>
                    <a:pt x="23" y="72"/>
                  </a:lnTo>
                  <a:lnTo>
                    <a:pt x="4" y="60"/>
                  </a:lnTo>
                  <a:lnTo>
                    <a:pt x="1" y="52"/>
                  </a:lnTo>
                  <a:lnTo>
                    <a:pt x="0" y="47"/>
                  </a:lnTo>
                  <a:lnTo>
                    <a:pt x="8" y="42"/>
                  </a:lnTo>
                  <a:lnTo>
                    <a:pt x="14" y="38"/>
                  </a:lnTo>
                  <a:lnTo>
                    <a:pt x="19" y="34"/>
                  </a:lnTo>
                  <a:lnTo>
                    <a:pt x="23" y="29"/>
                  </a:lnTo>
                  <a:lnTo>
                    <a:pt x="26" y="24"/>
                  </a:lnTo>
                  <a:lnTo>
                    <a:pt x="27" y="17"/>
                  </a:lnTo>
                  <a:lnTo>
                    <a:pt x="28" y="9"/>
                  </a:lnTo>
                  <a:lnTo>
                    <a:pt x="30" y="0"/>
                  </a:lnTo>
                  <a:lnTo>
                    <a:pt x="41" y="3"/>
                  </a:lnTo>
                  <a:lnTo>
                    <a:pt x="50" y="5"/>
                  </a:lnTo>
                  <a:lnTo>
                    <a:pt x="60" y="9"/>
                  </a:lnTo>
                  <a:lnTo>
                    <a:pt x="69" y="13"/>
                  </a:lnTo>
                  <a:lnTo>
                    <a:pt x="77" y="17"/>
                  </a:lnTo>
                  <a:lnTo>
                    <a:pt x="83" y="22"/>
                  </a:lnTo>
                  <a:lnTo>
                    <a:pt x="88" y="28"/>
                  </a:lnTo>
                  <a:lnTo>
                    <a:pt x="93" y="34"/>
                  </a:lnTo>
                  <a:lnTo>
                    <a:pt x="99" y="41"/>
                  </a:lnTo>
                  <a:lnTo>
                    <a:pt x="103" y="47"/>
                  </a:lnTo>
                  <a:lnTo>
                    <a:pt x="106" y="55"/>
                  </a:lnTo>
                  <a:lnTo>
                    <a:pt x="109" y="63"/>
                  </a:lnTo>
                  <a:lnTo>
                    <a:pt x="114" y="81"/>
                  </a:lnTo>
                  <a:lnTo>
                    <a:pt x="118" y="100"/>
                  </a:lnTo>
                  <a:lnTo>
                    <a:pt x="178" y="167"/>
                  </a:lnTo>
                  <a:lnTo>
                    <a:pt x="209" y="201"/>
                  </a:lnTo>
                  <a:lnTo>
                    <a:pt x="218" y="210"/>
                  </a:lnTo>
                  <a:lnTo>
                    <a:pt x="225" y="215"/>
                  </a:lnTo>
                  <a:lnTo>
                    <a:pt x="230" y="218"/>
                  </a:lnTo>
                  <a:lnTo>
                    <a:pt x="235" y="220"/>
                  </a:lnTo>
                  <a:lnTo>
                    <a:pt x="268" y="290"/>
                  </a:lnTo>
                  <a:lnTo>
                    <a:pt x="286" y="335"/>
                  </a:lnTo>
                  <a:lnTo>
                    <a:pt x="299" y="368"/>
                  </a:lnTo>
                  <a:lnTo>
                    <a:pt x="315" y="413"/>
                  </a:lnTo>
                  <a:lnTo>
                    <a:pt x="317" y="433"/>
                  </a:lnTo>
                  <a:lnTo>
                    <a:pt x="321" y="454"/>
                  </a:lnTo>
                  <a:lnTo>
                    <a:pt x="325" y="474"/>
                  </a:lnTo>
                  <a:lnTo>
                    <a:pt x="329" y="491"/>
                  </a:lnTo>
                  <a:lnTo>
                    <a:pt x="335" y="508"/>
                  </a:lnTo>
                  <a:lnTo>
                    <a:pt x="342" y="523"/>
                  </a:lnTo>
                  <a:lnTo>
                    <a:pt x="348" y="538"/>
                  </a:lnTo>
                  <a:lnTo>
                    <a:pt x="356" y="551"/>
                  </a:lnTo>
                  <a:lnTo>
                    <a:pt x="367" y="564"/>
                  </a:lnTo>
                  <a:lnTo>
                    <a:pt x="377" y="575"/>
                  </a:lnTo>
                  <a:lnTo>
                    <a:pt x="389" y="587"/>
                  </a:lnTo>
                  <a:lnTo>
                    <a:pt x="400" y="599"/>
                  </a:lnTo>
                  <a:lnTo>
                    <a:pt x="415" y="610"/>
                  </a:lnTo>
                  <a:lnTo>
                    <a:pt x="430" y="621"/>
                  </a:lnTo>
                  <a:lnTo>
                    <a:pt x="449" y="631"/>
                  </a:lnTo>
                  <a:lnTo>
                    <a:pt x="467" y="643"/>
                  </a:lnTo>
                  <a:lnTo>
                    <a:pt x="488" y="675"/>
                  </a:lnTo>
                  <a:lnTo>
                    <a:pt x="508" y="708"/>
                  </a:lnTo>
                  <a:lnTo>
                    <a:pt x="529" y="739"/>
                  </a:lnTo>
                  <a:lnTo>
                    <a:pt x="551" y="769"/>
                  </a:lnTo>
                  <a:lnTo>
                    <a:pt x="573" y="799"/>
                  </a:lnTo>
                  <a:lnTo>
                    <a:pt x="597" y="828"/>
                  </a:lnTo>
                  <a:lnTo>
                    <a:pt x="620" y="856"/>
                  </a:lnTo>
                  <a:lnTo>
                    <a:pt x="644" y="884"/>
                  </a:lnTo>
                  <a:lnTo>
                    <a:pt x="668" y="911"/>
                  </a:lnTo>
                  <a:lnTo>
                    <a:pt x="693" y="937"/>
                  </a:lnTo>
                  <a:lnTo>
                    <a:pt x="719" y="963"/>
                  </a:lnTo>
                  <a:lnTo>
                    <a:pt x="745" y="989"/>
                  </a:lnTo>
                  <a:lnTo>
                    <a:pt x="773" y="1014"/>
                  </a:lnTo>
                  <a:lnTo>
                    <a:pt x="801" y="1040"/>
                  </a:lnTo>
                  <a:lnTo>
                    <a:pt x="830" y="1064"/>
                  </a:lnTo>
                  <a:lnTo>
                    <a:pt x="858" y="1089"/>
                  </a:lnTo>
                  <a:lnTo>
                    <a:pt x="870" y="1105"/>
                  </a:lnTo>
                  <a:lnTo>
                    <a:pt x="882" y="1122"/>
                  </a:lnTo>
                  <a:lnTo>
                    <a:pt x="895" y="1139"/>
                  </a:lnTo>
                  <a:lnTo>
                    <a:pt x="907" y="1157"/>
                  </a:lnTo>
                  <a:lnTo>
                    <a:pt x="931" y="1168"/>
                  </a:lnTo>
                  <a:lnTo>
                    <a:pt x="953" y="1180"/>
                  </a:lnTo>
                  <a:lnTo>
                    <a:pt x="962" y="1187"/>
                  </a:lnTo>
                  <a:lnTo>
                    <a:pt x="973" y="1195"/>
                  </a:lnTo>
                  <a:lnTo>
                    <a:pt x="982" y="1204"/>
                  </a:lnTo>
                  <a:lnTo>
                    <a:pt x="990" y="1214"/>
                  </a:lnTo>
                  <a:lnTo>
                    <a:pt x="979" y="1213"/>
                  </a:lnTo>
                  <a:lnTo>
                    <a:pt x="969" y="1211"/>
                  </a:lnTo>
                  <a:lnTo>
                    <a:pt x="960" y="1208"/>
                  </a:lnTo>
                  <a:lnTo>
                    <a:pt x="951" y="1202"/>
                  </a:lnTo>
                  <a:lnTo>
                    <a:pt x="935" y="1192"/>
                  </a:lnTo>
                  <a:lnTo>
                    <a:pt x="918" y="1179"/>
                  </a:lnTo>
                  <a:lnTo>
                    <a:pt x="883" y="1179"/>
                  </a:lnTo>
                  <a:lnTo>
                    <a:pt x="847" y="1178"/>
                  </a:lnTo>
                  <a:lnTo>
                    <a:pt x="827" y="1178"/>
                  </a:lnTo>
                  <a:lnTo>
                    <a:pt x="809" y="1178"/>
                  </a:lnTo>
                  <a:lnTo>
                    <a:pt x="792" y="1179"/>
                  </a:lnTo>
                  <a:lnTo>
                    <a:pt x="775" y="1183"/>
                  </a:lnTo>
                  <a:lnTo>
                    <a:pt x="760" y="1187"/>
                  </a:lnTo>
                  <a:lnTo>
                    <a:pt x="745" y="1193"/>
                  </a:lnTo>
                  <a:lnTo>
                    <a:pt x="739" y="1197"/>
                  </a:lnTo>
                  <a:lnTo>
                    <a:pt x="732" y="1201"/>
                  </a:lnTo>
                  <a:lnTo>
                    <a:pt x="726" y="1206"/>
                  </a:lnTo>
                  <a:lnTo>
                    <a:pt x="720" y="1211"/>
                  </a:lnTo>
                  <a:lnTo>
                    <a:pt x="717" y="1218"/>
                  </a:lnTo>
                  <a:lnTo>
                    <a:pt x="711" y="1226"/>
                  </a:lnTo>
                  <a:lnTo>
                    <a:pt x="709" y="1232"/>
                  </a:lnTo>
                  <a:lnTo>
                    <a:pt x="705" y="1241"/>
                  </a:lnTo>
                  <a:lnTo>
                    <a:pt x="702" y="1250"/>
                  </a:lnTo>
                  <a:lnTo>
                    <a:pt x="701" y="1261"/>
                  </a:lnTo>
                  <a:lnTo>
                    <a:pt x="700" y="1271"/>
                  </a:lnTo>
                  <a:lnTo>
                    <a:pt x="700" y="1283"/>
                  </a:lnTo>
                  <a:lnTo>
                    <a:pt x="711" y="1312"/>
                  </a:lnTo>
                  <a:lnTo>
                    <a:pt x="720" y="1339"/>
                  </a:lnTo>
                  <a:lnTo>
                    <a:pt x="728" y="1368"/>
                  </a:lnTo>
                  <a:lnTo>
                    <a:pt x="735" y="1396"/>
                  </a:lnTo>
                  <a:lnTo>
                    <a:pt x="743" y="1453"/>
                  </a:lnTo>
                  <a:lnTo>
                    <a:pt x="750" y="1509"/>
                  </a:lnTo>
                  <a:lnTo>
                    <a:pt x="756" y="1538"/>
                  </a:lnTo>
                  <a:lnTo>
                    <a:pt x="762" y="1564"/>
                  </a:lnTo>
                  <a:lnTo>
                    <a:pt x="770" y="1591"/>
                  </a:lnTo>
                  <a:lnTo>
                    <a:pt x="782" y="1616"/>
                  </a:lnTo>
                  <a:lnTo>
                    <a:pt x="787" y="1629"/>
                  </a:lnTo>
                  <a:lnTo>
                    <a:pt x="795" y="1642"/>
                  </a:lnTo>
                  <a:lnTo>
                    <a:pt x="802" y="1654"/>
                  </a:lnTo>
                  <a:lnTo>
                    <a:pt x="812" y="1665"/>
                  </a:lnTo>
                  <a:lnTo>
                    <a:pt x="821" y="1677"/>
                  </a:lnTo>
                  <a:lnTo>
                    <a:pt x="832" y="1689"/>
                  </a:lnTo>
                  <a:lnTo>
                    <a:pt x="844" y="1699"/>
                  </a:lnTo>
                  <a:lnTo>
                    <a:pt x="857" y="1710"/>
                  </a:lnTo>
                  <a:lnTo>
                    <a:pt x="875" y="1716"/>
                  </a:lnTo>
                  <a:lnTo>
                    <a:pt x="894" y="1723"/>
                  </a:lnTo>
                  <a:lnTo>
                    <a:pt x="912" y="1730"/>
                  </a:lnTo>
                  <a:lnTo>
                    <a:pt x="930" y="1737"/>
                  </a:lnTo>
                  <a:lnTo>
                    <a:pt x="944" y="1763"/>
                  </a:lnTo>
                  <a:lnTo>
                    <a:pt x="957" y="1783"/>
                  </a:lnTo>
                  <a:lnTo>
                    <a:pt x="964" y="1790"/>
                  </a:lnTo>
                  <a:lnTo>
                    <a:pt x="970" y="1796"/>
                  </a:lnTo>
                  <a:lnTo>
                    <a:pt x="977" y="1801"/>
                  </a:lnTo>
                  <a:lnTo>
                    <a:pt x="985" y="1805"/>
                  </a:lnTo>
                  <a:lnTo>
                    <a:pt x="991" y="1807"/>
                  </a:lnTo>
                  <a:lnTo>
                    <a:pt x="1000" y="1810"/>
                  </a:lnTo>
                  <a:lnTo>
                    <a:pt x="1009" y="1811"/>
                  </a:lnTo>
                  <a:lnTo>
                    <a:pt x="1018" y="1812"/>
                  </a:lnTo>
                  <a:lnTo>
                    <a:pt x="1043" y="1812"/>
                  </a:lnTo>
                  <a:lnTo>
                    <a:pt x="1073" y="1814"/>
                  </a:lnTo>
                  <a:lnTo>
                    <a:pt x="1083" y="1829"/>
                  </a:lnTo>
                  <a:lnTo>
                    <a:pt x="1096" y="1842"/>
                  </a:lnTo>
                  <a:lnTo>
                    <a:pt x="1103" y="1848"/>
                  </a:lnTo>
                  <a:lnTo>
                    <a:pt x="1109" y="1853"/>
                  </a:lnTo>
                  <a:lnTo>
                    <a:pt x="1117" y="1857"/>
                  </a:lnTo>
                  <a:lnTo>
                    <a:pt x="1126" y="1861"/>
                  </a:lnTo>
                  <a:lnTo>
                    <a:pt x="1128" y="1891"/>
                  </a:lnTo>
                  <a:lnTo>
                    <a:pt x="1129" y="1922"/>
                  </a:lnTo>
                  <a:lnTo>
                    <a:pt x="1132" y="1952"/>
                  </a:lnTo>
                  <a:lnTo>
                    <a:pt x="1134" y="1983"/>
                  </a:lnTo>
                  <a:lnTo>
                    <a:pt x="1126" y="1983"/>
                  </a:lnTo>
                  <a:lnTo>
                    <a:pt x="1121" y="1983"/>
                  </a:lnTo>
                  <a:lnTo>
                    <a:pt x="1112" y="1965"/>
                  </a:lnTo>
                  <a:lnTo>
                    <a:pt x="1103" y="1949"/>
                  </a:lnTo>
                  <a:lnTo>
                    <a:pt x="1094" y="1935"/>
                  </a:lnTo>
                  <a:lnTo>
                    <a:pt x="1083" y="1924"/>
                  </a:lnTo>
                  <a:lnTo>
                    <a:pt x="1073" y="1914"/>
                  </a:lnTo>
                  <a:lnTo>
                    <a:pt x="1063" y="1906"/>
                  </a:lnTo>
                  <a:lnTo>
                    <a:pt x="1051" y="1901"/>
                  </a:lnTo>
                  <a:lnTo>
                    <a:pt x="1039" y="1896"/>
                  </a:lnTo>
                  <a:lnTo>
                    <a:pt x="1026" y="1893"/>
                  </a:lnTo>
                  <a:lnTo>
                    <a:pt x="1013" y="1891"/>
                  </a:lnTo>
                  <a:lnTo>
                    <a:pt x="999" y="1889"/>
                  </a:lnTo>
                  <a:lnTo>
                    <a:pt x="983" y="1889"/>
                  </a:lnTo>
                  <a:lnTo>
                    <a:pt x="949" y="1889"/>
                  </a:lnTo>
                  <a:lnTo>
                    <a:pt x="910" y="1891"/>
                  </a:lnTo>
                  <a:lnTo>
                    <a:pt x="907" y="1898"/>
                  </a:lnTo>
                  <a:lnTo>
                    <a:pt x="904" y="1905"/>
                  </a:lnTo>
                  <a:lnTo>
                    <a:pt x="901" y="1913"/>
                  </a:lnTo>
                  <a:lnTo>
                    <a:pt x="899" y="1919"/>
                  </a:lnTo>
                  <a:lnTo>
                    <a:pt x="897" y="1933"/>
                  </a:lnTo>
                  <a:lnTo>
                    <a:pt x="897" y="1948"/>
                  </a:lnTo>
                  <a:lnTo>
                    <a:pt x="900" y="1963"/>
                  </a:lnTo>
                  <a:lnTo>
                    <a:pt x="904" y="1978"/>
                  </a:lnTo>
                  <a:lnTo>
                    <a:pt x="908" y="1993"/>
                  </a:lnTo>
                  <a:lnTo>
                    <a:pt x="912" y="2008"/>
                  </a:lnTo>
                  <a:lnTo>
                    <a:pt x="917" y="2023"/>
                  </a:lnTo>
                  <a:lnTo>
                    <a:pt x="921" y="2039"/>
                  </a:lnTo>
                  <a:lnTo>
                    <a:pt x="923" y="2053"/>
                  </a:lnTo>
                  <a:lnTo>
                    <a:pt x="925" y="2067"/>
                  </a:lnTo>
                  <a:lnTo>
                    <a:pt x="925" y="2082"/>
                  </a:lnTo>
                  <a:lnTo>
                    <a:pt x="922" y="2096"/>
                  </a:lnTo>
                  <a:lnTo>
                    <a:pt x="921" y="2104"/>
                  </a:lnTo>
                  <a:lnTo>
                    <a:pt x="917" y="2110"/>
                  </a:lnTo>
                  <a:lnTo>
                    <a:pt x="913" y="2117"/>
                  </a:lnTo>
                  <a:lnTo>
                    <a:pt x="909" y="2123"/>
                  </a:lnTo>
                  <a:close/>
                </a:path>
              </a:pathLst>
            </a:custGeom>
            <a:noFill/>
            <a:ln w="1905">
              <a:solidFill>
                <a:srgbClr val="3399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932875" name="Freeform 110"/>
            <p:cNvSpPr>
              <a:spLocks/>
            </p:cNvSpPr>
            <p:nvPr/>
          </p:nvSpPr>
          <p:spPr bwMode="auto">
            <a:xfrm>
              <a:off x="2111" y="2690"/>
              <a:ext cx="366" cy="280"/>
            </a:xfrm>
            <a:custGeom>
              <a:avLst/>
              <a:gdLst>
                <a:gd name="T0" fmla="*/ 0 w 1468"/>
                <a:gd name="T1" fmla="*/ 0 h 1119"/>
                <a:gd name="T2" fmla="*/ 0 w 1468"/>
                <a:gd name="T3" fmla="*/ 0 h 1119"/>
                <a:gd name="T4" fmla="*/ 0 w 1468"/>
                <a:gd name="T5" fmla="*/ 0 h 1119"/>
                <a:gd name="T6" fmla="*/ 0 w 1468"/>
                <a:gd name="T7" fmla="*/ 0 h 1119"/>
                <a:gd name="T8" fmla="*/ 0 w 1468"/>
                <a:gd name="T9" fmla="*/ 0 h 1119"/>
                <a:gd name="T10" fmla="*/ 0 w 1468"/>
                <a:gd name="T11" fmla="*/ 0 h 1119"/>
                <a:gd name="T12" fmla="*/ 0 w 1468"/>
                <a:gd name="T13" fmla="*/ 0 h 1119"/>
                <a:gd name="T14" fmla="*/ 0 w 1468"/>
                <a:gd name="T15" fmla="*/ 0 h 1119"/>
                <a:gd name="T16" fmla="*/ 0 w 1468"/>
                <a:gd name="T17" fmla="*/ 0 h 1119"/>
                <a:gd name="T18" fmla="*/ 0 w 1468"/>
                <a:gd name="T19" fmla="*/ 0 h 1119"/>
                <a:gd name="T20" fmla="*/ 0 w 1468"/>
                <a:gd name="T21" fmla="*/ 0 h 1119"/>
                <a:gd name="T22" fmla="*/ 0 w 1468"/>
                <a:gd name="T23" fmla="*/ 0 h 1119"/>
                <a:gd name="T24" fmla="*/ 0 w 1468"/>
                <a:gd name="T25" fmla="*/ 0 h 1119"/>
                <a:gd name="T26" fmla="*/ 0 w 1468"/>
                <a:gd name="T27" fmla="*/ 0 h 1119"/>
                <a:gd name="T28" fmla="*/ 0 w 1468"/>
                <a:gd name="T29" fmla="*/ 0 h 1119"/>
                <a:gd name="T30" fmla="*/ 0 w 1468"/>
                <a:gd name="T31" fmla="*/ 0 h 1119"/>
                <a:gd name="T32" fmla="*/ 0 w 1468"/>
                <a:gd name="T33" fmla="*/ 0 h 1119"/>
                <a:gd name="T34" fmla="*/ 0 w 1468"/>
                <a:gd name="T35" fmla="*/ 0 h 1119"/>
                <a:gd name="T36" fmla="*/ 0 w 1468"/>
                <a:gd name="T37" fmla="*/ 0 h 1119"/>
                <a:gd name="T38" fmla="*/ 0 w 1468"/>
                <a:gd name="T39" fmla="*/ 0 h 1119"/>
                <a:gd name="T40" fmla="*/ 0 w 1468"/>
                <a:gd name="T41" fmla="*/ 0 h 1119"/>
                <a:gd name="T42" fmla="*/ 0 w 1468"/>
                <a:gd name="T43" fmla="*/ 0 h 1119"/>
                <a:gd name="T44" fmla="*/ 0 w 1468"/>
                <a:gd name="T45" fmla="*/ 0 h 1119"/>
                <a:gd name="T46" fmla="*/ 0 w 1468"/>
                <a:gd name="T47" fmla="*/ 0 h 1119"/>
                <a:gd name="T48" fmla="*/ 0 w 1468"/>
                <a:gd name="T49" fmla="*/ 0 h 1119"/>
                <a:gd name="T50" fmla="*/ 0 w 1468"/>
                <a:gd name="T51" fmla="*/ 0 h 1119"/>
                <a:gd name="T52" fmla="*/ 0 w 1468"/>
                <a:gd name="T53" fmla="*/ 0 h 1119"/>
                <a:gd name="T54" fmla="*/ 0 w 1468"/>
                <a:gd name="T55" fmla="*/ 0 h 1119"/>
                <a:gd name="T56" fmla="*/ 0 w 1468"/>
                <a:gd name="T57" fmla="*/ 0 h 1119"/>
                <a:gd name="T58" fmla="*/ 0 w 1468"/>
                <a:gd name="T59" fmla="*/ 0 h 1119"/>
                <a:gd name="T60" fmla="*/ 0 w 1468"/>
                <a:gd name="T61" fmla="*/ 0 h 1119"/>
                <a:gd name="T62" fmla="*/ 0 w 1468"/>
                <a:gd name="T63" fmla="*/ 0 h 1119"/>
                <a:gd name="T64" fmla="*/ 0 w 1468"/>
                <a:gd name="T65" fmla="*/ 0 h 1119"/>
                <a:gd name="T66" fmla="*/ 0 w 1468"/>
                <a:gd name="T67" fmla="*/ 0 h 1119"/>
                <a:gd name="T68" fmla="*/ 0 w 1468"/>
                <a:gd name="T69" fmla="*/ 0 h 1119"/>
                <a:gd name="T70" fmla="*/ 0 w 1468"/>
                <a:gd name="T71" fmla="*/ 0 h 1119"/>
                <a:gd name="T72" fmla="*/ 0 w 1468"/>
                <a:gd name="T73" fmla="*/ 0 h 1119"/>
                <a:gd name="T74" fmla="*/ 0 w 1468"/>
                <a:gd name="T75" fmla="*/ 0 h 1119"/>
                <a:gd name="T76" fmla="*/ 0 w 1468"/>
                <a:gd name="T77" fmla="*/ 0 h 1119"/>
                <a:gd name="T78" fmla="*/ 0 w 1468"/>
                <a:gd name="T79" fmla="*/ 0 h 1119"/>
                <a:gd name="T80" fmla="*/ 0 w 1468"/>
                <a:gd name="T81" fmla="*/ 0 h 1119"/>
                <a:gd name="T82" fmla="*/ 0 w 1468"/>
                <a:gd name="T83" fmla="*/ 0 h 1119"/>
                <a:gd name="T84" fmla="*/ 0 w 1468"/>
                <a:gd name="T85" fmla="*/ 0 h 1119"/>
                <a:gd name="T86" fmla="*/ 0 w 1468"/>
                <a:gd name="T87" fmla="*/ 0 h 1119"/>
                <a:gd name="T88" fmla="*/ 0 w 1468"/>
                <a:gd name="T89" fmla="*/ 0 h 1119"/>
                <a:gd name="T90" fmla="*/ 0 w 1468"/>
                <a:gd name="T91" fmla="*/ 0 h 1119"/>
                <a:gd name="T92" fmla="*/ 0 w 1468"/>
                <a:gd name="T93" fmla="*/ 0 h 1119"/>
                <a:gd name="T94" fmla="*/ 0 w 1468"/>
                <a:gd name="T95" fmla="*/ 0 h 1119"/>
                <a:gd name="T96" fmla="*/ 0 w 1468"/>
                <a:gd name="T97" fmla="*/ 0 h 1119"/>
                <a:gd name="T98" fmla="*/ 0 w 1468"/>
                <a:gd name="T99" fmla="*/ 0 h 1119"/>
                <a:gd name="T100" fmla="*/ 0 w 1468"/>
                <a:gd name="T101" fmla="*/ 0 h 1119"/>
                <a:gd name="T102" fmla="*/ 0 w 1468"/>
                <a:gd name="T103" fmla="*/ 0 h 1119"/>
                <a:gd name="T104" fmla="*/ 0 w 1468"/>
                <a:gd name="T105" fmla="*/ 0 h 1119"/>
                <a:gd name="T106" fmla="*/ 0 w 1468"/>
                <a:gd name="T107" fmla="*/ 0 h 1119"/>
                <a:gd name="T108" fmla="*/ 0 w 1468"/>
                <a:gd name="T109" fmla="*/ 0 h 1119"/>
                <a:gd name="T110" fmla="*/ 0 w 1468"/>
                <a:gd name="T111" fmla="*/ 0 h 111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68"/>
                <a:gd name="T169" fmla="*/ 0 h 1119"/>
                <a:gd name="T170" fmla="*/ 1468 w 1468"/>
                <a:gd name="T171" fmla="*/ 1119 h 1119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68" h="1119">
                  <a:moveTo>
                    <a:pt x="756" y="1119"/>
                  </a:moveTo>
                  <a:lnTo>
                    <a:pt x="742" y="1095"/>
                  </a:lnTo>
                  <a:lnTo>
                    <a:pt x="726" y="1068"/>
                  </a:lnTo>
                  <a:lnTo>
                    <a:pt x="709" y="1039"/>
                  </a:lnTo>
                  <a:lnTo>
                    <a:pt x="690" y="1012"/>
                  </a:lnTo>
                  <a:lnTo>
                    <a:pt x="679" y="999"/>
                  </a:lnTo>
                  <a:lnTo>
                    <a:pt x="668" y="987"/>
                  </a:lnTo>
                  <a:lnTo>
                    <a:pt x="656" y="977"/>
                  </a:lnTo>
                  <a:lnTo>
                    <a:pt x="644" y="966"/>
                  </a:lnTo>
                  <a:lnTo>
                    <a:pt x="631" y="959"/>
                  </a:lnTo>
                  <a:lnTo>
                    <a:pt x="618" y="953"/>
                  </a:lnTo>
                  <a:lnTo>
                    <a:pt x="604" y="949"/>
                  </a:lnTo>
                  <a:lnTo>
                    <a:pt x="590" y="948"/>
                  </a:lnTo>
                  <a:lnTo>
                    <a:pt x="578" y="953"/>
                  </a:lnTo>
                  <a:lnTo>
                    <a:pt x="566" y="959"/>
                  </a:lnTo>
                  <a:lnTo>
                    <a:pt x="552" y="962"/>
                  </a:lnTo>
                  <a:lnTo>
                    <a:pt x="539" y="965"/>
                  </a:lnTo>
                  <a:lnTo>
                    <a:pt x="523" y="968"/>
                  </a:lnTo>
                  <a:lnTo>
                    <a:pt x="508" y="969"/>
                  </a:lnTo>
                  <a:lnTo>
                    <a:pt x="492" y="969"/>
                  </a:lnTo>
                  <a:lnTo>
                    <a:pt x="476" y="969"/>
                  </a:lnTo>
                  <a:lnTo>
                    <a:pt x="445" y="966"/>
                  </a:lnTo>
                  <a:lnTo>
                    <a:pt x="414" y="961"/>
                  </a:lnTo>
                  <a:lnTo>
                    <a:pt x="400" y="959"/>
                  </a:lnTo>
                  <a:lnTo>
                    <a:pt x="387" y="955"/>
                  </a:lnTo>
                  <a:lnTo>
                    <a:pt x="374" y="951"/>
                  </a:lnTo>
                  <a:lnTo>
                    <a:pt x="362" y="946"/>
                  </a:lnTo>
                  <a:lnTo>
                    <a:pt x="359" y="922"/>
                  </a:lnTo>
                  <a:lnTo>
                    <a:pt x="357" y="897"/>
                  </a:lnTo>
                  <a:lnTo>
                    <a:pt x="354" y="874"/>
                  </a:lnTo>
                  <a:lnTo>
                    <a:pt x="353" y="851"/>
                  </a:lnTo>
                  <a:lnTo>
                    <a:pt x="344" y="844"/>
                  </a:lnTo>
                  <a:lnTo>
                    <a:pt x="335" y="839"/>
                  </a:lnTo>
                  <a:lnTo>
                    <a:pt x="325" y="835"/>
                  </a:lnTo>
                  <a:lnTo>
                    <a:pt x="318" y="832"/>
                  </a:lnTo>
                  <a:lnTo>
                    <a:pt x="310" y="830"/>
                  </a:lnTo>
                  <a:lnTo>
                    <a:pt x="301" y="828"/>
                  </a:lnTo>
                  <a:lnTo>
                    <a:pt x="293" y="827"/>
                  </a:lnTo>
                  <a:lnTo>
                    <a:pt x="285" y="828"/>
                  </a:lnTo>
                  <a:lnTo>
                    <a:pt x="277" y="830"/>
                  </a:lnTo>
                  <a:lnTo>
                    <a:pt x="271" y="831"/>
                  </a:lnTo>
                  <a:lnTo>
                    <a:pt x="263" y="835"/>
                  </a:lnTo>
                  <a:lnTo>
                    <a:pt x="256" y="840"/>
                  </a:lnTo>
                  <a:lnTo>
                    <a:pt x="250" y="845"/>
                  </a:lnTo>
                  <a:lnTo>
                    <a:pt x="243" y="852"/>
                  </a:lnTo>
                  <a:lnTo>
                    <a:pt x="237" y="860"/>
                  </a:lnTo>
                  <a:lnTo>
                    <a:pt x="232" y="869"/>
                  </a:lnTo>
                  <a:lnTo>
                    <a:pt x="216" y="874"/>
                  </a:lnTo>
                  <a:lnTo>
                    <a:pt x="201" y="878"/>
                  </a:lnTo>
                  <a:lnTo>
                    <a:pt x="186" y="883"/>
                  </a:lnTo>
                  <a:lnTo>
                    <a:pt x="172" y="888"/>
                  </a:lnTo>
                  <a:lnTo>
                    <a:pt x="156" y="844"/>
                  </a:lnTo>
                  <a:lnTo>
                    <a:pt x="145" y="799"/>
                  </a:lnTo>
                  <a:lnTo>
                    <a:pt x="133" y="752"/>
                  </a:lnTo>
                  <a:lnTo>
                    <a:pt x="124" y="705"/>
                  </a:lnTo>
                  <a:lnTo>
                    <a:pt x="116" y="657"/>
                  </a:lnTo>
                  <a:lnTo>
                    <a:pt x="109" y="610"/>
                  </a:lnTo>
                  <a:lnTo>
                    <a:pt x="103" y="562"/>
                  </a:lnTo>
                  <a:lnTo>
                    <a:pt x="99" y="515"/>
                  </a:lnTo>
                  <a:lnTo>
                    <a:pt x="86" y="468"/>
                  </a:lnTo>
                  <a:lnTo>
                    <a:pt x="74" y="421"/>
                  </a:lnTo>
                  <a:lnTo>
                    <a:pt x="61" y="374"/>
                  </a:lnTo>
                  <a:lnTo>
                    <a:pt x="50" y="328"/>
                  </a:lnTo>
                  <a:lnTo>
                    <a:pt x="38" y="281"/>
                  </a:lnTo>
                  <a:lnTo>
                    <a:pt x="25" y="235"/>
                  </a:lnTo>
                  <a:lnTo>
                    <a:pt x="13" y="188"/>
                  </a:lnTo>
                  <a:lnTo>
                    <a:pt x="0" y="142"/>
                  </a:lnTo>
                  <a:lnTo>
                    <a:pt x="14" y="139"/>
                  </a:lnTo>
                  <a:lnTo>
                    <a:pt x="25" y="134"/>
                  </a:lnTo>
                  <a:lnTo>
                    <a:pt x="34" y="127"/>
                  </a:lnTo>
                  <a:lnTo>
                    <a:pt x="40" y="120"/>
                  </a:lnTo>
                  <a:lnTo>
                    <a:pt x="48" y="112"/>
                  </a:lnTo>
                  <a:lnTo>
                    <a:pt x="55" y="104"/>
                  </a:lnTo>
                  <a:lnTo>
                    <a:pt x="64" y="96"/>
                  </a:lnTo>
                  <a:lnTo>
                    <a:pt x="76" y="88"/>
                  </a:lnTo>
                  <a:lnTo>
                    <a:pt x="85" y="100"/>
                  </a:lnTo>
                  <a:lnTo>
                    <a:pt x="93" y="113"/>
                  </a:lnTo>
                  <a:lnTo>
                    <a:pt x="121" y="110"/>
                  </a:lnTo>
                  <a:lnTo>
                    <a:pt x="148" y="104"/>
                  </a:lnTo>
                  <a:lnTo>
                    <a:pt x="161" y="101"/>
                  </a:lnTo>
                  <a:lnTo>
                    <a:pt x="176" y="99"/>
                  </a:lnTo>
                  <a:lnTo>
                    <a:pt x="190" y="97"/>
                  </a:lnTo>
                  <a:lnTo>
                    <a:pt x="204" y="96"/>
                  </a:lnTo>
                  <a:lnTo>
                    <a:pt x="215" y="101"/>
                  </a:lnTo>
                  <a:lnTo>
                    <a:pt x="224" y="106"/>
                  </a:lnTo>
                  <a:lnTo>
                    <a:pt x="234" y="110"/>
                  </a:lnTo>
                  <a:lnTo>
                    <a:pt x="243" y="114"/>
                  </a:lnTo>
                  <a:lnTo>
                    <a:pt x="253" y="117"/>
                  </a:lnTo>
                  <a:lnTo>
                    <a:pt x="262" y="118"/>
                  </a:lnTo>
                  <a:lnTo>
                    <a:pt x="271" y="120"/>
                  </a:lnTo>
                  <a:lnTo>
                    <a:pt x="279" y="120"/>
                  </a:lnTo>
                  <a:lnTo>
                    <a:pt x="295" y="118"/>
                  </a:lnTo>
                  <a:lnTo>
                    <a:pt x="312" y="114"/>
                  </a:lnTo>
                  <a:lnTo>
                    <a:pt x="329" y="109"/>
                  </a:lnTo>
                  <a:lnTo>
                    <a:pt x="345" y="103"/>
                  </a:lnTo>
                  <a:lnTo>
                    <a:pt x="377" y="86"/>
                  </a:lnTo>
                  <a:lnTo>
                    <a:pt x="411" y="69"/>
                  </a:lnTo>
                  <a:lnTo>
                    <a:pt x="429" y="60"/>
                  </a:lnTo>
                  <a:lnTo>
                    <a:pt x="448" y="52"/>
                  </a:lnTo>
                  <a:lnTo>
                    <a:pt x="467" y="44"/>
                  </a:lnTo>
                  <a:lnTo>
                    <a:pt x="487" y="39"/>
                  </a:lnTo>
                  <a:lnTo>
                    <a:pt x="524" y="19"/>
                  </a:lnTo>
                  <a:lnTo>
                    <a:pt x="547" y="9"/>
                  </a:lnTo>
                  <a:lnTo>
                    <a:pt x="563" y="4"/>
                  </a:lnTo>
                  <a:lnTo>
                    <a:pt x="583" y="0"/>
                  </a:lnTo>
                  <a:lnTo>
                    <a:pt x="592" y="6"/>
                  </a:lnTo>
                  <a:lnTo>
                    <a:pt x="600" y="14"/>
                  </a:lnTo>
                  <a:lnTo>
                    <a:pt x="608" y="21"/>
                  </a:lnTo>
                  <a:lnTo>
                    <a:pt x="613" y="28"/>
                  </a:lnTo>
                  <a:lnTo>
                    <a:pt x="618" y="38"/>
                  </a:lnTo>
                  <a:lnTo>
                    <a:pt x="622" y="45"/>
                  </a:lnTo>
                  <a:lnTo>
                    <a:pt x="626" y="54"/>
                  </a:lnTo>
                  <a:lnTo>
                    <a:pt x="629" y="62"/>
                  </a:lnTo>
                  <a:lnTo>
                    <a:pt x="632" y="82"/>
                  </a:lnTo>
                  <a:lnTo>
                    <a:pt x="635" y="100"/>
                  </a:lnTo>
                  <a:lnTo>
                    <a:pt x="638" y="121"/>
                  </a:lnTo>
                  <a:lnTo>
                    <a:pt x="639" y="140"/>
                  </a:lnTo>
                  <a:lnTo>
                    <a:pt x="652" y="144"/>
                  </a:lnTo>
                  <a:lnTo>
                    <a:pt x="666" y="149"/>
                  </a:lnTo>
                  <a:lnTo>
                    <a:pt x="664" y="160"/>
                  </a:lnTo>
                  <a:lnTo>
                    <a:pt x="661" y="170"/>
                  </a:lnTo>
                  <a:lnTo>
                    <a:pt x="660" y="181"/>
                  </a:lnTo>
                  <a:lnTo>
                    <a:pt x="658" y="192"/>
                  </a:lnTo>
                  <a:lnTo>
                    <a:pt x="669" y="201"/>
                  </a:lnTo>
                  <a:lnTo>
                    <a:pt x="679" y="211"/>
                  </a:lnTo>
                  <a:lnTo>
                    <a:pt x="687" y="221"/>
                  </a:lnTo>
                  <a:lnTo>
                    <a:pt x="695" y="230"/>
                  </a:lnTo>
                  <a:lnTo>
                    <a:pt x="708" y="251"/>
                  </a:lnTo>
                  <a:lnTo>
                    <a:pt x="721" y="268"/>
                  </a:lnTo>
                  <a:lnTo>
                    <a:pt x="727" y="276"/>
                  </a:lnTo>
                  <a:lnTo>
                    <a:pt x="735" y="283"/>
                  </a:lnTo>
                  <a:lnTo>
                    <a:pt x="743" y="289"/>
                  </a:lnTo>
                  <a:lnTo>
                    <a:pt x="753" y="293"/>
                  </a:lnTo>
                  <a:lnTo>
                    <a:pt x="764" y="295"/>
                  </a:lnTo>
                  <a:lnTo>
                    <a:pt x="777" y="296"/>
                  </a:lnTo>
                  <a:lnTo>
                    <a:pt x="791" y="295"/>
                  </a:lnTo>
                  <a:lnTo>
                    <a:pt x="808" y="293"/>
                  </a:lnTo>
                  <a:lnTo>
                    <a:pt x="817" y="273"/>
                  </a:lnTo>
                  <a:lnTo>
                    <a:pt x="828" y="255"/>
                  </a:lnTo>
                  <a:lnTo>
                    <a:pt x="834" y="246"/>
                  </a:lnTo>
                  <a:lnTo>
                    <a:pt x="841" y="238"/>
                  </a:lnTo>
                  <a:lnTo>
                    <a:pt x="847" y="230"/>
                  </a:lnTo>
                  <a:lnTo>
                    <a:pt x="855" y="224"/>
                  </a:lnTo>
                  <a:lnTo>
                    <a:pt x="863" y="217"/>
                  </a:lnTo>
                  <a:lnTo>
                    <a:pt x="872" y="212"/>
                  </a:lnTo>
                  <a:lnTo>
                    <a:pt x="881" y="207"/>
                  </a:lnTo>
                  <a:lnTo>
                    <a:pt x="891" y="204"/>
                  </a:lnTo>
                  <a:lnTo>
                    <a:pt x="900" y="201"/>
                  </a:lnTo>
                  <a:lnTo>
                    <a:pt x="912" y="200"/>
                  </a:lnTo>
                  <a:lnTo>
                    <a:pt x="924" y="200"/>
                  </a:lnTo>
                  <a:lnTo>
                    <a:pt x="936" y="201"/>
                  </a:lnTo>
                  <a:lnTo>
                    <a:pt x="941" y="211"/>
                  </a:lnTo>
                  <a:lnTo>
                    <a:pt x="947" y="221"/>
                  </a:lnTo>
                  <a:lnTo>
                    <a:pt x="958" y="221"/>
                  </a:lnTo>
                  <a:lnTo>
                    <a:pt x="969" y="218"/>
                  </a:lnTo>
                  <a:lnTo>
                    <a:pt x="979" y="216"/>
                  </a:lnTo>
                  <a:lnTo>
                    <a:pt x="989" y="212"/>
                  </a:lnTo>
                  <a:lnTo>
                    <a:pt x="1006" y="203"/>
                  </a:lnTo>
                  <a:lnTo>
                    <a:pt x="1024" y="192"/>
                  </a:lnTo>
                  <a:lnTo>
                    <a:pt x="1033" y="188"/>
                  </a:lnTo>
                  <a:lnTo>
                    <a:pt x="1042" y="185"/>
                  </a:lnTo>
                  <a:lnTo>
                    <a:pt x="1053" y="181"/>
                  </a:lnTo>
                  <a:lnTo>
                    <a:pt x="1063" y="179"/>
                  </a:lnTo>
                  <a:lnTo>
                    <a:pt x="1073" y="178"/>
                  </a:lnTo>
                  <a:lnTo>
                    <a:pt x="1087" y="178"/>
                  </a:lnTo>
                  <a:lnTo>
                    <a:pt x="1100" y="181"/>
                  </a:lnTo>
                  <a:lnTo>
                    <a:pt x="1114" y="185"/>
                  </a:lnTo>
                  <a:lnTo>
                    <a:pt x="1127" y="183"/>
                  </a:lnTo>
                  <a:lnTo>
                    <a:pt x="1140" y="183"/>
                  </a:lnTo>
                  <a:lnTo>
                    <a:pt x="1153" y="183"/>
                  </a:lnTo>
                  <a:lnTo>
                    <a:pt x="1166" y="183"/>
                  </a:lnTo>
                  <a:lnTo>
                    <a:pt x="1170" y="170"/>
                  </a:lnTo>
                  <a:lnTo>
                    <a:pt x="1174" y="157"/>
                  </a:lnTo>
                  <a:lnTo>
                    <a:pt x="1179" y="146"/>
                  </a:lnTo>
                  <a:lnTo>
                    <a:pt x="1185" y="135"/>
                  </a:lnTo>
                  <a:lnTo>
                    <a:pt x="1189" y="130"/>
                  </a:lnTo>
                  <a:lnTo>
                    <a:pt x="1194" y="126"/>
                  </a:lnTo>
                  <a:lnTo>
                    <a:pt x="1200" y="123"/>
                  </a:lnTo>
                  <a:lnTo>
                    <a:pt x="1205" y="120"/>
                  </a:lnTo>
                  <a:lnTo>
                    <a:pt x="1211" y="118"/>
                  </a:lnTo>
                  <a:lnTo>
                    <a:pt x="1218" y="117"/>
                  </a:lnTo>
                  <a:lnTo>
                    <a:pt x="1226" y="117"/>
                  </a:lnTo>
                  <a:lnTo>
                    <a:pt x="1234" y="117"/>
                  </a:lnTo>
                  <a:lnTo>
                    <a:pt x="1244" y="134"/>
                  </a:lnTo>
                  <a:lnTo>
                    <a:pt x="1253" y="151"/>
                  </a:lnTo>
                  <a:lnTo>
                    <a:pt x="1260" y="169"/>
                  </a:lnTo>
                  <a:lnTo>
                    <a:pt x="1265" y="188"/>
                  </a:lnTo>
                  <a:lnTo>
                    <a:pt x="1284" y="200"/>
                  </a:lnTo>
                  <a:lnTo>
                    <a:pt x="1300" y="211"/>
                  </a:lnTo>
                  <a:lnTo>
                    <a:pt x="1312" y="221"/>
                  </a:lnTo>
                  <a:lnTo>
                    <a:pt x="1321" y="230"/>
                  </a:lnTo>
                  <a:lnTo>
                    <a:pt x="1327" y="242"/>
                  </a:lnTo>
                  <a:lnTo>
                    <a:pt x="1334" y="256"/>
                  </a:lnTo>
                  <a:lnTo>
                    <a:pt x="1339" y="273"/>
                  </a:lnTo>
                  <a:lnTo>
                    <a:pt x="1345" y="294"/>
                  </a:lnTo>
                  <a:lnTo>
                    <a:pt x="1353" y="302"/>
                  </a:lnTo>
                  <a:lnTo>
                    <a:pt x="1361" y="309"/>
                  </a:lnTo>
                  <a:lnTo>
                    <a:pt x="1368" y="319"/>
                  </a:lnTo>
                  <a:lnTo>
                    <a:pt x="1374" y="328"/>
                  </a:lnTo>
                  <a:lnTo>
                    <a:pt x="1386" y="347"/>
                  </a:lnTo>
                  <a:lnTo>
                    <a:pt x="1396" y="369"/>
                  </a:lnTo>
                  <a:lnTo>
                    <a:pt x="1404" y="390"/>
                  </a:lnTo>
                  <a:lnTo>
                    <a:pt x="1410" y="414"/>
                  </a:lnTo>
                  <a:lnTo>
                    <a:pt x="1417" y="436"/>
                  </a:lnTo>
                  <a:lnTo>
                    <a:pt x="1422" y="458"/>
                  </a:lnTo>
                  <a:lnTo>
                    <a:pt x="1434" y="459"/>
                  </a:lnTo>
                  <a:lnTo>
                    <a:pt x="1446" y="460"/>
                  </a:lnTo>
                  <a:lnTo>
                    <a:pt x="1456" y="463"/>
                  </a:lnTo>
                  <a:lnTo>
                    <a:pt x="1468" y="466"/>
                  </a:lnTo>
                  <a:lnTo>
                    <a:pt x="1468" y="475"/>
                  </a:lnTo>
                  <a:lnTo>
                    <a:pt x="1465" y="484"/>
                  </a:lnTo>
                  <a:lnTo>
                    <a:pt x="1462" y="492"/>
                  </a:lnTo>
                  <a:lnTo>
                    <a:pt x="1460" y="499"/>
                  </a:lnTo>
                  <a:lnTo>
                    <a:pt x="1451" y="515"/>
                  </a:lnTo>
                  <a:lnTo>
                    <a:pt x="1442" y="531"/>
                  </a:lnTo>
                  <a:lnTo>
                    <a:pt x="1444" y="596"/>
                  </a:lnTo>
                  <a:lnTo>
                    <a:pt x="1448" y="639"/>
                  </a:lnTo>
                  <a:lnTo>
                    <a:pt x="1451" y="671"/>
                  </a:lnTo>
                  <a:lnTo>
                    <a:pt x="1455" y="708"/>
                  </a:lnTo>
                  <a:lnTo>
                    <a:pt x="1434" y="717"/>
                  </a:lnTo>
                  <a:lnTo>
                    <a:pt x="1414" y="726"/>
                  </a:lnTo>
                  <a:lnTo>
                    <a:pt x="1394" y="736"/>
                  </a:lnTo>
                  <a:lnTo>
                    <a:pt x="1374" y="747"/>
                  </a:lnTo>
                  <a:lnTo>
                    <a:pt x="1374" y="765"/>
                  </a:lnTo>
                  <a:lnTo>
                    <a:pt x="1375" y="784"/>
                  </a:lnTo>
                  <a:lnTo>
                    <a:pt x="1377" y="804"/>
                  </a:lnTo>
                  <a:lnTo>
                    <a:pt x="1378" y="823"/>
                  </a:lnTo>
                  <a:lnTo>
                    <a:pt x="1338" y="818"/>
                  </a:lnTo>
                  <a:lnTo>
                    <a:pt x="1313" y="815"/>
                  </a:lnTo>
                  <a:lnTo>
                    <a:pt x="1293" y="815"/>
                  </a:lnTo>
                  <a:lnTo>
                    <a:pt x="1269" y="817"/>
                  </a:lnTo>
                  <a:lnTo>
                    <a:pt x="1265" y="804"/>
                  </a:lnTo>
                  <a:lnTo>
                    <a:pt x="1262" y="792"/>
                  </a:lnTo>
                  <a:lnTo>
                    <a:pt x="1253" y="792"/>
                  </a:lnTo>
                  <a:lnTo>
                    <a:pt x="1245" y="793"/>
                  </a:lnTo>
                  <a:lnTo>
                    <a:pt x="1239" y="796"/>
                  </a:lnTo>
                  <a:lnTo>
                    <a:pt x="1231" y="799"/>
                  </a:lnTo>
                  <a:lnTo>
                    <a:pt x="1224" y="801"/>
                  </a:lnTo>
                  <a:lnTo>
                    <a:pt x="1219" y="805"/>
                  </a:lnTo>
                  <a:lnTo>
                    <a:pt x="1214" y="810"/>
                  </a:lnTo>
                  <a:lnTo>
                    <a:pt x="1209" y="815"/>
                  </a:lnTo>
                  <a:lnTo>
                    <a:pt x="1200" y="826"/>
                  </a:lnTo>
                  <a:lnTo>
                    <a:pt x="1191" y="838"/>
                  </a:lnTo>
                  <a:lnTo>
                    <a:pt x="1183" y="851"/>
                  </a:lnTo>
                  <a:lnTo>
                    <a:pt x="1174" y="864"/>
                  </a:lnTo>
                  <a:lnTo>
                    <a:pt x="1157" y="868"/>
                  </a:lnTo>
                  <a:lnTo>
                    <a:pt x="1142" y="873"/>
                  </a:lnTo>
                  <a:lnTo>
                    <a:pt x="1132" y="879"/>
                  </a:lnTo>
                  <a:lnTo>
                    <a:pt x="1124" y="886"/>
                  </a:lnTo>
                  <a:lnTo>
                    <a:pt x="1118" y="895"/>
                  </a:lnTo>
                  <a:lnTo>
                    <a:pt x="1110" y="905"/>
                  </a:lnTo>
                  <a:lnTo>
                    <a:pt x="1103" y="917"/>
                  </a:lnTo>
                  <a:lnTo>
                    <a:pt x="1094" y="933"/>
                  </a:lnTo>
                  <a:lnTo>
                    <a:pt x="1044" y="926"/>
                  </a:lnTo>
                  <a:lnTo>
                    <a:pt x="997" y="921"/>
                  </a:lnTo>
                  <a:lnTo>
                    <a:pt x="975" y="921"/>
                  </a:lnTo>
                  <a:lnTo>
                    <a:pt x="951" y="923"/>
                  </a:lnTo>
                  <a:lnTo>
                    <a:pt x="928" y="927"/>
                  </a:lnTo>
                  <a:lnTo>
                    <a:pt x="903" y="935"/>
                  </a:lnTo>
                  <a:lnTo>
                    <a:pt x="893" y="930"/>
                  </a:lnTo>
                  <a:lnTo>
                    <a:pt x="882" y="927"/>
                  </a:lnTo>
                  <a:lnTo>
                    <a:pt x="873" y="926"/>
                  </a:lnTo>
                  <a:lnTo>
                    <a:pt x="863" y="925"/>
                  </a:lnTo>
                  <a:lnTo>
                    <a:pt x="842" y="926"/>
                  </a:lnTo>
                  <a:lnTo>
                    <a:pt x="820" y="927"/>
                  </a:lnTo>
                  <a:lnTo>
                    <a:pt x="813" y="938"/>
                  </a:lnTo>
                  <a:lnTo>
                    <a:pt x="808" y="948"/>
                  </a:lnTo>
                  <a:lnTo>
                    <a:pt x="803" y="959"/>
                  </a:lnTo>
                  <a:lnTo>
                    <a:pt x="800" y="969"/>
                  </a:lnTo>
                  <a:lnTo>
                    <a:pt x="794" y="991"/>
                  </a:lnTo>
                  <a:lnTo>
                    <a:pt x="791" y="1016"/>
                  </a:lnTo>
                  <a:lnTo>
                    <a:pt x="786" y="1018"/>
                  </a:lnTo>
                  <a:lnTo>
                    <a:pt x="783" y="1022"/>
                  </a:lnTo>
                  <a:lnTo>
                    <a:pt x="781" y="1029"/>
                  </a:lnTo>
                  <a:lnTo>
                    <a:pt x="778" y="1034"/>
                  </a:lnTo>
                  <a:lnTo>
                    <a:pt x="777" y="1050"/>
                  </a:lnTo>
                  <a:lnTo>
                    <a:pt x="778" y="1065"/>
                  </a:lnTo>
                  <a:lnTo>
                    <a:pt x="783" y="1096"/>
                  </a:lnTo>
                  <a:lnTo>
                    <a:pt x="787" y="1119"/>
                  </a:lnTo>
                  <a:lnTo>
                    <a:pt x="772" y="1119"/>
                  </a:lnTo>
                  <a:lnTo>
                    <a:pt x="756" y="1119"/>
                  </a:lnTo>
                </a:path>
              </a:pathLst>
            </a:custGeom>
            <a:noFill/>
            <a:ln w="1905">
              <a:solidFill>
                <a:srgbClr val="3399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932876" name="Freeform 111"/>
            <p:cNvSpPr>
              <a:spLocks/>
            </p:cNvSpPr>
            <p:nvPr/>
          </p:nvSpPr>
          <p:spPr bwMode="auto">
            <a:xfrm>
              <a:off x="2474" y="2693"/>
              <a:ext cx="202" cy="267"/>
            </a:xfrm>
            <a:custGeom>
              <a:avLst/>
              <a:gdLst>
                <a:gd name="T0" fmla="*/ 0 w 808"/>
                <a:gd name="T1" fmla="*/ 0 h 1071"/>
                <a:gd name="T2" fmla="*/ 0 w 808"/>
                <a:gd name="T3" fmla="*/ 0 h 1071"/>
                <a:gd name="T4" fmla="*/ 0 w 808"/>
                <a:gd name="T5" fmla="*/ 0 h 1071"/>
                <a:gd name="T6" fmla="*/ 0 w 808"/>
                <a:gd name="T7" fmla="*/ 0 h 1071"/>
                <a:gd name="T8" fmla="*/ 0 w 808"/>
                <a:gd name="T9" fmla="*/ 0 h 1071"/>
                <a:gd name="T10" fmla="*/ 0 w 808"/>
                <a:gd name="T11" fmla="*/ 0 h 1071"/>
                <a:gd name="T12" fmla="*/ 0 w 808"/>
                <a:gd name="T13" fmla="*/ 0 h 1071"/>
                <a:gd name="T14" fmla="*/ 0 w 808"/>
                <a:gd name="T15" fmla="*/ 0 h 1071"/>
                <a:gd name="T16" fmla="*/ 0 w 808"/>
                <a:gd name="T17" fmla="*/ 0 h 1071"/>
                <a:gd name="T18" fmla="*/ 0 w 808"/>
                <a:gd name="T19" fmla="*/ 0 h 1071"/>
                <a:gd name="T20" fmla="*/ 0 w 808"/>
                <a:gd name="T21" fmla="*/ 0 h 1071"/>
                <a:gd name="T22" fmla="*/ 0 w 808"/>
                <a:gd name="T23" fmla="*/ 0 h 1071"/>
                <a:gd name="T24" fmla="*/ 0 w 808"/>
                <a:gd name="T25" fmla="*/ 0 h 1071"/>
                <a:gd name="T26" fmla="*/ 0 w 808"/>
                <a:gd name="T27" fmla="*/ 0 h 1071"/>
                <a:gd name="T28" fmla="*/ 0 w 808"/>
                <a:gd name="T29" fmla="*/ 0 h 1071"/>
                <a:gd name="T30" fmla="*/ 0 w 808"/>
                <a:gd name="T31" fmla="*/ 0 h 1071"/>
                <a:gd name="T32" fmla="*/ 0 w 808"/>
                <a:gd name="T33" fmla="*/ 0 h 1071"/>
                <a:gd name="T34" fmla="*/ 0 w 808"/>
                <a:gd name="T35" fmla="*/ 0 h 1071"/>
                <a:gd name="T36" fmla="*/ 0 w 808"/>
                <a:gd name="T37" fmla="*/ 0 h 1071"/>
                <a:gd name="T38" fmla="*/ 0 w 808"/>
                <a:gd name="T39" fmla="*/ 0 h 1071"/>
                <a:gd name="T40" fmla="*/ 0 w 808"/>
                <a:gd name="T41" fmla="*/ 0 h 1071"/>
                <a:gd name="T42" fmla="*/ 0 w 808"/>
                <a:gd name="T43" fmla="*/ 0 h 1071"/>
                <a:gd name="T44" fmla="*/ 0 w 808"/>
                <a:gd name="T45" fmla="*/ 0 h 1071"/>
                <a:gd name="T46" fmla="*/ 0 w 808"/>
                <a:gd name="T47" fmla="*/ 0 h 1071"/>
                <a:gd name="T48" fmla="*/ 0 w 808"/>
                <a:gd name="T49" fmla="*/ 0 h 1071"/>
                <a:gd name="T50" fmla="*/ 0 w 808"/>
                <a:gd name="T51" fmla="*/ 0 h 1071"/>
                <a:gd name="T52" fmla="*/ 0 w 808"/>
                <a:gd name="T53" fmla="*/ 0 h 1071"/>
                <a:gd name="T54" fmla="*/ 0 w 808"/>
                <a:gd name="T55" fmla="*/ 0 h 1071"/>
                <a:gd name="T56" fmla="*/ 0 w 808"/>
                <a:gd name="T57" fmla="*/ 0 h 1071"/>
                <a:gd name="T58" fmla="*/ 0 w 808"/>
                <a:gd name="T59" fmla="*/ 0 h 1071"/>
                <a:gd name="T60" fmla="*/ 0 w 808"/>
                <a:gd name="T61" fmla="*/ 0 h 1071"/>
                <a:gd name="T62" fmla="*/ 0 w 808"/>
                <a:gd name="T63" fmla="*/ 0 h 1071"/>
                <a:gd name="T64" fmla="*/ 0 w 808"/>
                <a:gd name="T65" fmla="*/ 0 h 1071"/>
                <a:gd name="T66" fmla="*/ 0 w 808"/>
                <a:gd name="T67" fmla="*/ 0 h 1071"/>
                <a:gd name="T68" fmla="*/ 0 w 808"/>
                <a:gd name="T69" fmla="*/ 0 h 1071"/>
                <a:gd name="T70" fmla="*/ 0 w 808"/>
                <a:gd name="T71" fmla="*/ 0 h 1071"/>
                <a:gd name="T72" fmla="*/ 0 w 808"/>
                <a:gd name="T73" fmla="*/ 0 h 1071"/>
                <a:gd name="T74" fmla="*/ 0 w 808"/>
                <a:gd name="T75" fmla="*/ 0 h 1071"/>
                <a:gd name="T76" fmla="*/ 0 w 808"/>
                <a:gd name="T77" fmla="*/ 0 h 1071"/>
                <a:gd name="T78" fmla="*/ 0 w 808"/>
                <a:gd name="T79" fmla="*/ 0 h 1071"/>
                <a:gd name="T80" fmla="*/ 0 w 808"/>
                <a:gd name="T81" fmla="*/ 0 h 1071"/>
                <a:gd name="T82" fmla="*/ 0 w 808"/>
                <a:gd name="T83" fmla="*/ 0 h 1071"/>
                <a:gd name="T84" fmla="*/ 0 w 808"/>
                <a:gd name="T85" fmla="*/ 0 h 1071"/>
                <a:gd name="T86" fmla="*/ 0 w 808"/>
                <a:gd name="T87" fmla="*/ 0 h 1071"/>
                <a:gd name="T88" fmla="*/ 0 w 808"/>
                <a:gd name="T89" fmla="*/ 0 h 1071"/>
                <a:gd name="T90" fmla="*/ 0 w 808"/>
                <a:gd name="T91" fmla="*/ 0 h 1071"/>
                <a:gd name="T92" fmla="*/ 0 w 808"/>
                <a:gd name="T93" fmla="*/ 0 h 1071"/>
                <a:gd name="T94" fmla="*/ 0 w 808"/>
                <a:gd name="T95" fmla="*/ 0 h 1071"/>
                <a:gd name="T96" fmla="*/ 0 w 808"/>
                <a:gd name="T97" fmla="*/ 0 h 1071"/>
                <a:gd name="T98" fmla="*/ 0 w 808"/>
                <a:gd name="T99" fmla="*/ 0 h 1071"/>
                <a:gd name="T100" fmla="*/ 0 w 808"/>
                <a:gd name="T101" fmla="*/ 0 h 1071"/>
                <a:gd name="T102" fmla="*/ 0 w 808"/>
                <a:gd name="T103" fmla="*/ 0 h 107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08"/>
                <a:gd name="T157" fmla="*/ 0 h 1071"/>
                <a:gd name="T158" fmla="*/ 808 w 808"/>
                <a:gd name="T159" fmla="*/ 1071 h 107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08" h="1071">
                  <a:moveTo>
                    <a:pt x="44" y="1071"/>
                  </a:moveTo>
                  <a:lnTo>
                    <a:pt x="19" y="1037"/>
                  </a:lnTo>
                  <a:lnTo>
                    <a:pt x="2" y="1010"/>
                  </a:lnTo>
                  <a:lnTo>
                    <a:pt x="1" y="1003"/>
                  </a:lnTo>
                  <a:lnTo>
                    <a:pt x="0" y="997"/>
                  </a:lnTo>
                  <a:lnTo>
                    <a:pt x="0" y="990"/>
                  </a:lnTo>
                  <a:lnTo>
                    <a:pt x="1" y="982"/>
                  </a:lnTo>
                  <a:lnTo>
                    <a:pt x="4" y="975"/>
                  </a:lnTo>
                  <a:lnTo>
                    <a:pt x="7" y="967"/>
                  </a:lnTo>
                  <a:lnTo>
                    <a:pt x="13" y="958"/>
                  </a:lnTo>
                  <a:lnTo>
                    <a:pt x="20" y="947"/>
                  </a:lnTo>
                  <a:lnTo>
                    <a:pt x="20" y="933"/>
                  </a:lnTo>
                  <a:lnTo>
                    <a:pt x="23" y="921"/>
                  </a:lnTo>
                  <a:lnTo>
                    <a:pt x="47" y="916"/>
                  </a:lnTo>
                  <a:lnTo>
                    <a:pt x="65" y="915"/>
                  </a:lnTo>
                  <a:lnTo>
                    <a:pt x="84" y="916"/>
                  </a:lnTo>
                  <a:lnTo>
                    <a:pt x="115" y="919"/>
                  </a:lnTo>
                  <a:lnTo>
                    <a:pt x="132" y="904"/>
                  </a:lnTo>
                  <a:lnTo>
                    <a:pt x="149" y="893"/>
                  </a:lnTo>
                  <a:lnTo>
                    <a:pt x="166" y="882"/>
                  </a:lnTo>
                  <a:lnTo>
                    <a:pt x="184" y="874"/>
                  </a:lnTo>
                  <a:lnTo>
                    <a:pt x="221" y="860"/>
                  </a:lnTo>
                  <a:lnTo>
                    <a:pt x="262" y="846"/>
                  </a:lnTo>
                  <a:lnTo>
                    <a:pt x="265" y="834"/>
                  </a:lnTo>
                  <a:lnTo>
                    <a:pt x="269" y="824"/>
                  </a:lnTo>
                  <a:lnTo>
                    <a:pt x="274" y="815"/>
                  </a:lnTo>
                  <a:lnTo>
                    <a:pt x="279" y="807"/>
                  </a:lnTo>
                  <a:lnTo>
                    <a:pt x="286" y="800"/>
                  </a:lnTo>
                  <a:lnTo>
                    <a:pt x="294" y="794"/>
                  </a:lnTo>
                  <a:lnTo>
                    <a:pt x="300" y="789"/>
                  </a:lnTo>
                  <a:lnTo>
                    <a:pt x="308" y="783"/>
                  </a:lnTo>
                  <a:lnTo>
                    <a:pt x="325" y="774"/>
                  </a:lnTo>
                  <a:lnTo>
                    <a:pt x="341" y="764"/>
                  </a:lnTo>
                  <a:lnTo>
                    <a:pt x="348" y="759"/>
                  </a:lnTo>
                  <a:lnTo>
                    <a:pt x="355" y="752"/>
                  </a:lnTo>
                  <a:lnTo>
                    <a:pt x="361" y="744"/>
                  </a:lnTo>
                  <a:lnTo>
                    <a:pt x="367" y="737"/>
                  </a:lnTo>
                  <a:lnTo>
                    <a:pt x="367" y="718"/>
                  </a:lnTo>
                  <a:lnTo>
                    <a:pt x="365" y="700"/>
                  </a:lnTo>
                  <a:lnTo>
                    <a:pt x="364" y="683"/>
                  </a:lnTo>
                  <a:lnTo>
                    <a:pt x="363" y="666"/>
                  </a:lnTo>
                  <a:lnTo>
                    <a:pt x="360" y="658"/>
                  </a:lnTo>
                  <a:lnTo>
                    <a:pt x="357" y="651"/>
                  </a:lnTo>
                  <a:lnTo>
                    <a:pt x="355" y="644"/>
                  </a:lnTo>
                  <a:lnTo>
                    <a:pt x="351" y="636"/>
                  </a:lnTo>
                  <a:lnTo>
                    <a:pt x="347" y="630"/>
                  </a:lnTo>
                  <a:lnTo>
                    <a:pt x="342" y="625"/>
                  </a:lnTo>
                  <a:lnTo>
                    <a:pt x="335" y="618"/>
                  </a:lnTo>
                  <a:lnTo>
                    <a:pt x="329" y="613"/>
                  </a:lnTo>
                  <a:lnTo>
                    <a:pt x="335" y="597"/>
                  </a:lnTo>
                  <a:lnTo>
                    <a:pt x="341" y="584"/>
                  </a:lnTo>
                  <a:lnTo>
                    <a:pt x="344" y="571"/>
                  </a:lnTo>
                  <a:lnTo>
                    <a:pt x="346" y="560"/>
                  </a:lnTo>
                  <a:lnTo>
                    <a:pt x="348" y="539"/>
                  </a:lnTo>
                  <a:lnTo>
                    <a:pt x="351" y="519"/>
                  </a:lnTo>
                  <a:lnTo>
                    <a:pt x="352" y="510"/>
                  </a:lnTo>
                  <a:lnTo>
                    <a:pt x="356" y="501"/>
                  </a:lnTo>
                  <a:lnTo>
                    <a:pt x="360" y="493"/>
                  </a:lnTo>
                  <a:lnTo>
                    <a:pt x="365" y="483"/>
                  </a:lnTo>
                  <a:lnTo>
                    <a:pt x="373" y="474"/>
                  </a:lnTo>
                  <a:lnTo>
                    <a:pt x="383" y="463"/>
                  </a:lnTo>
                  <a:lnTo>
                    <a:pt x="395" y="453"/>
                  </a:lnTo>
                  <a:lnTo>
                    <a:pt x="411" y="441"/>
                  </a:lnTo>
                  <a:lnTo>
                    <a:pt x="413" y="404"/>
                  </a:lnTo>
                  <a:lnTo>
                    <a:pt x="419" y="363"/>
                  </a:lnTo>
                  <a:lnTo>
                    <a:pt x="421" y="344"/>
                  </a:lnTo>
                  <a:lnTo>
                    <a:pt x="424" y="324"/>
                  </a:lnTo>
                  <a:lnTo>
                    <a:pt x="424" y="305"/>
                  </a:lnTo>
                  <a:lnTo>
                    <a:pt x="423" y="286"/>
                  </a:lnTo>
                  <a:lnTo>
                    <a:pt x="402" y="281"/>
                  </a:lnTo>
                  <a:lnTo>
                    <a:pt x="381" y="277"/>
                  </a:lnTo>
                  <a:lnTo>
                    <a:pt x="360" y="273"/>
                  </a:lnTo>
                  <a:lnTo>
                    <a:pt x="341" y="268"/>
                  </a:lnTo>
                  <a:lnTo>
                    <a:pt x="334" y="254"/>
                  </a:lnTo>
                  <a:lnTo>
                    <a:pt x="330" y="241"/>
                  </a:lnTo>
                  <a:lnTo>
                    <a:pt x="328" y="229"/>
                  </a:lnTo>
                  <a:lnTo>
                    <a:pt x="328" y="219"/>
                  </a:lnTo>
                  <a:lnTo>
                    <a:pt x="329" y="208"/>
                  </a:lnTo>
                  <a:lnTo>
                    <a:pt x="331" y="199"/>
                  </a:lnTo>
                  <a:lnTo>
                    <a:pt x="335" y="190"/>
                  </a:lnTo>
                  <a:lnTo>
                    <a:pt x="341" y="181"/>
                  </a:lnTo>
                  <a:lnTo>
                    <a:pt x="351" y="164"/>
                  </a:lnTo>
                  <a:lnTo>
                    <a:pt x="363" y="145"/>
                  </a:lnTo>
                  <a:lnTo>
                    <a:pt x="368" y="134"/>
                  </a:lnTo>
                  <a:lnTo>
                    <a:pt x="373" y="123"/>
                  </a:lnTo>
                  <a:lnTo>
                    <a:pt x="377" y="110"/>
                  </a:lnTo>
                  <a:lnTo>
                    <a:pt x="381" y="95"/>
                  </a:lnTo>
                  <a:lnTo>
                    <a:pt x="373" y="82"/>
                  </a:lnTo>
                  <a:lnTo>
                    <a:pt x="367" y="69"/>
                  </a:lnTo>
                  <a:lnTo>
                    <a:pt x="363" y="59"/>
                  </a:lnTo>
                  <a:lnTo>
                    <a:pt x="360" y="48"/>
                  </a:lnTo>
                  <a:lnTo>
                    <a:pt x="359" y="38"/>
                  </a:lnTo>
                  <a:lnTo>
                    <a:pt x="361" y="28"/>
                  </a:lnTo>
                  <a:lnTo>
                    <a:pt x="365" y="16"/>
                  </a:lnTo>
                  <a:lnTo>
                    <a:pt x="370" y="2"/>
                  </a:lnTo>
                  <a:lnTo>
                    <a:pt x="382" y="0"/>
                  </a:lnTo>
                  <a:lnTo>
                    <a:pt x="393" y="2"/>
                  </a:lnTo>
                  <a:lnTo>
                    <a:pt x="403" y="4"/>
                  </a:lnTo>
                  <a:lnTo>
                    <a:pt x="412" y="8"/>
                  </a:lnTo>
                  <a:lnTo>
                    <a:pt x="421" y="15"/>
                  </a:lnTo>
                  <a:lnTo>
                    <a:pt x="429" y="21"/>
                  </a:lnTo>
                  <a:lnTo>
                    <a:pt x="437" y="29"/>
                  </a:lnTo>
                  <a:lnTo>
                    <a:pt x="443" y="38"/>
                  </a:lnTo>
                  <a:lnTo>
                    <a:pt x="471" y="78"/>
                  </a:lnTo>
                  <a:lnTo>
                    <a:pt x="498" y="115"/>
                  </a:lnTo>
                  <a:lnTo>
                    <a:pt x="542" y="115"/>
                  </a:lnTo>
                  <a:lnTo>
                    <a:pt x="581" y="119"/>
                  </a:lnTo>
                  <a:lnTo>
                    <a:pt x="601" y="121"/>
                  </a:lnTo>
                  <a:lnTo>
                    <a:pt x="619" y="125"/>
                  </a:lnTo>
                  <a:lnTo>
                    <a:pt x="638" y="132"/>
                  </a:lnTo>
                  <a:lnTo>
                    <a:pt x="659" y="139"/>
                  </a:lnTo>
                  <a:lnTo>
                    <a:pt x="664" y="150"/>
                  </a:lnTo>
                  <a:lnTo>
                    <a:pt x="671" y="156"/>
                  </a:lnTo>
                  <a:lnTo>
                    <a:pt x="679" y="162"/>
                  </a:lnTo>
                  <a:lnTo>
                    <a:pt x="687" y="165"/>
                  </a:lnTo>
                  <a:lnTo>
                    <a:pt x="706" y="169"/>
                  </a:lnTo>
                  <a:lnTo>
                    <a:pt x="724" y="173"/>
                  </a:lnTo>
                  <a:lnTo>
                    <a:pt x="726" y="201"/>
                  </a:lnTo>
                  <a:lnTo>
                    <a:pt x="728" y="230"/>
                  </a:lnTo>
                  <a:lnTo>
                    <a:pt x="732" y="262"/>
                  </a:lnTo>
                  <a:lnTo>
                    <a:pt x="737" y="293"/>
                  </a:lnTo>
                  <a:lnTo>
                    <a:pt x="745" y="323"/>
                  </a:lnTo>
                  <a:lnTo>
                    <a:pt x="754" y="351"/>
                  </a:lnTo>
                  <a:lnTo>
                    <a:pt x="759" y="366"/>
                  </a:lnTo>
                  <a:lnTo>
                    <a:pt x="765" y="379"/>
                  </a:lnTo>
                  <a:lnTo>
                    <a:pt x="771" y="392"/>
                  </a:lnTo>
                  <a:lnTo>
                    <a:pt x="779" y="404"/>
                  </a:lnTo>
                  <a:lnTo>
                    <a:pt x="778" y="420"/>
                  </a:lnTo>
                  <a:lnTo>
                    <a:pt x="774" y="436"/>
                  </a:lnTo>
                  <a:lnTo>
                    <a:pt x="770" y="452"/>
                  </a:lnTo>
                  <a:lnTo>
                    <a:pt x="765" y="466"/>
                  </a:lnTo>
                  <a:lnTo>
                    <a:pt x="761" y="479"/>
                  </a:lnTo>
                  <a:lnTo>
                    <a:pt x="756" y="493"/>
                  </a:lnTo>
                  <a:lnTo>
                    <a:pt x="753" y="509"/>
                  </a:lnTo>
                  <a:lnTo>
                    <a:pt x="752" y="524"/>
                  </a:lnTo>
                  <a:lnTo>
                    <a:pt x="757" y="531"/>
                  </a:lnTo>
                  <a:lnTo>
                    <a:pt x="761" y="536"/>
                  </a:lnTo>
                  <a:lnTo>
                    <a:pt x="765" y="543"/>
                  </a:lnTo>
                  <a:lnTo>
                    <a:pt x="767" y="549"/>
                  </a:lnTo>
                  <a:lnTo>
                    <a:pt x="771" y="561"/>
                  </a:lnTo>
                  <a:lnTo>
                    <a:pt x="775" y="574"/>
                  </a:lnTo>
                  <a:lnTo>
                    <a:pt x="779" y="586"/>
                  </a:lnTo>
                  <a:lnTo>
                    <a:pt x="784" y="597"/>
                  </a:lnTo>
                  <a:lnTo>
                    <a:pt x="788" y="604"/>
                  </a:lnTo>
                  <a:lnTo>
                    <a:pt x="793" y="609"/>
                  </a:lnTo>
                  <a:lnTo>
                    <a:pt x="800" y="614"/>
                  </a:lnTo>
                  <a:lnTo>
                    <a:pt x="808" y="618"/>
                  </a:lnTo>
                  <a:lnTo>
                    <a:pt x="805" y="636"/>
                  </a:lnTo>
                  <a:lnTo>
                    <a:pt x="801" y="653"/>
                  </a:lnTo>
                  <a:lnTo>
                    <a:pt x="788" y="658"/>
                  </a:lnTo>
                  <a:lnTo>
                    <a:pt x="776" y="664"/>
                  </a:lnTo>
                  <a:lnTo>
                    <a:pt x="766" y="669"/>
                  </a:lnTo>
                  <a:lnTo>
                    <a:pt x="758" y="674"/>
                  </a:lnTo>
                  <a:lnTo>
                    <a:pt x="750" y="681"/>
                  </a:lnTo>
                  <a:lnTo>
                    <a:pt x="745" y="687"/>
                  </a:lnTo>
                  <a:lnTo>
                    <a:pt x="741" y="694"/>
                  </a:lnTo>
                  <a:lnTo>
                    <a:pt x="737" y="701"/>
                  </a:lnTo>
                  <a:lnTo>
                    <a:pt x="732" y="718"/>
                  </a:lnTo>
                  <a:lnTo>
                    <a:pt x="730" y="738"/>
                  </a:lnTo>
                  <a:lnTo>
                    <a:pt x="727" y="761"/>
                  </a:lnTo>
                  <a:lnTo>
                    <a:pt x="724" y="789"/>
                  </a:lnTo>
                  <a:lnTo>
                    <a:pt x="672" y="800"/>
                  </a:lnTo>
                  <a:lnTo>
                    <a:pt x="642" y="808"/>
                  </a:lnTo>
                  <a:lnTo>
                    <a:pt x="624" y="816"/>
                  </a:lnTo>
                  <a:lnTo>
                    <a:pt x="606" y="825"/>
                  </a:lnTo>
                  <a:lnTo>
                    <a:pt x="592" y="842"/>
                  </a:lnTo>
                  <a:lnTo>
                    <a:pt x="580" y="858"/>
                  </a:lnTo>
                  <a:lnTo>
                    <a:pt x="567" y="871"/>
                  </a:lnTo>
                  <a:lnTo>
                    <a:pt x="555" y="882"/>
                  </a:lnTo>
                  <a:lnTo>
                    <a:pt x="542" y="891"/>
                  </a:lnTo>
                  <a:lnTo>
                    <a:pt x="530" y="899"/>
                  </a:lnTo>
                  <a:lnTo>
                    <a:pt x="519" y="904"/>
                  </a:lnTo>
                  <a:lnTo>
                    <a:pt x="506" y="910"/>
                  </a:lnTo>
                  <a:lnTo>
                    <a:pt x="491" y="913"/>
                  </a:lnTo>
                  <a:lnTo>
                    <a:pt x="477" y="917"/>
                  </a:lnTo>
                  <a:lnTo>
                    <a:pt x="463" y="919"/>
                  </a:lnTo>
                  <a:lnTo>
                    <a:pt x="446" y="920"/>
                  </a:lnTo>
                  <a:lnTo>
                    <a:pt x="408" y="923"/>
                  </a:lnTo>
                  <a:lnTo>
                    <a:pt x="365" y="925"/>
                  </a:lnTo>
                  <a:lnTo>
                    <a:pt x="352" y="934"/>
                  </a:lnTo>
                  <a:lnTo>
                    <a:pt x="342" y="943"/>
                  </a:lnTo>
                  <a:lnTo>
                    <a:pt x="334" y="954"/>
                  </a:lnTo>
                  <a:lnTo>
                    <a:pt x="329" y="964"/>
                  </a:lnTo>
                  <a:lnTo>
                    <a:pt x="321" y="985"/>
                  </a:lnTo>
                  <a:lnTo>
                    <a:pt x="316" y="1005"/>
                  </a:lnTo>
                  <a:lnTo>
                    <a:pt x="312" y="1014"/>
                  </a:lnTo>
                  <a:lnTo>
                    <a:pt x="308" y="1021"/>
                  </a:lnTo>
                  <a:lnTo>
                    <a:pt x="302" y="1029"/>
                  </a:lnTo>
                  <a:lnTo>
                    <a:pt x="294" y="1036"/>
                  </a:lnTo>
                  <a:lnTo>
                    <a:pt x="283" y="1041"/>
                  </a:lnTo>
                  <a:lnTo>
                    <a:pt x="269" y="1045"/>
                  </a:lnTo>
                  <a:lnTo>
                    <a:pt x="252" y="1047"/>
                  </a:lnTo>
                  <a:lnTo>
                    <a:pt x="230" y="1047"/>
                  </a:lnTo>
                  <a:lnTo>
                    <a:pt x="205" y="1041"/>
                  </a:lnTo>
                  <a:lnTo>
                    <a:pt x="182" y="1033"/>
                  </a:lnTo>
                  <a:lnTo>
                    <a:pt x="157" y="1027"/>
                  </a:lnTo>
                  <a:lnTo>
                    <a:pt x="134" y="1019"/>
                  </a:lnTo>
                  <a:lnTo>
                    <a:pt x="138" y="1011"/>
                  </a:lnTo>
                  <a:lnTo>
                    <a:pt x="140" y="1006"/>
                  </a:lnTo>
                  <a:lnTo>
                    <a:pt x="134" y="1006"/>
                  </a:lnTo>
                  <a:lnTo>
                    <a:pt x="128" y="1006"/>
                  </a:lnTo>
                  <a:lnTo>
                    <a:pt x="119" y="1019"/>
                  </a:lnTo>
                  <a:lnTo>
                    <a:pt x="110" y="1031"/>
                  </a:lnTo>
                  <a:lnTo>
                    <a:pt x="102" y="1041"/>
                  </a:lnTo>
                  <a:lnTo>
                    <a:pt x="93" y="1050"/>
                  </a:lnTo>
                  <a:lnTo>
                    <a:pt x="84" y="1058"/>
                  </a:lnTo>
                  <a:lnTo>
                    <a:pt x="73" y="1063"/>
                  </a:lnTo>
                  <a:lnTo>
                    <a:pt x="60" y="1068"/>
                  </a:lnTo>
                  <a:lnTo>
                    <a:pt x="44" y="1071"/>
                  </a:lnTo>
                </a:path>
              </a:pathLst>
            </a:custGeom>
            <a:noFill/>
            <a:ln w="1905">
              <a:solidFill>
                <a:srgbClr val="3399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932877" name="Freeform 112"/>
            <p:cNvSpPr>
              <a:spLocks/>
            </p:cNvSpPr>
            <p:nvPr/>
          </p:nvSpPr>
          <p:spPr bwMode="auto">
            <a:xfrm>
              <a:off x="2050" y="2440"/>
              <a:ext cx="380" cy="323"/>
            </a:xfrm>
            <a:custGeom>
              <a:avLst/>
              <a:gdLst>
                <a:gd name="T0" fmla="*/ 0 w 1517"/>
                <a:gd name="T1" fmla="*/ 0 h 1295"/>
                <a:gd name="T2" fmla="*/ 0 w 1517"/>
                <a:gd name="T3" fmla="*/ 0 h 1295"/>
                <a:gd name="T4" fmla="*/ 0 w 1517"/>
                <a:gd name="T5" fmla="*/ 0 h 1295"/>
                <a:gd name="T6" fmla="*/ 0 w 1517"/>
                <a:gd name="T7" fmla="*/ 0 h 1295"/>
                <a:gd name="T8" fmla="*/ 0 w 1517"/>
                <a:gd name="T9" fmla="*/ 0 h 1295"/>
                <a:gd name="T10" fmla="*/ 0 w 1517"/>
                <a:gd name="T11" fmla="*/ 0 h 1295"/>
                <a:gd name="T12" fmla="*/ 0 w 1517"/>
                <a:gd name="T13" fmla="*/ 0 h 1295"/>
                <a:gd name="T14" fmla="*/ 0 w 1517"/>
                <a:gd name="T15" fmla="*/ 0 h 1295"/>
                <a:gd name="T16" fmla="*/ 0 w 1517"/>
                <a:gd name="T17" fmla="*/ 0 h 1295"/>
                <a:gd name="T18" fmla="*/ 0 w 1517"/>
                <a:gd name="T19" fmla="*/ 0 h 1295"/>
                <a:gd name="T20" fmla="*/ 0 w 1517"/>
                <a:gd name="T21" fmla="*/ 0 h 1295"/>
                <a:gd name="T22" fmla="*/ 0 w 1517"/>
                <a:gd name="T23" fmla="*/ 0 h 1295"/>
                <a:gd name="T24" fmla="*/ 0 w 1517"/>
                <a:gd name="T25" fmla="*/ 0 h 1295"/>
                <a:gd name="T26" fmla="*/ 0 w 1517"/>
                <a:gd name="T27" fmla="*/ 0 h 1295"/>
                <a:gd name="T28" fmla="*/ 0 w 1517"/>
                <a:gd name="T29" fmla="*/ 0 h 1295"/>
                <a:gd name="T30" fmla="*/ 0 w 1517"/>
                <a:gd name="T31" fmla="*/ 0 h 1295"/>
                <a:gd name="T32" fmla="*/ 0 w 1517"/>
                <a:gd name="T33" fmla="*/ 0 h 1295"/>
                <a:gd name="T34" fmla="*/ 0 w 1517"/>
                <a:gd name="T35" fmla="*/ 0 h 1295"/>
                <a:gd name="T36" fmla="*/ 0 w 1517"/>
                <a:gd name="T37" fmla="*/ 0 h 1295"/>
                <a:gd name="T38" fmla="*/ 0 w 1517"/>
                <a:gd name="T39" fmla="*/ 0 h 1295"/>
                <a:gd name="T40" fmla="*/ 0 w 1517"/>
                <a:gd name="T41" fmla="*/ 0 h 1295"/>
                <a:gd name="T42" fmla="*/ 0 w 1517"/>
                <a:gd name="T43" fmla="*/ 0 h 1295"/>
                <a:gd name="T44" fmla="*/ 0 w 1517"/>
                <a:gd name="T45" fmla="*/ 0 h 1295"/>
                <a:gd name="T46" fmla="*/ 0 w 1517"/>
                <a:gd name="T47" fmla="*/ 0 h 1295"/>
                <a:gd name="T48" fmla="*/ 0 w 1517"/>
                <a:gd name="T49" fmla="*/ 0 h 1295"/>
                <a:gd name="T50" fmla="*/ 0 w 1517"/>
                <a:gd name="T51" fmla="*/ 0 h 1295"/>
                <a:gd name="T52" fmla="*/ 0 w 1517"/>
                <a:gd name="T53" fmla="*/ 0 h 1295"/>
                <a:gd name="T54" fmla="*/ 0 w 1517"/>
                <a:gd name="T55" fmla="*/ 0 h 1295"/>
                <a:gd name="T56" fmla="*/ 0 w 1517"/>
                <a:gd name="T57" fmla="*/ 0 h 1295"/>
                <a:gd name="T58" fmla="*/ 0 w 1517"/>
                <a:gd name="T59" fmla="*/ 0 h 1295"/>
                <a:gd name="T60" fmla="*/ 0 w 1517"/>
                <a:gd name="T61" fmla="*/ 0 h 1295"/>
                <a:gd name="T62" fmla="*/ 0 w 1517"/>
                <a:gd name="T63" fmla="*/ 0 h 1295"/>
                <a:gd name="T64" fmla="*/ 0 w 1517"/>
                <a:gd name="T65" fmla="*/ 0 h 1295"/>
                <a:gd name="T66" fmla="*/ 0 w 1517"/>
                <a:gd name="T67" fmla="*/ 0 h 1295"/>
                <a:gd name="T68" fmla="*/ 0 w 1517"/>
                <a:gd name="T69" fmla="*/ 0 h 1295"/>
                <a:gd name="T70" fmla="*/ 0 w 1517"/>
                <a:gd name="T71" fmla="*/ 0 h 1295"/>
                <a:gd name="T72" fmla="*/ 0 w 1517"/>
                <a:gd name="T73" fmla="*/ 0 h 1295"/>
                <a:gd name="T74" fmla="*/ 0 w 1517"/>
                <a:gd name="T75" fmla="*/ 0 h 1295"/>
                <a:gd name="T76" fmla="*/ 0 w 1517"/>
                <a:gd name="T77" fmla="*/ 0 h 1295"/>
                <a:gd name="T78" fmla="*/ 0 w 1517"/>
                <a:gd name="T79" fmla="*/ 0 h 1295"/>
                <a:gd name="T80" fmla="*/ 0 w 1517"/>
                <a:gd name="T81" fmla="*/ 0 h 1295"/>
                <a:gd name="T82" fmla="*/ 0 w 1517"/>
                <a:gd name="T83" fmla="*/ 0 h 1295"/>
                <a:gd name="T84" fmla="*/ 0 w 1517"/>
                <a:gd name="T85" fmla="*/ 0 h 1295"/>
                <a:gd name="T86" fmla="*/ 0 w 1517"/>
                <a:gd name="T87" fmla="*/ 0 h 1295"/>
                <a:gd name="T88" fmla="*/ 0 w 1517"/>
                <a:gd name="T89" fmla="*/ 0 h 1295"/>
                <a:gd name="T90" fmla="*/ 0 w 1517"/>
                <a:gd name="T91" fmla="*/ 0 h 1295"/>
                <a:gd name="T92" fmla="*/ 0 w 1517"/>
                <a:gd name="T93" fmla="*/ 0 h 1295"/>
                <a:gd name="T94" fmla="*/ 0 w 1517"/>
                <a:gd name="T95" fmla="*/ 0 h 1295"/>
                <a:gd name="T96" fmla="*/ 0 w 1517"/>
                <a:gd name="T97" fmla="*/ 0 h 1295"/>
                <a:gd name="T98" fmla="*/ 0 w 1517"/>
                <a:gd name="T99" fmla="*/ 0 h 1295"/>
                <a:gd name="T100" fmla="*/ 0 w 1517"/>
                <a:gd name="T101" fmla="*/ 0 h 1295"/>
                <a:gd name="T102" fmla="*/ 0 w 1517"/>
                <a:gd name="T103" fmla="*/ 0 h 1295"/>
                <a:gd name="T104" fmla="*/ 0 w 1517"/>
                <a:gd name="T105" fmla="*/ 0 h 1295"/>
                <a:gd name="T106" fmla="*/ 0 w 1517"/>
                <a:gd name="T107" fmla="*/ 0 h 1295"/>
                <a:gd name="T108" fmla="*/ 0 w 1517"/>
                <a:gd name="T109" fmla="*/ 0 h 1295"/>
                <a:gd name="T110" fmla="*/ 0 w 1517"/>
                <a:gd name="T111" fmla="*/ 0 h 1295"/>
                <a:gd name="T112" fmla="*/ 0 w 1517"/>
                <a:gd name="T113" fmla="*/ 0 h 1295"/>
                <a:gd name="T114" fmla="*/ 0 w 1517"/>
                <a:gd name="T115" fmla="*/ 0 h 1295"/>
                <a:gd name="T116" fmla="*/ 0 w 1517"/>
                <a:gd name="T117" fmla="*/ 0 h 1295"/>
                <a:gd name="T118" fmla="*/ 0 w 1517"/>
                <a:gd name="T119" fmla="*/ 0 h 1295"/>
                <a:gd name="T120" fmla="*/ 0 w 1517"/>
                <a:gd name="T121" fmla="*/ 0 h 1295"/>
                <a:gd name="T122" fmla="*/ 0 w 1517"/>
                <a:gd name="T123" fmla="*/ 0 h 1295"/>
                <a:gd name="T124" fmla="*/ 0 w 1517"/>
                <a:gd name="T125" fmla="*/ 0 h 129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7"/>
                <a:gd name="T190" fmla="*/ 0 h 1295"/>
                <a:gd name="T191" fmla="*/ 1517 w 1517"/>
                <a:gd name="T192" fmla="*/ 1295 h 129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7" h="1295">
                  <a:moveTo>
                    <a:pt x="1004" y="1295"/>
                  </a:moveTo>
                  <a:lnTo>
                    <a:pt x="988" y="1282"/>
                  </a:lnTo>
                  <a:lnTo>
                    <a:pt x="972" y="1265"/>
                  </a:lnTo>
                  <a:lnTo>
                    <a:pt x="958" y="1246"/>
                  </a:lnTo>
                  <a:lnTo>
                    <a:pt x="945" y="1227"/>
                  </a:lnTo>
                  <a:lnTo>
                    <a:pt x="935" y="1206"/>
                  </a:lnTo>
                  <a:lnTo>
                    <a:pt x="925" y="1185"/>
                  </a:lnTo>
                  <a:lnTo>
                    <a:pt x="919" y="1164"/>
                  </a:lnTo>
                  <a:lnTo>
                    <a:pt x="915" y="1144"/>
                  </a:lnTo>
                  <a:lnTo>
                    <a:pt x="903" y="1141"/>
                  </a:lnTo>
                  <a:lnTo>
                    <a:pt x="893" y="1141"/>
                  </a:lnTo>
                  <a:lnTo>
                    <a:pt x="893" y="1119"/>
                  </a:lnTo>
                  <a:lnTo>
                    <a:pt x="892" y="1097"/>
                  </a:lnTo>
                  <a:lnTo>
                    <a:pt x="889" y="1076"/>
                  </a:lnTo>
                  <a:lnTo>
                    <a:pt x="884" y="1055"/>
                  </a:lnTo>
                  <a:lnTo>
                    <a:pt x="880" y="1045"/>
                  </a:lnTo>
                  <a:lnTo>
                    <a:pt x="876" y="1036"/>
                  </a:lnTo>
                  <a:lnTo>
                    <a:pt x="871" y="1027"/>
                  </a:lnTo>
                  <a:lnTo>
                    <a:pt x="864" y="1017"/>
                  </a:lnTo>
                  <a:lnTo>
                    <a:pt x="858" y="1010"/>
                  </a:lnTo>
                  <a:lnTo>
                    <a:pt x="849" y="1002"/>
                  </a:lnTo>
                  <a:lnTo>
                    <a:pt x="840" y="995"/>
                  </a:lnTo>
                  <a:lnTo>
                    <a:pt x="831" y="989"/>
                  </a:lnTo>
                  <a:lnTo>
                    <a:pt x="814" y="991"/>
                  </a:lnTo>
                  <a:lnTo>
                    <a:pt x="797" y="995"/>
                  </a:lnTo>
                  <a:lnTo>
                    <a:pt x="778" y="999"/>
                  </a:lnTo>
                  <a:lnTo>
                    <a:pt x="760" y="1004"/>
                  </a:lnTo>
                  <a:lnTo>
                    <a:pt x="721" y="1017"/>
                  </a:lnTo>
                  <a:lnTo>
                    <a:pt x="684" y="1033"/>
                  </a:lnTo>
                  <a:lnTo>
                    <a:pt x="644" y="1050"/>
                  </a:lnTo>
                  <a:lnTo>
                    <a:pt x="609" y="1068"/>
                  </a:lnTo>
                  <a:lnTo>
                    <a:pt x="592" y="1079"/>
                  </a:lnTo>
                  <a:lnTo>
                    <a:pt x="576" y="1089"/>
                  </a:lnTo>
                  <a:lnTo>
                    <a:pt x="561" y="1099"/>
                  </a:lnTo>
                  <a:lnTo>
                    <a:pt x="547" y="1110"/>
                  </a:lnTo>
                  <a:lnTo>
                    <a:pt x="530" y="1110"/>
                  </a:lnTo>
                  <a:lnTo>
                    <a:pt x="514" y="1108"/>
                  </a:lnTo>
                  <a:lnTo>
                    <a:pt x="501" y="1106"/>
                  </a:lnTo>
                  <a:lnTo>
                    <a:pt x="487" y="1103"/>
                  </a:lnTo>
                  <a:lnTo>
                    <a:pt x="474" y="1099"/>
                  </a:lnTo>
                  <a:lnTo>
                    <a:pt x="461" y="1094"/>
                  </a:lnTo>
                  <a:lnTo>
                    <a:pt x="447" y="1088"/>
                  </a:lnTo>
                  <a:lnTo>
                    <a:pt x="432" y="1079"/>
                  </a:lnTo>
                  <a:lnTo>
                    <a:pt x="402" y="1084"/>
                  </a:lnTo>
                  <a:lnTo>
                    <a:pt x="378" y="1092"/>
                  </a:lnTo>
                  <a:lnTo>
                    <a:pt x="356" y="1098"/>
                  </a:lnTo>
                  <a:lnTo>
                    <a:pt x="336" y="1102"/>
                  </a:lnTo>
                  <a:lnTo>
                    <a:pt x="332" y="1085"/>
                  </a:lnTo>
                  <a:lnTo>
                    <a:pt x="330" y="1069"/>
                  </a:lnTo>
                  <a:lnTo>
                    <a:pt x="318" y="1073"/>
                  </a:lnTo>
                  <a:lnTo>
                    <a:pt x="308" y="1079"/>
                  </a:lnTo>
                  <a:lnTo>
                    <a:pt x="298" y="1085"/>
                  </a:lnTo>
                  <a:lnTo>
                    <a:pt x="291" y="1093"/>
                  </a:lnTo>
                  <a:lnTo>
                    <a:pt x="275" y="1111"/>
                  </a:lnTo>
                  <a:lnTo>
                    <a:pt x="261" y="1131"/>
                  </a:lnTo>
                  <a:lnTo>
                    <a:pt x="254" y="1128"/>
                  </a:lnTo>
                  <a:lnTo>
                    <a:pt x="248" y="1124"/>
                  </a:lnTo>
                  <a:lnTo>
                    <a:pt x="241" y="1119"/>
                  </a:lnTo>
                  <a:lnTo>
                    <a:pt x="236" y="1112"/>
                  </a:lnTo>
                  <a:lnTo>
                    <a:pt x="227" y="1098"/>
                  </a:lnTo>
                  <a:lnTo>
                    <a:pt x="219" y="1081"/>
                  </a:lnTo>
                  <a:lnTo>
                    <a:pt x="206" y="1043"/>
                  </a:lnTo>
                  <a:lnTo>
                    <a:pt x="197" y="1011"/>
                  </a:lnTo>
                  <a:lnTo>
                    <a:pt x="172" y="984"/>
                  </a:lnTo>
                  <a:lnTo>
                    <a:pt x="145" y="951"/>
                  </a:lnTo>
                  <a:lnTo>
                    <a:pt x="132" y="934"/>
                  </a:lnTo>
                  <a:lnTo>
                    <a:pt x="123" y="916"/>
                  </a:lnTo>
                  <a:lnTo>
                    <a:pt x="119" y="907"/>
                  </a:lnTo>
                  <a:lnTo>
                    <a:pt x="118" y="898"/>
                  </a:lnTo>
                  <a:lnTo>
                    <a:pt x="116" y="890"/>
                  </a:lnTo>
                  <a:lnTo>
                    <a:pt x="116" y="881"/>
                  </a:lnTo>
                  <a:lnTo>
                    <a:pt x="127" y="876"/>
                  </a:lnTo>
                  <a:lnTo>
                    <a:pt x="136" y="873"/>
                  </a:lnTo>
                  <a:lnTo>
                    <a:pt x="153" y="872"/>
                  </a:lnTo>
                  <a:lnTo>
                    <a:pt x="181" y="869"/>
                  </a:lnTo>
                  <a:lnTo>
                    <a:pt x="188" y="847"/>
                  </a:lnTo>
                  <a:lnTo>
                    <a:pt x="190" y="833"/>
                  </a:lnTo>
                  <a:lnTo>
                    <a:pt x="190" y="820"/>
                  </a:lnTo>
                  <a:lnTo>
                    <a:pt x="189" y="804"/>
                  </a:lnTo>
                  <a:lnTo>
                    <a:pt x="161" y="794"/>
                  </a:lnTo>
                  <a:lnTo>
                    <a:pt x="133" y="786"/>
                  </a:lnTo>
                  <a:lnTo>
                    <a:pt x="119" y="783"/>
                  </a:lnTo>
                  <a:lnTo>
                    <a:pt x="105" y="783"/>
                  </a:lnTo>
                  <a:lnTo>
                    <a:pt x="98" y="785"/>
                  </a:lnTo>
                  <a:lnTo>
                    <a:pt x="90" y="786"/>
                  </a:lnTo>
                  <a:lnTo>
                    <a:pt x="82" y="788"/>
                  </a:lnTo>
                  <a:lnTo>
                    <a:pt x="75" y="792"/>
                  </a:lnTo>
                  <a:lnTo>
                    <a:pt x="71" y="798"/>
                  </a:lnTo>
                  <a:lnTo>
                    <a:pt x="68" y="803"/>
                  </a:lnTo>
                  <a:lnTo>
                    <a:pt x="64" y="805"/>
                  </a:lnTo>
                  <a:lnTo>
                    <a:pt x="60" y="808"/>
                  </a:lnTo>
                  <a:lnTo>
                    <a:pt x="56" y="811"/>
                  </a:lnTo>
                  <a:lnTo>
                    <a:pt x="51" y="811"/>
                  </a:lnTo>
                  <a:lnTo>
                    <a:pt x="47" y="812"/>
                  </a:lnTo>
                  <a:lnTo>
                    <a:pt x="42" y="812"/>
                  </a:lnTo>
                  <a:lnTo>
                    <a:pt x="21" y="807"/>
                  </a:lnTo>
                  <a:lnTo>
                    <a:pt x="0" y="800"/>
                  </a:lnTo>
                  <a:lnTo>
                    <a:pt x="2" y="782"/>
                  </a:lnTo>
                  <a:lnTo>
                    <a:pt x="4" y="765"/>
                  </a:lnTo>
                  <a:lnTo>
                    <a:pt x="8" y="749"/>
                  </a:lnTo>
                  <a:lnTo>
                    <a:pt x="15" y="734"/>
                  </a:lnTo>
                  <a:lnTo>
                    <a:pt x="21" y="721"/>
                  </a:lnTo>
                  <a:lnTo>
                    <a:pt x="32" y="708"/>
                  </a:lnTo>
                  <a:lnTo>
                    <a:pt x="42" y="696"/>
                  </a:lnTo>
                  <a:lnTo>
                    <a:pt x="55" y="684"/>
                  </a:lnTo>
                  <a:lnTo>
                    <a:pt x="54" y="665"/>
                  </a:lnTo>
                  <a:lnTo>
                    <a:pt x="51" y="644"/>
                  </a:lnTo>
                  <a:lnTo>
                    <a:pt x="47" y="621"/>
                  </a:lnTo>
                  <a:lnTo>
                    <a:pt x="43" y="596"/>
                  </a:lnTo>
                  <a:lnTo>
                    <a:pt x="38" y="570"/>
                  </a:lnTo>
                  <a:lnTo>
                    <a:pt x="34" y="544"/>
                  </a:lnTo>
                  <a:lnTo>
                    <a:pt x="30" y="518"/>
                  </a:lnTo>
                  <a:lnTo>
                    <a:pt x="28" y="491"/>
                  </a:lnTo>
                  <a:lnTo>
                    <a:pt x="27" y="465"/>
                  </a:lnTo>
                  <a:lnTo>
                    <a:pt x="27" y="440"/>
                  </a:lnTo>
                  <a:lnTo>
                    <a:pt x="28" y="428"/>
                  </a:lnTo>
                  <a:lnTo>
                    <a:pt x="30" y="416"/>
                  </a:lnTo>
                  <a:lnTo>
                    <a:pt x="33" y="405"/>
                  </a:lnTo>
                  <a:lnTo>
                    <a:pt x="36" y="394"/>
                  </a:lnTo>
                  <a:lnTo>
                    <a:pt x="41" y="384"/>
                  </a:lnTo>
                  <a:lnTo>
                    <a:pt x="46" y="375"/>
                  </a:lnTo>
                  <a:lnTo>
                    <a:pt x="53" y="366"/>
                  </a:lnTo>
                  <a:lnTo>
                    <a:pt x="59" y="357"/>
                  </a:lnTo>
                  <a:lnTo>
                    <a:pt x="67" y="349"/>
                  </a:lnTo>
                  <a:lnTo>
                    <a:pt x="77" y="342"/>
                  </a:lnTo>
                  <a:lnTo>
                    <a:pt x="88" y="336"/>
                  </a:lnTo>
                  <a:lnTo>
                    <a:pt x="99" y="331"/>
                  </a:lnTo>
                  <a:lnTo>
                    <a:pt x="110" y="316"/>
                  </a:lnTo>
                  <a:lnTo>
                    <a:pt x="120" y="305"/>
                  </a:lnTo>
                  <a:lnTo>
                    <a:pt x="132" y="297"/>
                  </a:lnTo>
                  <a:lnTo>
                    <a:pt x="142" y="290"/>
                  </a:lnTo>
                  <a:lnTo>
                    <a:pt x="153" y="288"/>
                  </a:lnTo>
                  <a:lnTo>
                    <a:pt x="163" y="285"/>
                  </a:lnTo>
                  <a:lnTo>
                    <a:pt x="174" y="285"/>
                  </a:lnTo>
                  <a:lnTo>
                    <a:pt x="185" y="286"/>
                  </a:lnTo>
                  <a:lnTo>
                    <a:pt x="207" y="292"/>
                  </a:lnTo>
                  <a:lnTo>
                    <a:pt x="229" y="297"/>
                  </a:lnTo>
                  <a:lnTo>
                    <a:pt x="241" y="299"/>
                  </a:lnTo>
                  <a:lnTo>
                    <a:pt x="253" y="301"/>
                  </a:lnTo>
                  <a:lnTo>
                    <a:pt x="266" y="301"/>
                  </a:lnTo>
                  <a:lnTo>
                    <a:pt x="278" y="299"/>
                  </a:lnTo>
                  <a:lnTo>
                    <a:pt x="278" y="292"/>
                  </a:lnTo>
                  <a:lnTo>
                    <a:pt x="276" y="282"/>
                  </a:lnTo>
                  <a:lnTo>
                    <a:pt x="275" y="275"/>
                  </a:lnTo>
                  <a:lnTo>
                    <a:pt x="272" y="267"/>
                  </a:lnTo>
                  <a:lnTo>
                    <a:pt x="267" y="252"/>
                  </a:lnTo>
                  <a:lnTo>
                    <a:pt x="259" y="239"/>
                  </a:lnTo>
                  <a:lnTo>
                    <a:pt x="252" y="228"/>
                  </a:lnTo>
                  <a:lnTo>
                    <a:pt x="245" y="215"/>
                  </a:lnTo>
                  <a:lnTo>
                    <a:pt x="239" y="200"/>
                  </a:lnTo>
                  <a:lnTo>
                    <a:pt x="233" y="185"/>
                  </a:lnTo>
                  <a:lnTo>
                    <a:pt x="248" y="178"/>
                  </a:lnTo>
                  <a:lnTo>
                    <a:pt x="259" y="171"/>
                  </a:lnTo>
                  <a:lnTo>
                    <a:pt x="270" y="164"/>
                  </a:lnTo>
                  <a:lnTo>
                    <a:pt x="278" y="156"/>
                  </a:lnTo>
                  <a:lnTo>
                    <a:pt x="285" y="148"/>
                  </a:lnTo>
                  <a:lnTo>
                    <a:pt x="291" y="141"/>
                  </a:lnTo>
                  <a:lnTo>
                    <a:pt x="296" y="132"/>
                  </a:lnTo>
                  <a:lnTo>
                    <a:pt x="300" y="122"/>
                  </a:lnTo>
                  <a:lnTo>
                    <a:pt x="305" y="102"/>
                  </a:lnTo>
                  <a:lnTo>
                    <a:pt x="309" y="78"/>
                  </a:lnTo>
                  <a:lnTo>
                    <a:pt x="313" y="52"/>
                  </a:lnTo>
                  <a:lnTo>
                    <a:pt x="317" y="24"/>
                  </a:lnTo>
                  <a:lnTo>
                    <a:pt x="323" y="24"/>
                  </a:lnTo>
                  <a:lnTo>
                    <a:pt x="330" y="24"/>
                  </a:lnTo>
                  <a:lnTo>
                    <a:pt x="336" y="12"/>
                  </a:lnTo>
                  <a:lnTo>
                    <a:pt x="341" y="0"/>
                  </a:lnTo>
                  <a:lnTo>
                    <a:pt x="356" y="3"/>
                  </a:lnTo>
                  <a:lnTo>
                    <a:pt x="370" y="5"/>
                  </a:lnTo>
                  <a:lnTo>
                    <a:pt x="384" y="9"/>
                  </a:lnTo>
                  <a:lnTo>
                    <a:pt x="399" y="14"/>
                  </a:lnTo>
                  <a:lnTo>
                    <a:pt x="426" y="26"/>
                  </a:lnTo>
                  <a:lnTo>
                    <a:pt x="453" y="40"/>
                  </a:lnTo>
                  <a:lnTo>
                    <a:pt x="481" y="55"/>
                  </a:lnTo>
                  <a:lnTo>
                    <a:pt x="507" y="69"/>
                  </a:lnTo>
                  <a:lnTo>
                    <a:pt x="534" y="83"/>
                  </a:lnTo>
                  <a:lnTo>
                    <a:pt x="561" y="96"/>
                  </a:lnTo>
                  <a:lnTo>
                    <a:pt x="582" y="99"/>
                  </a:lnTo>
                  <a:lnTo>
                    <a:pt x="604" y="103"/>
                  </a:lnTo>
                  <a:lnTo>
                    <a:pt x="626" y="107"/>
                  </a:lnTo>
                  <a:lnTo>
                    <a:pt x="647" y="112"/>
                  </a:lnTo>
                  <a:lnTo>
                    <a:pt x="652" y="126"/>
                  </a:lnTo>
                  <a:lnTo>
                    <a:pt x="659" y="141"/>
                  </a:lnTo>
                  <a:lnTo>
                    <a:pt x="668" y="152"/>
                  </a:lnTo>
                  <a:lnTo>
                    <a:pt x="676" y="163"/>
                  </a:lnTo>
                  <a:lnTo>
                    <a:pt x="686" y="172"/>
                  </a:lnTo>
                  <a:lnTo>
                    <a:pt x="697" y="180"/>
                  </a:lnTo>
                  <a:lnTo>
                    <a:pt x="708" y="186"/>
                  </a:lnTo>
                  <a:lnTo>
                    <a:pt x="720" y="193"/>
                  </a:lnTo>
                  <a:lnTo>
                    <a:pt x="745" y="204"/>
                  </a:lnTo>
                  <a:lnTo>
                    <a:pt x="771" y="217"/>
                  </a:lnTo>
                  <a:lnTo>
                    <a:pt x="782" y="224"/>
                  </a:lnTo>
                  <a:lnTo>
                    <a:pt x="795" y="233"/>
                  </a:lnTo>
                  <a:lnTo>
                    <a:pt x="807" y="241"/>
                  </a:lnTo>
                  <a:lnTo>
                    <a:pt x="819" y="252"/>
                  </a:lnTo>
                  <a:lnTo>
                    <a:pt x="858" y="323"/>
                  </a:lnTo>
                  <a:lnTo>
                    <a:pt x="880" y="360"/>
                  </a:lnTo>
                  <a:lnTo>
                    <a:pt x="893" y="381"/>
                  </a:lnTo>
                  <a:lnTo>
                    <a:pt x="905" y="396"/>
                  </a:lnTo>
                  <a:lnTo>
                    <a:pt x="933" y="406"/>
                  </a:lnTo>
                  <a:lnTo>
                    <a:pt x="963" y="416"/>
                  </a:lnTo>
                  <a:lnTo>
                    <a:pt x="992" y="427"/>
                  </a:lnTo>
                  <a:lnTo>
                    <a:pt x="1022" y="436"/>
                  </a:lnTo>
                  <a:lnTo>
                    <a:pt x="1045" y="458"/>
                  </a:lnTo>
                  <a:lnTo>
                    <a:pt x="1070" y="484"/>
                  </a:lnTo>
                  <a:lnTo>
                    <a:pt x="1082" y="498"/>
                  </a:lnTo>
                  <a:lnTo>
                    <a:pt x="1093" y="510"/>
                  </a:lnTo>
                  <a:lnTo>
                    <a:pt x="1104" y="520"/>
                  </a:lnTo>
                  <a:lnTo>
                    <a:pt x="1113" y="527"/>
                  </a:lnTo>
                  <a:lnTo>
                    <a:pt x="1128" y="527"/>
                  </a:lnTo>
                  <a:lnTo>
                    <a:pt x="1145" y="523"/>
                  </a:lnTo>
                  <a:lnTo>
                    <a:pt x="1175" y="515"/>
                  </a:lnTo>
                  <a:lnTo>
                    <a:pt x="1229" y="500"/>
                  </a:lnTo>
                  <a:lnTo>
                    <a:pt x="1252" y="500"/>
                  </a:lnTo>
                  <a:lnTo>
                    <a:pt x="1275" y="501"/>
                  </a:lnTo>
                  <a:lnTo>
                    <a:pt x="1300" y="502"/>
                  </a:lnTo>
                  <a:lnTo>
                    <a:pt x="1325" y="504"/>
                  </a:lnTo>
                  <a:lnTo>
                    <a:pt x="1317" y="522"/>
                  </a:lnTo>
                  <a:lnTo>
                    <a:pt x="1312" y="540"/>
                  </a:lnTo>
                  <a:lnTo>
                    <a:pt x="1311" y="557"/>
                  </a:lnTo>
                  <a:lnTo>
                    <a:pt x="1309" y="575"/>
                  </a:lnTo>
                  <a:lnTo>
                    <a:pt x="1309" y="612"/>
                  </a:lnTo>
                  <a:lnTo>
                    <a:pt x="1311" y="652"/>
                  </a:lnTo>
                  <a:lnTo>
                    <a:pt x="1300" y="656"/>
                  </a:lnTo>
                  <a:lnTo>
                    <a:pt x="1291" y="661"/>
                  </a:lnTo>
                  <a:lnTo>
                    <a:pt x="1281" y="665"/>
                  </a:lnTo>
                  <a:lnTo>
                    <a:pt x="1270" y="669"/>
                  </a:lnTo>
                  <a:lnTo>
                    <a:pt x="1272" y="680"/>
                  </a:lnTo>
                  <a:lnTo>
                    <a:pt x="1274" y="690"/>
                  </a:lnTo>
                  <a:lnTo>
                    <a:pt x="1278" y="697"/>
                  </a:lnTo>
                  <a:lnTo>
                    <a:pt x="1282" y="705"/>
                  </a:lnTo>
                  <a:lnTo>
                    <a:pt x="1295" y="721"/>
                  </a:lnTo>
                  <a:lnTo>
                    <a:pt x="1309" y="736"/>
                  </a:lnTo>
                  <a:lnTo>
                    <a:pt x="1320" y="736"/>
                  </a:lnTo>
                  <a:lnTo>
                    <a:pt x="1329" y="736"/>
                  </a:lnTo>
                  <a:lnTo>
                    <a:pt x="1339" y="736"/>
                  </a:lnTo>
                  <a:lnTo>
                    <a:pt x="1350" y="736"/>
                  </a:lnTo>
                  <a:lnTo>
                    <a:pt x="1355" y="720"/>
                  </a:lnTo>
                  <a:lnTo>
                    <a:pt x="1360" y="707"/>
                  </a:lnTo>
                  <a:lnTo>
                    <a:pt x="1367" y="695"/>
                  </a:lnTo>
                  <a:lnTo>
                    <a:pt x="1372" y="686"/>
                  </a:lnTo>
                  <a:lnTo>
                    <a:pt x="1378" y="679"/>
                  </a:lnTo>
                  <a:lnTo>
                    <a:pt x="1385" y="674"/>
                  </a:lnTo>
                  <a:lnTo>
                    <a:pt x="1391" y="670"/>
                  </a:lnTo>
                  <a:lnTo>
                    <a:pt x="1399" y="669"/>
                  </a:lnTo>
                  <a:lnTo>
                    <a:pt x="1438" y="669"/>
                  </a:lnTo>
                  <a:lnTo>
                    <a:pt x="1498" y="671"/>
                  </a:lnTo>
                  <a:lnTo>
                    <a:pt x="1497" y="680"/>
                  </a:lnTo>
                  <a:lnTo>
                    <a:pt x="1493" y="687"/>
                  </a:lnTo>
                  <a:lnTo>
                    <a:pt x="1490" y="695"/>
                  </a:lnTo>
                  <a:lnTo>
                    <a:pt x="1486" y="701"/>
                  </a:lnTo>
                  <a:lnTo>
                    <a:pt x="1482" y="709"/>
                  </a:lnTo>
                  <a:lnTo>
                    <a:pt x="1480" y="717"/>
                  </a:lnTo>
                  <a:lnTo>
                    <a:pt x="1477" y="726"/>
                  </a:lnTo>
                  <a:lnTo>
                    <a:pt x="1476" y="736"/>
                  </a:lnTo>
                  <a:lnTo>
                    <a:pt x="1486" y="743"/>
                  </a:lnTo>
                  <a:lnTo>
                    <a:pt x="1494" y="751"/>
                  </a:lnTo>
                  <a:lnTo>
                    <a:pt x="1502" y="760"/>
                  </a:lnTo>
                  <a:lnTo>
                    <a:pt x="1507" y="769"/>
                  </a:lnTo>
                  <a:lnTo>
                    <a:pt x="1511" y="781"/>
                  </a:lnTo>
                  <a:lnTo>
                    <a:pt x="1515" y="791"/>
                  </a:lnTo>
                  <a:lnTo>
                    <a:pt x="1516" y="803"/>
                  </a:lnTo>
                  <a:lnTo>
                    <a:pt x="1517" y="816"/>
                  </a:lnTo>
                  <a:lnTo>
                    <a:pt x="1517" y="827"/>
                  </a:lnTo>
                  <a:lnTo>
                    <a:pt x="1516" y="841"/>
                  </a:lnTo>
                  <a:lnTo>
                    <a:pt x="1515" y="854"/>
                  </a:lnTo>
                  <a:lnTo>
                    <a:pt x="1512" y="865"/>
                  </a:lnTo>
                  <a:lnTo>
                    <a:pt x="1508" y="877"/>
                  </a:lnTo>
                  <a:lnTo>
                    <a:pt x="1504" y="887"/>
                  </a:lnTo>
                  <a:lnTo>
                    <a:pt x="1499" y="898"/>
                  </a:lnTo>
                  <a:lnTo>
                    <a:pt x="1494" y="908"/>
                  </a:lnTo>
                  <a:lnTo>
                    <a:pt x="1495" y="942"/>
                  </a:lnTo>
                  <a:lnTo>
                    <a:pt x="1498" y="978"/>
                  </a:lnTo>
                  <a:lnTo>
                    <a:pt x="1501" y="1014"/>
                  </a:lnTo>
                  <a:lnTo>
                    <a:pt x="1503" y="1050"/>
                  </a:lnTo>
                  <a:lnTo>
                    <a:pt x="1491" y="1055"/>
                  </a:lnTo>
                  <a:lnTo>
                    <a:pt x="1482" y="1062"/>
                  </a:lnTo>
                  <a:lnTo>
                    <a:pt x="1480" y="1077"/>
                  </a:lnTo>
                  <a:lnTo>
                    <a:pt x="1478" y="1094"/>
                  </a:lnTo>
                  <a:lnTo>
                    <a:pt x="1462" y="1102"/>
                  </a:lnTo>
                  <a:lnTo>
                    <a:pt x="1447" y="1110"/>
                  </a:lnTo>
                  <a:lnTo>
                    <a:pt x="1434" y="1118"/>
                  </a:lnTo>
                  <a:lnTo>
                    <a:pt x="1424" y="1125"/>
                  </a:lnTo>
                  <a:lnTo>
                    <a:pt x="1415" y="1136"/>
                  </a:lnTo>
                  <a:lnTo>
                    <a:pt x="1406" y="1148"/>
                  </a:lnTo>
                  <a:lnTo>
                    <a:pt x="1399" y="1162"/>
                  </a:lnTo>
                  <a:lnTo>
                    <a:pt x="1394" y="1179"/>
                  </a:lnTo>
                  <a:lnTo>
                    <a:pt x="1365" y="1172"/>
                  </a:lnTo>
                  <a:lnTo>
                    <a:pt x="1338" y="1166"/>
                  </a:lnTo>
                  <a:lnTo>
                    <a:pt x="1325" y="1164"/>
                  </a:lnTo>
                  <a:lnTo>
                    <a:pt x="1311" y="1163"/>
                  </a:lnTo>
                  <a:lnTo>
                    <a:pt x="1296" y="1163"/>
                  </a:lnTo>
                  <a:lnTo>
                    <a:pt x="1282" y="1163"/>
                  </a:lnTo>
                  <a:lnTo>
                    <a:pt x="1262" y="1177"/>
                  </a:lnTo>
                  <a:lnTo>
                    <a:pt x="1240" y="1193"/>
                  </a:lnTo>
                  <a:lnTo>
                    <a:pt x="1229" y="1200"/>
                  </a:lnTo>
                  <a:lnTo>
                    <a:pt x="1216" y="1205"/>
                  </a:lnTo>
                  <a:lnTo>
                    <a:pt x="1204" y="1209"/>
                  </a:lnTo>
                  <a:lnTo>
                    <a:pt x="1192" y="1210"/>
                  </a:lnTo>
                  <a:lnTo>
                    <a:pt x="1186" y="1205"/>
                  </a:lnTo>
                  <a:lnTo>
                    <a:pt x="1180" y="1200"/>
                  </a:lnTo>
                  <a:lnTo>
                    <a:pt x="1174" y="1196"/>
                  </a:lnTo>
                  <a:lnTo>
                    <a:pt x="1169" y="1193"/>
                  </a:lnTo>
                  <a:lnTo>
                    <a:pt x="1157" y="1189"/>
                  </a:lnTo>
                  <a:lnTo>
                    <a:pt x="1145" y="1188"/>
                  </a:lnTo>
                  <a:lnTo>
                    <a:pt x="1134" y="1189"/>
                  </a:lnTo>
                  <a:lnTo>
                    <a:pt x="1122" y="1193"/>
                  </a:lnTo>
                  <a:lnTo>
                    <a:pt x="1110" y="1198"/>
                  </a:lnTo>
                  <a:lnTo>
                    <a:pt x="1100" y="1205"/>
                  </a:lnTo>
                  <a:lnTo>
                    <a:pt x="1089" y="1214"/>
                  </a:lnTo>
                  <a:lnTo>
                    <a:pt x="1080" y="1223"/>
                  </a:lnTo>
                  <a:lnTo>
                    <a:pt x="1071" y="1233"/>
                  </a:lnTo>
                  <a:lnTo>
                    <a:pt x="1062" y="1244"/>
                  </a:lnTo>
                  <a:lnTo>
                    <a:pt x="1054" y="1255"/>
                  </a:lnTo>
                  <a:lnTo>
                    <a:pt x="1048" y="1267"/>
                  </a:lnTo>
                  <a:lnTo>
                    <a:pt x="1041" y="1278"/>
                  </a:lnTo>
                  <a:lnTo>
                    <a:pt x="1036" y="1288"/>
                  </a:lnTo>
                  <a:lnTo>
                    <a:pt x="1019" y="1292"/>
                  </a:lnTo>
                  <a:lnTo>
                    <a:pt x="1004" y="1295"/>
                  </a:lnTo>
                  <a:close/>
                </a:path>
              </a:pathLst>
            </a:custGeom>
            <a:noFill/>
            <a:ln w="1905">
              <a:solidFill>
                <a:srgbClr val="3399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932878" name="Freeform 113"/>
            <p:cNvSpPr>
              <a:spLocks/>
            </p:cNvSpPr>
            <p:nvPr/>
          </p:nvSpPr>
          <p:spPr bwMode="auto">
            <a:xfrm>
              <a:off x="3246" y="1165"/>
              <a:ext cx="1482" cy="1463"/>
            </a:xfrm>
            <a:custGeom>
              <a:avLst/>
              <a:gdLst>
                <a:gd name="T0" fmla="*/ 0 w 5929"/>
                <a:gd name="T1" fmla="*/ 0 h 5851"/>
                <a:gd name="T2" fmla="*/ 0 w 5929"/>
                <a:gd name="T3" fmla="*/ 0 h 5851"/>
                <a:gd name="T4" fmla="*/ 0 w 5929"/>
                <a:gd name="T5" fmla="*/ 0 h 5851"/>
                <a:gd name="T6" fmla="*/ 0 w 5929"/>
                <a:gd name="T7" fmla="*/ 0 h 5851"/>
                <a:gd name="T8" fmla="*/ 0 w 5929"/>
                <a:gd name="T9" fmla="*/ 0 h 5851"/>
                <a:gd name="T10" fmla="*/ 0 w 5929"/>
                <a:gd name="T11" fmla="*/ 0 h 5851"/>
                <a:gd name="T12" fmla="*/ 0 w 5929"/>
                <a:gd name="T13" fmla="*/ 0 h 5851"/>
                <a:gd name="T14" fmla="*/ 0 w 5929"/>
                <a:gd name="T15" fmla="*/ 0 h 5851"/>
                <a:gd name="T16" fmla="*/ 0 w 5929"/>
                <a:gd name="T17" fmla="*/ 0 h 5851"/>
                <a:gd name="T18" fmla="*/ 0 w 5929"/>
                <a:gd name="T19" fmla="*/ 0 h 5851"/>
                <a:gd name="T20" fmla="*/ 0 w 5929"/>
                <a:gd name="T21" fmla="*/ 0 h 5851"/>
                <a:gd name="T22" fmla="*/ 0 w 5929"/>
                <a:gd name="T23" fmla="*/ 0 h 5851"/>
                <a:gd name="T24" fmla="*/ 0 w 5929"/>
                <a:gd name="T25" fmla="*/ 0 h 5851"/>
                <a:gd name="T26" fmla="*/ 0 w 5929"/>
                <a:gd name="T27" fmla="*/ 0 h 5851"/>
                <a:gd name="T28" fmla="*/ 0 w 5929"/>
                <a:gd name="T29" fmla="*/ 0 h 5851"/>
                <a:gd name="T30" fmla="*/ 0 w 5929"/>
                <a:gd name="T31" fmla="*/ 0 h 5851"/>
                <a:gd name="T32" fmla="*/ 0 w 5929"/>
                <a:gd name="T33" fmla="*/ 0 h 5851"/>
                <a:gd name="T34" fmla="*/ 0 w 5929"/>
                <a:gd name="T35" fmla="*/ 0 h 5851"/>
                <a:gd name="T36" fmla="*/ 0 w 5929"/>
                <a:gd name="T37" fmla="*/ 0 h 5851"/>
                <a:gd name="T38" fmla="*/ 0 w 5929"/>
                <a:gd name="T39" fmla="*/ 0 h 5851"/>
                <a:gd name="T40" fmla="*/ 0 w 5929"/>
                <a:gd name="T41" fmla="*/ 0 h 5851"/>
                <a:gd name="T42" fmla="*/ 0 w 5929"/>
                <a:gd name="T43" fmla="*/ 0 h 5851"/>
                <a:gd name="T44" fmla="*/ 0 w 5929"/>
                <a:gd name="T45" fmla="*/ 0 h 5851"/>
                <a:gd name="T46" fmla="*/ 0 w 5929"/>
                <a:gd name="T47" fmla="*/ 0 h 5851"/>
                <a:gd name="T48" fmla="*/ 0 w 5929"/>
                <a:gd name="T49" fmla="*/ 0 h 5851"/>
                <a:gd name="T50" fmla="*/ 0 w 5929"/>
                <a:gd name="T51" fmla="*/ 0 h 5851"/>
                <a:gd name="T52" fmla="*/ 0 w 5929"/>
                <a:gd name="T53" fmla="*/ 0 h 5851"/>
                <a:gd name="T54" fmla="*/ 0 w 5929"/>
                <a:gd name="T55" fmla="*/ 0 h 5851"/>
                <a:gd name="T56" fmla="*/ 0 w 5929"/>
                <a:gd name="T57" fmla="*/ 0 h 5851"/>
                <a:gd name="T58" fmla="*/ 0 w 5929"/>
                <a:gd name="T59" fmla="*/ 0 h 5851"/>
                <a:gd name="T60" fmla="*/ 0 w 5929"/>
                <a:gd name="T61" fmla="*/ 0 h 5851"/>
                <a:gd name="T62" fmla="*/ 0 w 5929"/>
                <a:gd name="T63" fmla="*/ 0 h 5851"/>
                <a:gd name="T64" fmla="*/ 0 w 5929"/>
                <a:gd name="T65" fmla="*/ 0 h 5851"/>
                <a:gd name="T66" fmla="*/ 0 w 5929"/>
                <a:gd name="T67" fmla="*/ 0 h 5851"/>
                <a:gd name="T68" fmla="*/ 0 w 5929"/>
                <a:gd name="T69" fmla="*/ 0 h 5851"/>
                <a:gd name="T70" fmla="*/ 0 w 5929"/>
                <a:gd name="T71" fmla="*/ 0 h 5851"/>
                <a:gd name="T72" fmla="*/ 0 w 5929"/>
                <a:gd name="T73" fmla="*/ 0 h 5851"/>
                <a:gd name="T74" fmla="*/ 0 w 5929"/>
                <a:gd name="T75" fmla="*/ 0 h 5851"/>
                <a:gd name="T76" fmla="*/ 0 w 5929"/>
                <a:gd name="T77" fmla="*/ 0 h 5851"/>
                <a:gd name="T78" fmla="*/ 0 w 5929"/>
                <a:gd name="T79" fmla="*/ 0 h 5851"/>
                <a:gd name="T80" fmla="*/ 0 w 5929"/>
                <a:gd name="T81" fmla="*/ 0 h 5851"/>
                <a:gd name="T82" fmla="*/ 0 w 5929"/>
                <a:gd name="T83" fmla="*/ 0 h 5851"/>
                <a:gd name="T84" fmla="*/ 0 w 5929"/>
                <a:gd name="T85" fmla="*/ 0 h 5851"/>
                <a:gd name="T86" fmla="*/ 0 w 5929"/>
                <a:gd name="T87" fmla="*/ 0 h 5851"/>
                <a:gd name="T88" fmla="*/ 0 w 5929"/>
                <a:gd name="T89" fmla="*/ 0 h 5851"/>
                <a:gd name="T90" fmla="*/ 0 w 5929"/>
                <a:gd name="T91" fmla="*/ 0 h 5851"/>
                <a:gd name="T92" fmla="*/ 0 w 5929"/>
                <a:gd name="T93" fmla="*/ 0 h 5851"/>
                <a:gd name="T94" fmla="*/ 0 w 5929"/>
                <a:gd name="T95" fmla="*/ 0 h 5851"/>
                <a:gd name="T96" fmla="*/ 0 w 5929"/>
                <a:gd name="T97" fmla="*/ 0 h 5851"/>
                <a:gd name="T98" fmla="*/ 0 w 5929"/>
                <a:gd name="T99" fmla="*/ 0 h 5851"/>
                <a:gd name="T100" fmla="*/ 0 w 5929"/>
                <a:gd name="T101" fmla="*/ 0 h 5851"/>
                <a:gd name="T102" fmla="*/ 0 w 5929"/>
                <a:gd name="T103" fmla="*/ 0 h 5851"/>
                <a:gd name="T104" fmla="*/ 0 w 5929"/>
                <a:gd name="T105" fmla="*/ 0 h 5851"/>
                <a:gd name="T106" fmla="*/ 0 w 5929"/>
                <a:gd name="T107" fmla="*/ 0 h 5851"/>
                <a:gd name="T108" fmla="*/ 0 w 5929"/>
                <a:gd name="T109" fmla="*/ 0 h 5851"/>
                <a:gd name="T110" fmla="*/ 0 w 5929"/>
                <a:gd name="T111" fmla="*/ 0 h 5851"/>
                <a:gd name="T112" fmla="*/ 0 w 5929"/>
                <a:gd name="T113" fmla="*/ 0 h 5851"/>
                <a:gd name="T114" fmla="*/ 0 w 5929"/>
                <a:gd name="T115" fmla="*/ 0 h 5851"/>
                <a:gd name="T116" fmla="*/ 0 w 5929"/>
                <a:gd name="T117" fmla="*/ 0 h 5851"/>
                <a:gd name="T118" fmla="*/ 0 w 5929"/>
                <a:gd name="T119" fmla="*/ 0 h 5851"/>
                <a:gd name="T120" fmla="*/ 0 w 5929"/>
                <a:gd name="T121" fmla="*/ 0 h 5851"/>
                <a:gd name="T122" fmla="*/ 0 w 5929"/>
                <a:gd name="T123" fmla="*/ 0 h 5851"/>
                <a:gd name="T124" fmla="*/ 0 w 5929"/>
                <a:gd name="T125" fmla="*/ 0 h 585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929"/>
                <a:gd name="T190" fmla="*/ 0 h 5851"/>
                <a:gd name="T191" fmla="*/ 5929 w 5929"/>
                <a:gd name="T192" fmla="*/ 5851 h 585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929" h="5851">
                  <a:moveTo>
                    <a:pt x="3029" y="5851"/>
                  </a:moveTo>
                  <a:lnTo>
                    <a:pt x="3013" y="5842"/>
                  </a:lnTo>
                  <a:lnTo>
                    <a:pt x="2997" y="5832"/>
                  </a:lnTo>
                  <a:lnTo>
                    <a:pt x="2982" y="5820"/>
                  </a:lnTo>
                  <a:lnTo>
                    <a:pt x="2968" y="5807"/>
                  </a:lnTo>
                  <a:lnTo>
                    <a:pt x="2939" y="5781"/>
                  </a:lnTo>
                  <a:lnTo>
                    <a:pt x="2912" y="5756"/>
                  </a:lnTo>
                  <a:lnTo>
                    <a:pt x="2897" y="5746"/>
                  </a:lnTo>
                  <a:lnTo>
                    <a:pt x="2882" y="5737"/>
                  </a:lnTo>
                  <a:lnTo>
                    <a:pt x="2867" y="5730"/>
                  </a:lnTo>
                  <a:lnTo>
                    <a:pt x="2850" y="5725"/>
                  </a:lnTo>
                  <a:lnTo>
                    <a:pt x="2843" y="5724"/>
                  </a:lnTo>
                  <a:lnTo>
                    <a:pt x="2835" y="5724"/>
                  </a:lnTo>
                  <a:lnTo>
                    <a:pt x="2826" y="5724"/>
                  </a:lnTo>
                  <a:lnTo>
                    <a:pt x="2817" y="5725"/>
                  </a:lnTo>
                  <a:lnTo>
                    <a:pt x="2808" y="5728"/>
                  </a:lnTo>
                  <a:lnTo>
                    <a:pt x="2798" y="5730"/>
                  </a:lnTo>
                  <a:lnTo>
                    <a:pt x="2789" y="5736"/>
                  </a:lnTo>
                  <a:lnTo>
                    <a:pt x="2779" y="5741"/>
                  </a:lnTo>
                  <a:lnTo>
                    <a:pt x="2761" y="5739"/>
                  </a:lnTo>
                  <a:lnTo>
                    <a:pt x="2740" y="5736"/>
                  </a:lnTo>
                  <a:lnTo>
                    <a:pt x="2716" y="5732"/>
                  </a:lnTo>
                  <a:lnTo>
                    <a:pt x="2693" y="5725"/>
                  </a:lnTo>
                  <a:lnTo>
                    <a:pt x="2670" y="5719"/>
                  </a:lnTo>
                  <a:lnTo>
                    <a:pt x="2647" y="5711"/>
                  </a:lnTo>
                  <a:lnTo>
                    <a:pt x="2628" y="5702"/>
                  </a:lnTo>
                  <a:lnTo>
                    <a:pt x="2611" y="5694"/>
                  </a:lnTo>
                  <a:lnTo>
                    <a:pt x="2573" y="5693"/>
                  </a:lnTo>
                  <a:lnTo>
                    <a:pt x="2540" y="5691"/>
                  </a:lnTo>
                  <a:lnTo>
                    <a:pt x="2523" y="5690"/>
                  </a:lnTo>
                  <a:lnTo>
                    <a:pt x="2508" y="5687"/>
                  </a:lnTo>
                  <a:lnTo>
                    <a:pt x="2493" y="5685"/>
                  </a:lnTo>
                  <a:lnTo>
                    <a:pt x="2480" y="5682"/>
                  </a:lnTo>
                  <a:lnTo>
                    <a:pt x="2465" y="5678"/>
                  </a:lnTo>
                  <a:lnTo>
                    <a:pt x="2452" y="5673"/>
                  </a:lnTo>
                  <a:lnTo>
                    <a:pt x="2438" y="5667"/>
                  </a:lnTo>
                  <a:lnTo>
                    <a:pt x="2425" y="5659"/>
                  </a:lnTo>
                  <a:lnTo>
                    <a:pt x="2412" y="5650"/>
                  </a:lnTo>
                  <a:lnTo>
                    <a:pt x="2399" y="5639"/>
                  </a:lnTo>
                  <a:lnTo>
                    <a:pt x="2385" y="5628"/>
                  </a:lnTo>
                  <a:lnTo>
                    <a:pt x="2372" y="5613"/>
                  </a:lnTo>
                  <a:lnTo>
                    <a:pt x="2351" y="5611"/>
                  </a:lnTo>
                  <a:lnTo>
                    <a:pt x="2331" y="5609"/>
                  </a:lnTo>
                  <a:lnTo>
                    <a:pt x="2311" y="5607"/>
                  </a:lnTo>
                  <a:lnTo>
                    <a:pt x="2291" y="5605"/>
                  </a:lnTo>
                  <a:lnTo>
                    <a:pt x="2248" y="5620"/>
                  </a:lnTo>
                  <a:lnTo>
                    <a:pt x="2213" y="5630"/>
                  </a:lnTo>
                  <a:lnTo>
                    <a:pt x="2197" y="5633"/>
                  </a:lnTo>
                  <a:lnTo>
                    <a:pt x="2184" y="5634"/>
                  </a:lnTo>
                  <a:lnTo>
                    <a:pt x="2173" y="5633"/>
                  </a:lnTo>
                  <a:lnTo>
                    <a:pt x="2161" y="5630"/>
                  </a:lnTo>
                  <a:lnTo>
                    <a:pt x="2152" y="5625"/>
                  </a:lnTo>
                  <a:lnTo>
                    <a:pt x="2143" y="5618"/>
                  </a:lnTo>
                  <a:lnTo>
                    <a:pt x="2136" y="5609"/>
                  </a:lnTo>
                  <a:lnTo>
                    <a:pt x="2130" y="5598"/>
                  </a:lnTo>
                  <a:lnTo>
                    <a:pt x="2124" y="5583"/>
                  </a:lnTo>
                  <a:lnTo>
                    <a:pt x="2119" y="5568"/>
                  </a:lnTo>
                  <a:lnTo>
                    <a:pt x="2115" y="5547"/>
                  </a:lnTo>
                  <a:lnTo>
                    <a:pt x="2111" y="5525"/>
                  </a:lnTo>
                  <a:lnTo>
                    <a:pt x="2100" y="5525"/>
                  </a:lnTo>
                  <a:lnTo>
                    <a:pt x="2088" y="5525"/>
                  </a:lnTo>
                  <a:lnTo>
                    <a:pt x="2078" y="5525"/>
                  </a:lnTo>
                  <a:lnTo>
                    <a:pt x="2067" y="5525"/>
                  </a:lnTo>
                  <a:lnTo>
                    <a:pt x="2059" y="5513"/>
                  </a:lnTo>
                  <a:lnTo>
                    <a:pt x="2053" y="5501"/>
                  </a:lnTo>
                  <a:lnTo>
                    <a:pt x="2046" y="5491"/>
                  </a:lnTo>
                  <a:lnTo>
                    <a:pt x="2041" y="5481"/>
                  </a:lnTo>
                  <a:lnTo>
                    <a:pt x="2037" y="5470"/>
                  </a:lnTo>
                  <a:lnTo>
                    <a:pt x="2035" y="5461"/>
                  </a:lnTo>
                  <a:lnTo>
                    <a:pt x="2032" y="5451"/>
                  </a:lnTo>
                  <a:lnTo>
                    <a:pt x="2031" y="5442"/>
                  </a:lnTo>
                  <a:lnTo>
                    <a:pt x="2030" y="5421"/>
                  </a:lnTo>
                  <a:lnTo>
                    <a:pt x="2030" y="5399"/>
                  </a:lnTo>
                  <a:lnTo>
                    <a:pt x="2032" y="5374"/>
                  </a:lnTo>
                  <a:lnTo>
                    <a:pt x="2035" y="5347"/>
                  </a:lnTo>
                  <a:lnTo>
                    <a:pt x="2018" y="5339"/>
                  </a:lnTo>
                  <a:lnTo>
                    <a:pt x="2002" y="5332"/>
                  </a:lnTo>
                  <a:lnTo>
                    <a:pt x="2005" y="5310"/>
                  </a:lnTo>
                  <a:lnTo>
                    <a:pt x="2006" y="5288"/>
                  </a:lnTo>
                  <a:lnTo>
                    <a:pt x="2007" y="5267"/>
                  </a:lnTo>
                  <a:lnTo>
                    <a:pt x="2006" y="5244"/>
                  </a:lnTo>
                  <a:lnTo>
                    <a:pt x="1993" y="5236"/>
                  </a:lnTo>
                  <a:lnTo>
                    <a:pt x="1983" y="5231"/>
                  </a:lnTo>
                  <a:lnTo>
                    <a:pt x="1972" y="5228"/>
                  </a:lnTo>
                  <a:lnTo>
                    <a:pt x="1958" y="5224"/>
                  </a:lnTo>
                  <a:lnTo>
                    <a:pt x="1961" y="5205"/>
                  </a:lnTo>
                  <a:lnTo>
                    <a:pt x="1964" y="5185"/>
                  </a:lnTo>
                  <a:lnTo>
                    <a:pt x="1968" y="5167"/>
                  </a:lnTo>
                  <a:lnTo>
                    <a:pt x="1974" y="5148"/>
                  </a:lnTo>
                  <a:lnTo>
                    <a:pt x="1966" y="5135"/>
                  </a:lnTo>
                  <a:lnTo>
                    <a:pt x="1961" y="5122"/>
                  </a:lnTo>
                  <a:lnTo>
                    <a:pt x="1957" y="5109"/>
                  </a:lnTo>
                  <a:lnTo>
                    <a:pt x="1953" y="5097"/>
                  </a:lnTo>
                  <a:lnTo>
                    <a:pt x="1948" y="5070"/>
                  </a:lnTo>
                  <a:lnTo>
                    <a:pt x="1944" y="5040"/>
                  </a:lnTo>
                  <a:lnTo>
                    <a:pt x="1916" y="5020"/>
                  </a:lnTo>
                  <a:lnTo>
                    <a:pt x="1888" y="5004"/>
                  </a:lnTo>
                  <a:lnTo>
                    <a:pt x="1881" y="5001"/>
                  </a:lnTo>
                  <a:lnTo>
                    <a:pt x="1873" y="4999"/>
                  </a:lnTo>
                  <a:lnTo>
                    <a:pt x="1867" y="4998"/>
                  </a:lnTo>
                  <a:lnTo>
                    <a:pt x="1859" y="4998"/>
                  </a:lnTo>
                  <a:lnTo>
                    <a:pt x="1851" y="4999"/>
                  </a:lnTo>
                  <a:lnTo>
                    <a:pt x="1845" y="5001"/>
                  </a:lnTo>
                  <a:lnTo>
                    <a:pt x="1837" y="5004"/>
                  </a:lnTo>
                  <a:lnTo>
                    <a:pt x="1829" y="5010"/>
                  </a:lnTo>
                  <a:lnTo>
                    <a:pt x="1791" y="5010"/>
                  </a:lnTo>
                  <a:lnTo>
                    <a:pt x="1764" y="5008"/>
                  </a:lnTo>
                  <a:lnTo>
                    <a:pt x="1752" y="5007"/>
                  </a:lnTo>
                  <a:lnTo>
                    <a:pt x="1743" y="5004"/>
                  </a:lnTo>
                  <a:lnTo>
                    <a:pt x="1734" y="5002"/>
                  </a:lnTo>
                  <a:lnTo>
                    <a:pt x="1728" y="4997"/>
                  </a:lnTo>
                  <a:lnTo>
                    <a:pt x="1721" y="4991"/>
                  </a:lnTo>
                  <a:lnTo>
                    <a:pt x="1715" y="4985"/>
                  </a:lnTo>
                  <a:lnTo>
                    <a:pt x="1709" y="4976"/>
                  </a:lnTo>
                  <a:lnTo>
                    <a:pt x="1706" y="4965"/>
                  </a:lnTo>
                  <a:lnTo>
                    <a:pt x="1695" y="4939"/>
                  </a:lnTo>
                  <a:lnTo>
                    <a:pt x="1685" y="4904"/>
                  </a:lnTo>
                  <a:lnTo>
                    <a:pt x="1669" y="4889"/>
                  </a:lnTo>
                  <a:lnTo>
                    <a:pt x="1655" y="4874"/>
                  </a:lnTo>
                  <a:lnTo>
                    <a:pt x="1639" y="4860"/>
                  </a:lnTo>
                  <a:lnTo>
                    <a:pt x="1624" y="4847"/>
                  </a:lnTo>
                  <a:lnTo>
                    <a:pt x="1607" y="4835"/>
                  </a:lnTo>
                  <a:lnTo>
                    <a:pt x="1591" y="4825"/>
                  </a:lnTo>
                  <a:lnTo>
                    <a:pt x="1574" y="4815"/>
                  </a:lnTo>
                  <a:lnTo>
                    <a:pt x="1557" y="4807"/>
                  </a:lnTo>
                  <a:lnTo>
                    <a:pt x="1539" y="4799"/>
                  </a:lnTo>
                  <a:lnTo>
                    <a:pt x="1521" y="4794"/>
                  </a:lnTo>
                  <a:lnTo>
                    <a:pt x="1503" y="4790"/>
                  </a:lnTo>
                  <a:lnTo>
                    <a:pt x="1483" y="4789"/>
                  </a:lnTo>
                  <a:lnTo>
                    <a:pt x="1464" y="4789"/>
                  </a:lnTo>
                  <a:lnTo>
                    <a:pt x="1444" y="4790"/>
                  </a:lnTo>
                  <a:lnTo>
                    <a:pt x="1423" y="4794"/>
                  </a:lnTo>
                  <a:lnTo>
                    <a:pt x="1402" y="4800"/>
                  </a:lnTo>
                  <a:lnTo>
                    <a:pt x="1379" y="4824"/>
                  </a:lnTo>
                  <a:lnTo>
                    <a:pt x="1354" y="4846"/>
                  </a:lnTo>
                  <a:lnTo>
                    <a:pt x="1330" y="4868"/>
                  </a:lnTo>
                  <a:lnTo>
                    <a:pt x="1306" y="4890"/>
                  </a:lnTo>
                  <a:lnTo>
                    <a:pt x="1294" y="4902"/>
                  </a:lnTo>
                  <a:lnTo>
                    <a:pt x="1284" y="4915"/>
                  </a:lnTo>
                  <a:lnTo>
                    <a:pt x="1275" y="4928"/>
                  </a:lnTo>
                  <a:lnTo>
                    <a:pt x="1266" y="4941"/>
                  </a:lnTo>
                  <a:lnTo>
                    <a:pt x="1259" y="4955"/>
                  </a:lnTo>
                  <a:lnTo>
                    <a:pt x="1253" y="4971"/>
                  </a:lnTo>
                  <a:lnTo>
                    <a:pt x="1249" y="4988"/>
                  </a:lnTo>
                  <a:lnTo>
                    <a:pt x="1246" y="5006"/>
                  </a:lnTo>
                  <a:lnTo>
                    <a:pt x="1235" y="5008"/>
                  </a:lnTo>
                  <a:lnTo>
                    <a:pt x="1224" y="5011"/>
                  </a:lnTo>
                  <a:lnTo>
                    <a:pt x="1214" y="5015"/>
                  </a:lnTo>
                  <a:lnTo>
                    <a:pt x="1203" y="5017"/>
                  </a:lnTo>
                  <a:lnTo>
                    <a:pt x="1193" y="5037"/>
                  </a:lnTo>
                  <a:lnTo>
                    <a:pt x="1181" y="5058"/>
                  </a:lnTo>
                  <a:lnTo>
                    <a:pt x="1171" y="5077"/>
                  </a:lnTo>
                  <a:lnTo>
                    <a:pt x="1162" y="5098"/>
                  </a:lnTo>
                  <a:lnTo>
                    <a:pt x="1108" y="5141"/>
                  </a:lnTo>
                  <a:lnTo>
                    <a:pt x="1078" y="5166"/>
                  </a:lnTo>
                  <a:lnTo>
                    <a:pt x="1062" y="5183"/>
                  </a:lnTo>
                  <a:lnTo>
                    <a:pt x="1046" y="5202"/>
                  </a:lnTo>
                  <a:lnTo>
                    <a:pt x="1047" y="5192"/>
                  </a:lnTo>
                  <a:lnTo>
                    <a:pt x="1050" y="5183"/>
                  </a:lnTo>
                  <a:lnTo>
                    <a:pt x="1043" y="5174"/>
                  </a:lnTo>
                  <a:lnTo>
                    <a:pt x="1033" y="5161"/>
                  </a:lnTo>
                  <a:lnTo>
                    <a:pt x="1020" y="5146"/>
                  </a:lnTo>
                  <a:lnTo>
                    <a:pt x="1004" y="5131"/>
                  </a:lnTo>
                  <a:lnTo>
                    <a:pt x="990" y="5118"/>
                  </a:lnTo>
                  <a:lnTo>
                    <a:pt x="976" y="5105"/>
                  </a:lnTo>
                  <a:lnTo>
                    <a:pt x="969" y="5101"/>
                  </a:lnTo>
                  <a:lnTo>
                    <a:pt x="963" y="5097"/>
                  </a:lnTo>
                  <a:lnTo>
                    <a:pt x="957" y="5094"/>
                  </a:lnTo>
                  <a:lnTo>
                    <a:pt x="954" y="5094"/>
                  </a:lnTo>
                  <a:lnTo>
                    <a:pt x="944" y="5107"/>
                  </a:lnTo>
                  <a:lnTo>
                    <a:pt x="937" y="5120"/>
                  </a:lnTo>
                  <a:lnTo>
                    <a:pt x="928" y="5133"/>
                  </a:lnTo>
                  <a:lnTo>
                    <a:pt x="918" y="5148"/>
                  </a:lnTo>
                  <a:lnTo>
                    <a:pt x="883" y="5149"/>
                  </a:lnTo>
                  <a:lnTo>
                    <a:pt x="848" y="5150"/>
                  </a:lnTo>
                  <a:lnTo>
                    <a:pt x="813" y="5153"/>
                  </a:lnTo>
                  <a:lnTo>
                    <a:pt x="779" y="5154"/>
                  </a:lnTo>
                  <a:lnTo>
                    <a:pt x="779" y="5159"/>
                  </a:lnTo>
                  <a:lnTo>
                    <a:pt x="779" y="5167"/>
                  </a:lnTo>
                  <a:lnTo>
                    <a:pt x="756" y="5163"/>
                  </a:lnTo>
                  <a:lnTo>
                    <a:pt x="735" y="5159"/>
                  </a:lnTo>
                  <a:lnTo>
                    <a:pt x="725" y="5159"/>
                  </a:lnTo>
                  <a:lnTo>
                    <a:pt x="713" y="5158"/>
                  </a:lnTo>
                  <a:lnTo>
                    <a:pt x="702" y="5158"/>
                  </a:lnTo>
                  <a:lnTo>
                    <a:pt x="689" y="5159"/>
                  </a:lnTo>
                  <a:lnTo>
                    <a:pt x="679" y="5181"/>
                  </a:lnTo>
                  <a:lnTo>
                    <a:pt x="667" y="5202"/>
                  </a:lnTo>
                  <a:lnTo>
                    <a:pt x="653" y="5222"/>
                  </a:lnTo>
                  <a:lnTo>
                    <a:pt x="636" y="5240"/>
                  </a:lnTo>
                  <a:lnTo>
                    <a:pt x="623" y="5240"/>
                  </a:lnTo>
                  <a:lnTo>
                    <a:pt x="611" y="5239"/>
                  </a:lnTo>
                  <a:lnTo>
                    <a:pt x="600" y="5236"/>
                  </a:lnTo>
                  <a:lnTo>
                    <a:pt x="589" y="5233"/>
                  </a:lnTo>
                  <a:lnTo>
                    <a:pt x="580" y="5228"/>
                  </a:lnTo>
                  <a:lnTo>
                    <a:pt x="571" y="5224"/>
                  </a:lnTo>
                  <a:lnTo>
                    <a:pt x="563" y="5219"/>
                  </a:lnTo>
                  <a:lnTo>
                    <a:pt x="557" y="5213"/>
                  </a:lnTo>
                  <a:lnTo>
                    <a:pt x="550" y="5206"/>
                  </a:lnTo>
                  <a:lnTo>
                    <a:pt x="544" y="5198"/>
                  </a:lnTo>
                  <a:lnTo>
                    <a:pt x="540" y="5190"/>
                  </a:lnTo>
                  <a:lnTo>
                    <a:pt x="535" y="5183"/>
                  </a:lnTo>
                  <a:lnTo>
                    <a:pt x="532" y="5174"/>
                  </a:lnTo>
                  <a:lnTo>
                    <a:pt x="528" y="5164"/>
                  </a:lnTo>
                  <a:lnTo>
                    <a:pt x="527" y="5155"/>
                  </a:lnTo>
                  <a:lnTo>
                    <a:pt x="524" y="5145"/>
                  </a:lnTo>
                  <a:lnTo>
                    <a:pt x="523" y="5124"/>
                  </a:lnTo>
                  <a:lnTo>
                    <a:pt x="524" y="5103"/>
                  </a:lnTo>
                  <a:lnTo>
                    <a:pt x="527" y="5083"/>
                  </a:lnTo>
                  <a:lnTo>
                    <a:pt x="532" y="5062"/>
                  </a:lnTo>
                  <a:lnTo>
                    <a:pt x="539" y="5041"/>
                  </a:lnTo>
                  <a:lnTo>
                    <a:pt x="548" y="5021"/>
                  </a:lnTo>
                  <a:lnTo>
                    <a:pt x="557" y="5003"/>
                  </a:lnTo>
                  <a:lnTo>
                    <a:pt x="568" y="4986"/>
                  </a:lnTo>
                  <a:lnTo>
                    <a:pt x="568" y="4965"/>
                  </a:lnTo>
                  <a:lnTo>
                    <a:pt x="566" y="4945"/>
                  </a:lnTo>
                  <a:lnTo>
                    <a:pt x="565" y="4919"/>
                  </a:lnTo>
                  <a:lnTo>
                    <a:pt x="565" y="4881"/>
                  </a:lnTo>
                  <a:lnTo>
                    <a:pt x="574" y="4869"/>
                  </a:lnTo>
                  <a:lnTo>
                    <a:pt x="582" y="4857"/>
                  </a:lnTo>
                  <a:lnTo>
                    <a:pt x="588" y="4843"/>
                  </a:lnTo>
                  <a:lnTo>
                    <a:pt x="595" y="4830"/>
                  </a:lnTo>
                  <a:lnTo>
                    <a:pt x="600" y="4815"/>
                  </a:lnTo>
                  <a:lnTo>
                    <a:pt x="605" y="4800"/>
                  </a:lnTo>
                  <a:lnTo>
                    <a:pt x="609" y="4785"/>
                  </a:lnTo>
                  <a:lnTo>
                    <a:pt x="611" y="4769"/>
                  </a:lnTo>
                  <a:lnTo>
                    <a:pt x="614" y="4752"/>
                  </a:lnTo>
                  <a:lnTo>
                    <a:pt x="615" y="4736"/>
                  </a:lnTo>
                  <a:lnTo>
                    <a:pt x="617" y="4721"/>
                  </a:lnTo>
                  <a:lnTo>
                    <a:pt x="617" y="4705"/>
                  </a:lnTo>
                  <a:lnTo>
                    <a:pt x="615" y="4690"/>
                  </a:lnTo>
                  <a:lnTo>
                    <a:pt x="613" y="4675"/>
                  </a:lnTo>
                  <a:lnTo>
                    <a:pt x="610" y="4661"/>
                  </a:lnTo>
                  <a:lnTo>
                    <a:pt x="605" y="4648"/>
                  </a:lnTo>
                  <a:lnTo>
                    <a:pt x="585" y="4638"/>
                  </a:lnTo>
                  <a:lnTo>
                    <a:pt x="567" y="4628"/>
                  </a:lnTo>
                  <a:lnTo>
                    <a:pt x="566" y="4599"/>
                  </a:lnTo>
                  <a:lnTo>
                    <a:pt x="565" y="4575"/>
                  </a:lnTo>
                  <a:lnTo>
                    <a:pt x="565" y="4554"/>
                  </a:lnTo>
                  <a:lnTo>
                    <a:pt x="567" y="4539"/>
                  </a:lnTo>
                  <a:lnTo>
                    <a:pt x="570" y="4531"/>
                  </a:lnTo>
                  <a:lnTo>
                    <a:pt x="572" y="4524"/>
                  </a:lnTo>
                  <a:lnTo>
                    <a:pt x="578" y="4519"/>
                  </a:lnTo>
                  <a:lnTo>
                    <a:pt x="583" y="4514"/>
                  </a:lnTo>
                  <a:lnTo>
                    <a:pt x="591" y="4509"/>
                  </a:lnTo>
                  <a:lnTo>
                    <a:pt x="600" y="4504"/>
                  </a:lnTo>
                  <a:lnTo>
                    <a:pt x="611" y="4498"/>
                  </a:lnTo>
                  <a:lnTo>
                    <a:pt x="624" y="4495"/>
                  </a:lnTo>
                  <a:lnTo>
                    <a:pt x="622" y="4465"/>
                  </a:lnTo>
                  <a:lnTo>
                    <a:pt x="619" y="4437"/>
                  </a:lnTo>
                  <a:lnTo>
                    <a:pt x="617" y="4424"/>
                  </a:lnTo>
                  <a:lnTo>
                    <a:pt x="615" y="4414"/>
                  </a:lnTo>
                  <a:lnTo>
                    <a:pt x="611" y="4402"/>
                  </a:lnTo>
                  <a:lnTo>
                    <a:pt x="608" y="4392"/>
                  </a:lnTo>
                  <a:lnTo>
                    <a:pt x="604" y="4381"/>
                  </a:lnTo>
                  <a:lnTo>
                    <a:pt x="598" y="4372"/>
                  </a:lnTo>
                  <a:lnTo>
                    <a:pt x="592" y="4363"/>
                  </a:lnTo>
                  <a:lnTo>
                    <a:pt x="584" y="4354"/>
                  </a:lnTo>
                  <a:lnTo>
                    <a:pt x="575" y="4345"/>
                  </a:lnTo>
                  <a:lnTo>
                    <a:pt x="565" y="4337"/>
                  </a:lnTo>
                  <a:lnTo>
                    <a:pt x="552" y="4329"/>
                  </a:lnTo>
                  <a:lnTo>
                    <a:pt x="539" y="4321"/>
                  </a:lnTo>
                  <a:lnTo>
                    <a:pt x="539" y="4284"/>
                  </a:lnTo>
                  <a:lnTo>
                    <a:pt x="541" y="4246"/>
                  </a:lnTo>
                  <a:lnTo>
                    <a:pt x="542" y="4207"/>
                  </a:lnTo>
                  <a:lnTo>
                    <a:pt x="542" y="4168"/>
                  </a:lnTo>
                  <a:lnTo>
                    <a:pt x="541" y="4150"/>
                  </a:lnTo>
                  <a:lnTo>
                    <a:pt x="539" y="4132"/>
                  </a:lnTo>
                  <a:lnTo>
                    <a:pt x="535" y="4113"/>
                  </a:lnTo>
                  <a:lnTo>
                    <a:pt x="528" y="4098"/>
                  </a:lnTo>
                  <a:lnTo>
                    <a:pt x="520" y="4082"/>
                  </a:lnTo>
                  <a:lnTo>
                    <a:pt x="510" y="4068"/>
                  </a:lnTo>
                  <a:lnTo>
                    <a:pt x="505" y="4061"/>
                  </a:lnTo>
                  <a:lnTo>
                    <a:pt x="498" y="4055"/>
                  </a:lnTo>
                  <a:lnTo>
                    <a:pt x="490" y="4050"/>
                  </a:lnTo>
                  <a:lnTo>
                    <a:pt x="483" y="4044"/>
                  </a:lnTo>
                  <a:lnTo>
                    <a:pt x="477" y="4037"/>
                  </a:lnTo>
                  <a:lnTo>
                    <a:pt x="472" y="4030"/>
                  </a:lnTo>
                  <a:lnTo>
                    <a:pt x="467" y="4025"/>
                  </a:lnTo>
                  <a:lnTo>
                    <a:pt x="461" y="4021"/>
                  </a:lnTo>
                  <a:lnTo>
                    <a:pt x="449" y="4013"/>
                  </a:lnTo>
                  <a:lnTo>
                    <a:pt x="437" y="4008"/>
                  </a:lnTo>
                  <a:lnTo>
                    <a:pt x="408" y="4000"/>
                  </a:lnTo>
                  <a:lnTo>
                    <a:pt x="375" y="3994"/>
                  </a:lnTo>
                  <a:lnTo>
                    <a:pt x="375" y="3975"/>
                  </a:lnTo>
                  <a:lnTo>
                    <a:pt x="375" y="3957"/>
                  </a:lnTo>
                  <a:lnTo>
                    <a:pt x="375" y="3940"/>
                  </a:lnTo>
                  <a:lnTo>
                    <a:pt x="375" y="3923"/>
                  </a:lnTo>
                  <a:lnTo>
                    <a:pt x="389" y="3921"/>
                  </a:lnTo>
                  <a:lnTo>
                    <a:pt x="401" y="3918"/>
                  </a:lnTo>
                  <a:lnTo>
                    <a:pt x="410" y="3914"/>
                  </a:lnTo>
                  <a:lnTo>
                    <a:pt x="419" y="3910"/>
                  </a:lnTo>
                  <a:lnTo>
                    <a:pt x="425" y="3905"/>
                  </a:lnTo>
                  <a:lnTo>
                    <a:pt x="431" y="3900"/>
                  </a:lnTo>
                  <a:lnTo>
                    <a:pt x="434" y="3893"/>
                  </a:lnTo>
                  <a:lnTo>
                    <a:pt x="437" y="3887"/>
                  </a:lnTo>
                  <a:lnTo>
                    <a:pt x="440" y="3879"/>
                  </a:lnTo>
                  <a:lnTo>
                    <a:pt x="440" y="3870"/>
                  </a:lnTo>
                  <a:lnTo>
                    <a:pt x="440" y="3861"/>
                  </a:lnTo>
                  <a:lnTo>
                    <a:pt x="440" y="3851"/>
                  </a:lnTo>
                  <a:lnTo>
                    <a:pt x="437" y="3828"/>
                  </a:lnTo>
                  <a:lnTo>
                    <a:pt x="432" y="3801"/>
                  </a:lnTo>
                  <a:lnTo>
                    <a:pt x="423" y="3797"/>
                  </a:lnTo>
                  <a:lnTo>
                    <a:pt x="412" y="3793"/>
                  </a:lnTo>
                  <a:lnTo>
                    <a:pt x="401" y="3791"/>
                  </a:lnTo>
                  <a:lnTo>
                    <a:pt x="390" y="3789"/>
                  </a:lnTo>
                  <a:lnTo>
                    <a:pt x="369" y="3788"/>
                  </a:lnTo>
                  <a:lnTo>
                    <a:pt x="347" y="3787"/>
                  </a:lnTo>
                  <a:lnTo>
                    <a:pt x="325" y="3787"/>
                  </a:lnTo>
                  <a:lnTo>
                    <a:pt x="304" y="3784"/>
                  </a:lnTo>
                  <a:lnTo>
                    <a:pt x="294" y="3782"/>
                  </a:lnTo>
                  <a:lnTo>
                    <a:pt x="285" y="3779"/>
                  </a:lnTo>
                  <a:lnTo>
                    <a:pt x="274" y="3775"/>
                  </a:lnTo>
                  <a:lnTo>
                    <a:pt x="265" y="3771"/>
                  </a:lnTo>
                  <a:lnTo>
                    <a:pt x="242" y="3769"/>
                  </a:lnTo>
                  <a:lnTo>
                    <a:pt x="221" y="3765"/>
                  </a:lnTo>
                  <a:lnTo>
                    <a:pt x="203" y="3761"/>
                  </a:lnTo>
                  <a:lnTo>
                    <a:pt x="185" y="3756"/>
                  </a:lnTo>
                  <a:lnTo>
                    <a:pt x="168" y="3750"/>
                  </a:lnTo>
                  <a:lnTo>
                    <a:pt x="151" y="3741"/>
                  </a:lnTo>
                  <a:lnTo>
                    <a:pt x="133" y="3731"/>
                  </a:lnTo>
                  <a:lnTo>
                    <a:pt x="113" y="3717"/>
                  </a:lnTo>
                  <a:lnTo>
                    <a:pt x="98" y="3715"/>
                  </a:lnTo>
                  <a:lnTo>
                    <a:pt x="83" y="3714"/>
                  </a:lnTo>
                  <a:lnTo>
                    <a:pt x="68" y="3713"/>
                  </a:lnTo>
                  <a:lnTo>
                    <a:pt x="53" y="3711"/>
                  </a:lnTo>
                  <a:lnTo>
                    <a:pt x="45" y="3684"/>
                  </a:lnTo>
                  <a:lnTo>
                    <a:pt x="40" y="3658"/>
                  </a:lnTo>
                  <a:lnTo>
                    <a:pt x="38" y="3631"/>
                  </a:lnTo>
                  <a:lnTo>
                    <a:pt x="36" y="3602"/>
                  </a:lnTo>
                  <a:lnTo>
                    <a:pt x="44" y="3589"/>
                  </a:lnTo>
                  <a:lnTo>
                    <a:pt x="52" y="3575"/>
                  </a:lnTo>
                  <a:lnTo>
                    <a:pt x="59" y="3562"/>
                  </a:lnTo>
                  <a:lnTo>
                    <a:pt x="64" y="3547"/>
                  </a:lnTo>
                  <a:lnTo>
                    <a:pt x="73" y="3521"/>
                  </a:lnTo>
                  <a:lnTo>
                    <a:pt x="82" y="3495"/>
                  </a:lnTo>
                  <a:lnTo>
                    <a:pt x="87" y="3482"/>
                  </a:lnTo>
                  <a:lnTo>
                    <a:pt x="94" y="3471"/>
                  </a:lnTo>
                  <a:lnTo>
                    <a:pt x="101" y="3459"/>
                  </a:lnTo>
                  <a:lnTo>
                    <a:pt x="109" y="3449"/>
                  </a:lnTo>
                  <a:lnTo>
                    <a:pt x="120" y="3439"/>
                  </a:lnTo>
                  <a:lnTo>
                    <a:pt x="133" y="3430"/>
                  </a:lnTo>
                  <a:lnTo>
                    <a:pt x="147" y="3424"/>
                  </a:lnTo>
                  <a:lnTo>
                    <a:pt x="163" y="3417"/>
                  </a:lnTo>
                  <a:lnTo>
                    <a:pt x="163" y="3406"/>
                  </a:lnTo>
                  <a:lnTo>
                    <a:pt x="161" y="3394"/>
                  </a:lnTo>
                  <a:lnTo>
                    <a:pt x="160" y="3385"/>
                  </a:lnTo>
                  <a:lnTo>
                    <a:pt x="156" y="3376"/>
                  </a:lnTo>
                  <a:lnTo>
                    <a:pt x="153" y="3367"/>
                  </a:lnTo>
                  <a:lnTo>
                    <a:pt x="148" y="3360"/>
                  </a:lnTo>
                  <a:lnTo>
                    <a:pt x="144" y="3352"/>
                  </a:lnTo>
                  <a:lnTo>
                    <a:pt x="138" y="3346"/>
                  </a:lnTo>
                  <a:lnTo>
                    <a:pt x="111" y="3321"/>
                  </a:lnTo>
                  <a:lnTo>
                    <a:pt x="74" y="3294"/>
                  </a:lnTo>
                  <a:lnTo>
                    <a:pt x="74" y="3248"/>
                  </a:lnTo>
                  <a:lnTo>
                    <a:pt x="73" y="3203"/>
                  </a:lnTo>
                  <a:lnTo>
                    <a:pt x="69" y="3182"/>
                  </a:lnTo>
                  <a:lnTo>
                    <a:pt x="64" y="3160"/>
                  </a:lnTo>
                  <a:lnTo>
                    <a:pt x="60" y="3151"/>
                  </a:lnTo>
                  <a:lnTo>
                    <a:pt x="56" y="3140"/>
                  </a:lnTo>
                  <a:lnTo>
                    <a:pt x="51" y="3130"/>
                  </a:lnTo>
                  <a:lnTo>
                    <a:pt x="44" y="3121"/>
                  </a:lnTo>
                  <a:lnTo>
                    <a:pt x="42" y="3082"/>
                  </a:lnTo>
                  <a:lnTo>
                    <a:pt x="38" y="3043"/>
                  </a:lnTo>
                  <a:lnTo>
                    <a:pt x="36" y="3004"/>
                  </a:lnTo>
                  <a:lnTo>
                    <a:pt x="34" y="2965"/>
                  </a:lnTo>
                  <a:lnTo>
                    <a:pt x="17" y="2957"/>
                  </a:lnTo>
                  <a:lnTo>
                    <a:pt x="0" y="2948"/>
                  </a:lnTo>
                  <a:lnTo>
                    <a:pt x="0" y="2932"/>
                  </a:lnTo>
                  <a:lnTo>
                    <a:pt x="0" y="2917"/>
                  </a:lnTo>
                  <a:lnTo>
                    <a:pt x="0" y="2900"/>
                  </a:lnTo>
                  <a:lnTo>
                    <a:pt x="1" y="2884"/>
                  </a:lnTo>
                  <a:lnTo>
                    <a:pt x="13" y="2879"/>
                  </a:lnTo>
                  <a:lnTo>
                    <a:pt x="26" y="2871"/>
                  </a:lnTo>
                  <a:lnTo>
                    <a:pt x="40" y="2862"/>
                  </a:lnTo>
                  <a:lnTo>
                    <a:pt x="55" y="2850"/>
                  </a:lnTo>
                  <a:lnTo>
                    <a:pt x="70" y="2838"/>
                  </a:lnTo>
                  <a:lnTo>
                    <a:pt x="83" y="2827"/>
                  </a:lnTo>
                  <a:lnTo>
                    <a:pt x="94" y="2816"/>
                  </a:lnTo>
                  <a:lnTo>
                    <a:pt x="101" y="2807"/>
                  </a:lnTo>
                  <a:lnTo>
                    <a:pt x="104" y="2745"/>
                  </a:lnTo>
                  <a:lnTo>
                    <a:pt x="111" y="2681"/>
                  </a:lnTo>
                  <a:lnTo>
                    <a:pt x="117" y="2616"/>
                  </a:lnTo>
                  <a:lnTo>
                    <a:pt x="122" y="2550"/>
                  </a:lnTo>
                  <a:lnTo>
                    <a:pt x="125" y="2516"/>
                  </a:lnTo>
                  <a:lnTo>
                    <a:pt x="127" y="2483"/>
                  </a:lnTo>
                  <a:lnTo>
                    <a:pt x="129" y="2451"/>
                  </a:lnTo>
                  <a:lnTo>
                    <a:pt x="130" y="2418"/>
                  </a:lnTo>
                  <a:lnTo>
                    <a:pt x="129" y="2386"/>
                  </a:lnTo>
                  <a:lnTo>
                    <a:pt x="127" y="2355"/>
                  </a:lnTo>
                  <a:lnTo>
                    <a:pt x="125" y="2323"/>
                  </a:lnTo>
                  <a:lnTo>
                    <a:pt x="121" y="2293"/>
                  </a:lnTo>
                  <a:lnTo>
                    <a:pt x="108" y="2273"/>
                  </a:lnTo>
                  <a:lnTo>
                    <a:pt x="95" y="2252"/>
                  </a:lnTo>
                  <a:lnTo>
                    <a:pt x="83" y="2232"/>
                  </a:lnTo>
                  <a:lnTo>
                    <a:pt x="74" y="2211"/>
                  </a:lnTo>
                  <a:lnTo>
                    <a:pt x="66" y="2191"/>
                  </a:lnTo>
                  <a:lnTo>
                    <a:pt x="61" y="2168"/>
                  </a:lnTo>
                  <a:lnTo>
                    <a:pt x="59" y="2157"/>
                  </a:lnTo>
                  <a:lnTo>
                    <a:pt x="57" y="2144"/>
                  </a:lnTo>
                  <a:lnTo>
                    <a:pt x="57" y="2132"/>
                  </a:lnTo>
                  <a:lnTo>
                    <a:pt x="57" y="2119"/>
                  </a:lnTo>
                  <a:lnTo>
                    <a:pt x="69" y="2110"/>
                  </a:lnTo>
                  <a:lnTo>
                    <a:pt x="81" y="2102"/>
                  </a:lnTo>
                  <a:lnTo>
                    <a:pt x="79" y="2081"/>
                  </a:lnTo>
                  <a:lnTo>
                    <a:pt x="78" y="2063"/>
                  </a:lnTo>
                  <a:lnTo>
                    <a:pt x="121" y="2064"/>
                  </a:lnTo>
                  <a:lnTo>
                    <a:pt x="146" y="2066"/>
                  </a:lnTo>
                  <a:lnTo>
                    <a:pt x="168" y="2068"/>
                  </a:lnTo>
                  <a:lnTo>
                    <a:pt x="194" y="2072"/>
                  </a:lnTo>
                  <a:lnTo>
                    <a:pt x="212" y="2059"/>
                  </a:lnTo>
                  <a:lnTo>
                    <a:pt x="230" y="2047"/>
                  </a:lnTo>
                  <a:lnTo>
                    <a:pt x="248" y="2034"/>
                  </a:lnTo>
                  <a:lnTo>
                    <a:pt x="267" y="2023"/>
                  </a:lnTo>
                  <a:lnTo>
                    <a:pt x="312" y="2021"/>
                  </a:lnTo>
                  <a:lnTo>
                    <a:pt x="349" y="2020"/>
                  </a:lnTo>
                  <a:lnTo>
                    <a:pt x="366" y="2020"/>
                  </a:lnTo>
                  <a:lnTo>
                    <a:pt x="380" y="2018"/>
                  </a:lnTo>
                  <a:lnTo>
                    <a:pt x="393" y="2015"/>
                  </a:lnTo>
                  <a:lnTo>
                    <a:pt x="405" y="2011"/>
                  </a:lnTo>
                  <a:lnTo>
                    <a:pt x="415" y="2005"/>
                  </a:lnTo>
                  <a:lnTo>
                    <a:pt x="424" y="1998"/>
                  </a:lnTo>
                  <a:lnTo>
                    <a:pt x="432" y="1988"/>
                  </a:lnTo>
                  <a:lnTo>
                    <a:pt x="438" y="1977"/>
                  </a:lnTo>
                  <a:lnTo>
                    <a:pt x="445" y="1963"/>
                  </a:lnTo>
                  <a:lnTo>
                    <a:pt x="450" y="1946"/>
                  </a:lnTo>
                  <a:lnTo>
                    <a:pt x="455" y="1927"/>
                  </a:lnTo>
                  <a:lnTo>
                    <a:pt x="459" y="1903"/>
                  </a:lnTo>
                  <a:lnTo>
                    <a:pt x="479" y="1885"/>
                  </a:lnTo>
                  <a:lnTo>
                    <a:pt x="494" y="1869"/>
                  </a:lnTo>
                  <a:lnTo>
                    <a:pt x="500" y="1860"/>
                  </a:lnTo>
                  <a:lnTo>
                    <a:pt x="506" y="1852"/>
                  </a:lnTo>
                  <a:lnTo>
                    <a:pt x="510" y="1845"/>
                  </a:lnTo>
                  <a:lnTo>
                    <a:pt x="514" y="1835"/>
                  </a:lnTo>
                  <a:lnTo>
                    <a:pt x="520" y="1817"/>
                  </a:lnTo>
                  <a:lnTo>
                    <a:pt x="523" y="1796"/>
                  </a:lnTo>
                  <a:lnTo>
                    <a:pt x="526" y="1773"/>
                  </a:lnTo>
                  <a:lnTo>
                    <a:pt x="527" y="1746"/>
                  </a:lnTo>
                  <a:lnTo>
                    <a:pt x="555" y="1726"/>
                  </a:lnTo>
                  <a:lnTo>
                    <a:pt x="587" y="1701"/>
                  </a:lnTo>
                  <a:lnTo>
                    <a:pt x="604" y="1688"/>
                  </a:lnTo>
                  <a:lnTo>
                    <a:pt x="619" y="1673"/>
                  </a:lnTo>
                  <a:lnTo>
                    <a:pt x="635" y="1657"/>
                  </a:lnTo>
                  <a:lnTo>
                    <a:pt x="648" y="1642"/>
                  </a:lnTo>
                  <a:lnTo>
                    <a:pt x="660" y="1625"/>
                  </a:lnTo>
                  <a:lnTo>
                    <a:pt x="670" y="1608"/>
                  </a:lnTo>
                  <a:lnTo>
                    <a:pt x="674" y="1600"/>
                  </a:lnTo>
                  <a:lnTo>
                    <a:pt x="676" y="1591"/>
                  </a:lnTo>
                  <a:lnTo>
                    <a:pt x="679" y="1583"/>
                  </a:lnTo>
                  <a:lnTo>
                    <a:pt x="680" y="1574"/>
                  </a:lnTo>
                  <a:lnTo>
                    <a:pt x="682" y="1565"/>
                  </a:lnTo>
                  <a:lnTo>
                    <a:pt x="680" y="1557"/>
                  </a:lnTo>
                  <a:lnTo>
                    <a:pt x="679" y="1548"/>
                  </a:lnTo>
                  <a:lnTo>
                    <a:pt x="676" y="1540"/>
                  </a:lnTo>
                  <a:lnTo>
                    <a:pt x="674" y="1531"/>
                  </a:lnTo>
                  <a:lnTo>
                    <a:pt x="669" y="1523"/>
                  </a:lnTo>
                  <a:lnTo>
                    <a:pt x="662" y="1515"/>
                  </a:lnTo>
                  <a:lnTo>
                    <a:pt x="656" y="1508"/>
                  </a:lnTo>
                  <a:lnTo>
                    <a:pt x="652" y="1496"/>
                  </a:lnTo>
                  <a:lnTo>
                    <a:pt x="650" y="1486"/>
                  </a:lnTo>
                  <a:lnTo>
                    <a:pt x="648" y="1474"/>
                  </a:lnTo>
                  <a:lnTo>
                    <a:pt x="647" y="1459"/>
                  </a:lnTo>
                  <a:lnTo>
                    <a:pt x="644" y="1414"/>
                  </a:lnTo>
                  <a:lnTo>
                    <a:pt x="640" y="1332"/>
                  </a:lnTo>
                  <a:lnTo>
                    <a:pt x="627" y="1309"/>
                  </a:lnTo>
                  <a:lnTo>
                    <a:pt x="614" y="1284"/>
                  </a:lnTo>
                  <a:lnTo>
                    <a:pt x="602" y="1260"/>
                  </a:lnTo>
                  <a:lnTo>
                    <a:pt x="591" y="1238"/>
                  </a:lnTo>
                  <a:lnTo>
                    <a:pt x="568" y="1227"/>
                  </a:lnTo>
                  <a:lnTo>
                    <a:pt x="553" y="1218"/>
                  </a:lnTo>
                  <a:lnTo>
                    <a:pt x="541" y="1208"/>
                  </a:lnTo>
                  <a:lnTo>
                    <a:pt x="532" y="1198"/>
                  </a:lnTo>
                  <a:lnTo>
                    <a:pt x="524" y="1186"/>
                  </a:lnTo>
                  <a:lnTo>
                    <a:pt x="519" y="1172"/>
                  </a:lnTo>
                  <a:lnTo>
                    <a:pt x="515" y="1155"/>
                  </a:lnTo>
                  <a:lnTo>
                    <a:pt x="510" y="1132"/>
                  </a:lnTo>
                  <a:lnTo>
                    <a:pt x="494" y="1124"/>
                  </a:lnTo>
                  <a:lnTo>
                    <a:pt x="480" y="1115"/>
                  </a:lnTo>
                  <a:lnTo>
                    <a:pt x="480" y="1082"/>
                  </a:lnTo>
                  <a:lnTo>
                    <a:pt x="479" y="1048"/>
                  </a:lnTo>
                  <a:lnTo>
                    <a:pt x="476" y="1016"/>
                  </a:lnTo>
                  <a:lnTo>
                    <a:pt x="472" y="983"/>
                  </a:lnTo>
                  <a:lnTo>
                    <a:pt x="468" y="951"/>
                  </a:lnTo>
                  <a:lnTo>
                    <a:pt x="464" y="918"/>
                  </a:lnTo>
                  <a:lnTo>
                    <a:pt x="459" y="886"/>
                  </a:lnTo>
                  <a:lnTo>
                    <a:pt x="455" y="853"/>
                  </a:lnTo>
                  <a:lnTo>
                    <a:pt x="450" y="847"/>
                  </a:lnTo>
                  <a:lnTo>
                    <a:pt x="446" y="840"/>
                  </a:lnTo>
                  <a:lnTo>
                    <a:pt x="444" y="835"/>
                  </a:lnTo>
                  <a:lnTo>
                    <a:pt x="442" y="829"/>
                  </a:lnTo>
                  <a:lnTo>
                    <a:pt x="442" y="822"/>
                  </a:lnTo>
                  <a:lnTo>
                    <a:pt x="444" y="817"/>
                  </a:lnTo>
                  <a:lnTo>
                    <a:pt x="445" y="810"/>
                  </a:lnTo>
                  <a:lnTo>
                    <a:pt x="449" y="805"/>
                  </a:lnTo>
                  <a:lnTo>
                    <a:pt x="466" y="783"/>
                  </a:lnTo>
                  <a:lnTo>
                    <a:pt x="487" y="761"/>
                  </a:lnTo>
                  <a:lnTo>
                    <a:pt x="487" y="743"/>
                  </a:lnTo>
                  <a:lnTo>
                    <a:pt x="488" y="724"/>
                  </a:lnTo>
                  <a:lnTo>
                    <a:pt x="489" y="708"/>
                  </a:lnTo>
                  <a:lnTo>
                    <a:pt x="490" y="689"/>
                  </a:lnTo>
                  <a:lnTo>
                    <a:pt x="500" y="689"/>
                  </a:lnTo>
                  <a:lnTo>
                    <a:pt x="510" y="689"/>
                  </a:lnTo>
                  <a:lnTo>
                    <a:pt x="506" y="696"/>
                  </a:lnTo>
                  <a:lnTo>
                    <a:pt x="503" y="704"/>
                  </a:lnTo>
                  <a:lnTo>
                    <a:pt x="524" y="711"/>
                  </a:lnTo>
                  <a:lnTo>
                    <a:pt x="553" y="723"/>
                  </a:lnTo>
                  <a:lnTo>
                    <a:pt x="568" y="728"/>
                  </a:lnTo>
                  <a:lnTo>
                    <a:pt x="584" y="732"/>
                  </a:lnTo>
                  <a:lnTo>
                    <a:pt x="600" y="736"/>
                  </a:lnTo>
                  <a:lnTo>
                    <a:pt x="614" y="739"/>
                  </a:lnTo>
                  <a:lnTo>
                    <a:pt x="627" y="740"/>
                  </a:lnTo>
                  <a:lnTo>
                    <a:pt x="640" y="739"/>
                  </a:lnTo>
                  <a:lnTo>
                    <a:pt x="644" y="737"/>
                  </a:lnTo>
                  <a:lnTo>
                    <a:pt x="649" y="735"/>
                  </a:lnTo>
                  <a:lnTo>
                    <a:pt x="653" y="732"/>
                  </a:lnTo>
                  <a:lnTo>
                    <a:pt x="656" y="728"/>
                  </a:lnTo>
                  <a:lnTo>
                    <a:pt x="658" y="724"/>
                  </a:lnTo>
                  <a:lnTo>
                    <a:pt x="658" y="719"/>
                  </a:lnTo>
                  <a:lnTo>
                    <a:pt x="660" y="713"/>
                  </a:lnTo>
                  <a:lnTo>
                    <a:pt x="658" y="706"/>
                  </a:lnTo>
                  <a:lnTo>
                    <a:pt x="657" y="698"/>
                  </a:lnTo>
                  <a:lnTo>
                    <a:pt x="653" y="689"/>
                  </a:lnTo>
                  <a:lnTo>
                    <a:pt x="649" y="680"/>
                  </a:lnTo>
                  <a:lnTo>
                    <a:pt x="644" y="669"/>
                  </a:lnTo>
                  <a:lnTo>
                    <a:pt x="658" y="669"/>
                  </a:lnTo>
                  <a:lnTo>
                    <a:pt x="675" y="671"/>
                  </a:lnTo>
                  <a:lnTo>
                    <a:pt x="682" y="692"/>
                  </a:lnTo>
                  <a:lnTo>
                    <a:pt x="687" y="713"/>
                  </a:lnTo>
                  <a:lnTo>
                    <a:pt x="691" y="732"/>
                  </a:lnTo>
                  <a:lnTo>
                    <a:pt x="692" y="752"/>
                  </a:lnTo>
                  <a:lnTo>
                    <a:pt x="693" y="773"/>
                  </a:lnTo>
                  <a:lnTo>
                    <a:pt x="693" y="792"/>
                  </a:lnTo>
                  <a:lnTo>
                    <a:pt x="692" y="814"/>
                  </a:lnTo>
                  <a:lnTo>
                    <a:pt x="689" y="838"/>
                  </a:lnTo>
                  <a:lnTo>
                    <a:pt x="702" y="849"/>
                  </a:lnTo>
                  <a:lnTo>
                    <a:pt x="712" y="856"/>
                  </a:lnTo>
                  <a:lnTo>
                    <a:pt x="718" y="857"/>
                  </a:lnTo>
                  <a:lnTo>
                    <a:pt x="723" y="858"/>
                  </a:lnTo>
                  <a:lnTo>
                    <a:pt x="731" y="858"/>
                  </a:lnTo>
                  <a:lnTo>
                    <a:pt x="740" y="858"/>
                  </a:lnTo>
                  <a:lnTo>
                    <a:pt x="742" y="835"/>
                  </a:lnTo>
                  <a:lnTo>
                    <a:pt x="740" y="821"/>
                  </a:lnTo>
                  <a:lnTo>
                    <a:pt x="738" y="809"/>
                  </a:lnTo>
                  <a:lnTo>
                    <a:pt x="732" y="793"/>
                  </a:lnTo>
                  <a:lnTo>
                    <a:pt x="752" y="780"/>
                  </a:lnTo>
                  <a:lnTo>
                    <a:pt x="773" y="770"/>
                  </a:lnTo>
                  <a:lnTo>
                    <a:pt x="794" y="761"/>
                  </a:lnTo>
                  <a:lnTo>
                    <a:pt x="816" y="753"/>
                  </a:lnTo>
                  <a:lnTo>
                    <a:pt x="836" y="745"/>
                  </a:lnTo>
                  <a:lnTo>
                    <a:pt x="859" y="736"/>
                  </a:lnTo>
                  <a:lnTo>
                    <a:pt x="879" y="726"/>
                  </a:lnTo>
                  <a:lnTo>
                    <a:pt x="900" y="713"/>
                  </a:lnTo>
                  <a:lnTo>
                    <a:pt x="941" y="714"/>
                  </a:lnTo>
                  <a:lnTo>
                    <a:pt x="982" y="715"/>
                  </a:lnTo>
                  <a:lnTo>
                    <a:pt x="1023" y="717"/>
                  </a:lnTo>
                  <a:lnTo>
                    <a:pt x="1063" y="719"/>
                  </a:lnTo>
                  <a:lnTo>
                    <a:pt x="1105" y="721"/>
                  </a:lnTo>
                  <a:lnTo>
                    <a:pt x="1145" y="723"/>
                  </a:lnTo>
                  <a:lnTo>
                    <a:pt x="1185" y="723"/>
                  </a:lnTo>
                  <a:lnTo>
                    <a:pt x="1227" y="723"/>
                  </a:lnTo>
                  <a:lnTo>
                    <a:pt x="1229" y="741"/>
                  </a:lnTo>
                  <a:lnTo>
                    <a:pt x="1232" y="761"/>
                  </a:lnTo>
                  <a:lnTo>
                    <a:pt x="1218" y="762"/>
                  </a:lnTo>
                  <a:lnTo>
                    <a:pt x="1206" y="765"/>
                  </a:lnTo>
                  <a:lnTo>
                    <a:pt x="1206" y="780"/>
                  </a:lnTo>
                  <a:lnTo>
                    <a:pt x="1206" y="793"/>
                  </a:lnTo>
                  <a:lnTo>
                    <a:pt x="1209" y="805"/>
                  </a:lnTo>
                  <a:lnTo>
                    <a:pt x="1211" y="816"/>
                  </a:lnTo>
                  <a:lnTo>
                    <a:pt x="1214" y="826"/>
                  </a:lnTo>
                  <a:lnTo>
                    <a:pt x="1218" y="834"/>
                  </a:lnTo>
                  <a:lnTo>
                    <a:pt x="1224" y="840"/>
                  </a:lnTo>
                  <a:lnTo>
                    <a:pt x="1229" y="845"/>
                  </a:lnTo>
                  <a:lnTo>
                    <a:pt x="1237" y="851"/>
                  </a:lnTo>
                  <a:lnTo>
                    <a:pt x="1245" y="853"/>
                  </a:lnTo>
                  <a:lnTo>
                    <a:pt x="1255" y="856"/>
                  </a:lnTo>
                  <a:lnTo>
                    <a:pt x="1266" y="858"/>
                  </a:lnTo>
                  <a:lnTo>
                    <a:pt x="1278" y="858"/>
                  </a:lnTo>
                  <a:lnTo>
                    <a:pt x="1289" y="858"/>
                  </a:lnTo>
                  <a:lnTo>
                    <a:pt x="1304" y="858"/>
                  </a:lnTo>
                  <a:lnTo>
                    <a:pt x="1319" y="857"/>
                  </a:lnTo>
                  <a:lnTo>
                    <a:pt x="1327" y="847"/>
                  </a:lnTo>
                  <a:lnTo>
                    <a:pt x="1333" y="840"/>
                  </a:lnTo>
                  <a:lnTo>
                    <a:pt x="1340" y="835"/>
                  </a:lnTo>
                  <a:lnTo>
                    <a:pt x="1346" y="831"/>
                  </a:lnTo>
                  <a:lnTo>
                    <a:pt x="1354" y="830"/>
                  </a:lnTo>
                  <a:lnTo>
                    <a:pt x="1363" y="830"/>
                  </a:lnTo>
                  <a:lnTo>
                    <a:pt x="1374" y="831"/>
                  </a:lnTo>
                  <a:lnTo>
                    <a:pt x="1387" y="832"/>
                  </a:lnTo>
                  <a:lnTo>
                    <a:pt x="1391" y="839"/>
                  </a:lnTo>
                  <a:lnTo>
                    <a:pt x="1397" y="844"/>
                  </a:lnTo>
                  <a:lnTo>
                    <a:pt x="1404" y="851"/>
                  </a:lnTo>
                  <a:lnTo>
                    <a:pt x="1412" y="856"/>
                  </a:lnTo>
                  <a:lnTo>
                    <a:pt x="1419" y="860"/>
                  </a:lnTo>
                  <a:lnTo>
                    <a:pt x="1428" y="865"/>
                  </a:lnTo>
                  <a:lnTo>
                    <a:pt x="1438" y="869"/>
                  </a:lnTo>
                  <a:lnTo>
                    <a:pt x="1447" y="871"/>
                  </a:lnTo>
                  <a:lnTo>
                    <a:pt x="1457" y="874"/>
                  </a:lnTo>
                  <a:lnTo>
                    <a:pt x="1466" y="877"/>
                  </a:lnTo>
                  <a:lnTo>
                    <a:pt x="1477" y="877"/>
                  </a:lnTo>
                  <a:lnTo>
                    <a:pt x="1486" y="878"/>
                  </a:lnTo>
                  <a:lnTo>
                    <a:pt x="1496" y="877"/>
                  </a:lnTo>
                  <a:lnTo>
                    <a:pt x="1505" y="875"/>
                  </a:lnTo>
                  <a:lnTo>
                    <a:pt x="1513" y="874"/>
                  </a:lnTo>
                  <a:lnTo>
                    <a:pt x="1521" y="870"/>
                  </a:lnTo>
                  <a:lnTo>
                    <a:pt x="1521" y="864"/>
                  </a:lnTo>
                  <a:lnTo>
                    <a:pt x="1521" y="857"/>
                  </a:lnTo>
                  <a:lnTo>
                    <a:pt x="1533" y="857"/>
                  </a:lnTo>
                  <a:lnTo>
                    <a:pt x="1544" y="855"/>
                  </a:lnTo>
                  <a:lnTo>
                    <a:pt x="1555" y="852"/>
                  </a:lnTo>
                  <a:lnTo>
                    <a:pt x="1565" y="848"/>
                  </a:lnTo>
                  <a:lnTo>
                    <a:pt x="1586" y="839"/>
                  </a:lnTo>
                  <a:lnTo>
                    <a:pt x="1605" y="829"/>
                  </a:lnTo>
                  <a:lnTo>
                    <a:pt x="1635" y="831"/>
                  </a:lnTo>
                  <a:lnTo>
                    <a:pt x="1660" y="832"/>
                  </a:lnTo>
                  <a:lnTo>
                    <a:pt x="1670" y="832"/>
                  </a:lnTo>
                  <a:lnTo>
                    <a:pt x="1680" y="832"/>
                  </a:lnTo>
                  <a:lnTo>
                    <a:pt x="1687" y="831"/>
                  </a:lnTo>
                  <a:lnTo>
                    <a:pt x="1694" y="829"/>
                  </a:lnTo>
                  <a:lnTo>
                    <a:pt x="1700" y="825"/>
                  </a:lnTo>
                  <a:lnTo>
                    <a:pt x="1704" y="821"/>
                  </a:lnTo>
                  <a:lnTo>
                    <a:pt x="1708" y="814"/>
                  </a:lnTo>
                  <a:lnTo>
                    <a:pt x="1712" y="806"/>
                  </a:lnTo>
                  <a:lnTo>
                    <a:pt x="1715" y="797"/>
                  </a:lnTo>
                  <a:lnTo>
                    <a:pt x="1716" y="786"/>
                  </a:lnTo>
                  <a:lnTo>
                    <a:pt x="1717" y="771"/>
                  </a:lnTo>
                  <a:lnTo>
                    <a:pt x="1717" y="756"/>
                  </a:lnTo>
                  <a:lnTo>
                    <a:pt x="1704" y="728"/>
                  </a:lnTo>
                  <a:lnTo>
                    <a:pt x="1691" y="701"/>
                  </a:lnTo>
                  <a:lnTo>
                    <a:pt x="1678" y="672"/>
                  </a:lnTo>
                  <a:lnTo>
                    <a:pt x="1665" y="645"/>
                  </a:lnTo>
                  <a:lnTo>
                    <a:pt x="1665" y="633"/>
                  </a:lnTo>
                  <a:lnTo>
                    <a:pt x="1668" y="622"/>
                  </a:lnTo>
                  <a:lnTo>
                    <a:pt x="1669" y="611"/>
                  </a:lnTo>
                  <a:lnTo>
                    <a:pt x="1673" y="602"/>
                  </a:lnTo>
                  <a:lnTo>
                    <a:pt x="1677" y="593"/>
                  </a:lnTo>
                  <a:lnTo>
                    <a:pt x="1682" y="585"/>
                  </a:lnTo>
                  <a:lnTo>
                    <a:pt x="1689" y="577"/>
                  </a:lnTo>
                  <a:lnTo>
                    <a:pt x="1695" y="571"/>
                  </a:lnTo>
                  <a:lnTo>
                    <a:pt x="1703" y="566"/>
                  </a:lnTo>
                  <a:lnTo>
                    <a:pt x="1711" y="559"/>
                  </a:lnTo>
                  <a:lnTo>
                    <a:pt x="1720" y="555"/>
                  </a:lnTo>
                  <a:lnTo>
                    <a:pt x="1729" y="551"/>
                  </a:lnTo>
                  <a:lnTo>
                    <a:pt x="1749" y="545"/>
                  </a:lnTo>
                  <a:lnTo>
                    <a:pt x="1771" y="540"/>
                  </a:lnTo>
                  <a:lnTo>
                    <a:pt x="1803" y="549"/>
                  </a:lnTo>
                  <a:lnTo>
                    <a:pt x="1833" y="557"/>
                  </a:lnTo>
                  <a:lnTo>
                    <a:pt x="1863" y="564"/>
                  </a:lnTo>
                  <a:lnTo>
                    <a:pt x="1892" y="571"/>
                  </a:lnTo>
                  <a:lnTo>
                    <a:pt x="1922" y="576"/>
                  </a:lnTo>
                  <a:lnTo>
                    <a:pt x="1951" y="580"/>
                  </a:lnTo>
                  <a:lnTo>
                    <a:pt x="1983" y="583"/>
                  </a:lnTo>
                  <a:lnTo>
                    <a:pt x="2015" y="583"/>
                  </a:lnTo>
                  <a:lnTo>
                    <a:pt x="2017" y="574"/>
                  </a:lnTo>
                  <a:lnTo>
                    <a:pt x="2019" y="567"/>
                  </a:lnTo>
                  <a:lnTo>
                    <a:pt x="2033" y="562"/>
                  </a:lnTo>
                  <a:lnTo>
                    <a:pt x="2048" y="558"/>
                  </a:lnTo>
                  <a:lnTo>
                    <a:pt x="2063" y="554"/>
                  </a:lnTo>
                  <a:lnTo>
                    <a:pt x="2079" y="551"/>
                  </a:lnTo>
                  <a:lnTo>
                    <a:pt x="2102" y="566"/>
                  </a:lnTo>
                  <a:lnTo>
                    <a:pt x="2137" y="585"/>
                  </a:lnTo>
                  <a:lnTo>
                    <a:pt x="2188" y="615"/>
                  </a:lnTo>
                  <a:lnTo>
                    <a:pt x="2261" y="663"/>
                  </a:lnTo>
                  <a:lnTo>
                    <a:pt x="2268" y="674"/>
                  </a:lnTo>
                  <a:lnTo>
                    <a:pt x="2274" y="687"/>
                  </a:lnTo>
                  <a:lnTo>
                    <a:pt x="2279" y="698"/>
                  </a:lnTo>
                  <a:lnTo>
                    <a:pt x="2283" y="711"/>
                  </a:lnTo>
                  <a:lnTo>
                    <a:pt x="2288" y="736"/>
                  </a:lnTo>
                  <a:lnTo>
                    <a:pt x="2294" y="764"/>
                  </a:lnTo>
                  <a:lnTo>
                    <a:pt x="2298" y="790"/>
                  </a:lnTo>
                  <a:lnTo>
                    <a:pt x="2303" y="816"/>
                  </a:lnTo>
                  <a:lnTo>
                    <a:pt x="2305" y="829"/>
                  </a:lnTo>
                  <a:lnTo>
                    <a:pt x="2309" y="842"/>
                  </a:lnTo>
                  <a:lnTo>
                    <a:pt x="2313" y="853"/>
                  </a:lnTo>
                  <a:lnTo>
                    <a:pt x="2317" y="865"/>
                  </a:lnTo>
                  <a:lnTo>
                    <a:pt x="2324" y="866"/>
                  </a:lnTo>
                  <a:lnTo>
                    <a:pt x="2331" y="869"/>
                  </a:lnTo>
                  <a:lnTo>
                    <a:pt x="2338" y="894"/>
                  </a:lnTo>
                  <a:lnTo>
                    <a:pt x="2346" y="918"/>
                  </a:lnTo>
                  <a:lnTo>
                    <a:pt x="2348" y="930"/>
                  </a:lnTo>
                  <a:lnTo>
                    <a:pt x="2350" y="943"/>
                  </a:lnTo>
                  <a:lnTo>
                    <a:pt x="2350" y="955"/>
                  </a:lnTo>
                  <a:lnTo>
                    <a:pt x="2348" y="969"/>
                  </a:lnTo>
                  <a:lnTo>
                    <a:pt x="2342" y="970"/>
                  </a:lnTo>
                  <a:lnTo>
                    <a:pt x="2334" y="970"/>
                  </a:lnTo>
                  <a:lnTo>
                    <a:pt x="2325" y="969"/>
                  </a:lnTo>
                  <a:lnTo>
                    <a:pt x="2316" y="968"/>
                  </a:lnTo>
                  <a:lnTo>
                    <a:pt x="2298" y="963"/>
                  </a:lnTo>
                  <a:lnTo>
                    <a:pt x="2278" y="953"/>
                  </a:lnTo>
                  <a:lnTo>
                    <a:pt x="2268" y="950"/>
                  </a:lnTo>
                  <a:lnTo>
                    <a:pt x="2260" y="943"/>
                  </a:lnTo>
                  <a:lnTo>
                    <a:pt x="2251" y="938"/>
                  </a:lnTo>
                  <a:lnTo>
                    <a:pt x="2244" y="931"/>
                  </a:lnTo>
                  <a:lnTo>
                    <a:pt x="2238" y="925"/>
                  </a:lnTo>
                  <a:lnTo>
                    <a:pt x="2232" y="917"/>
                  </a:lnTo>
                  <a:lnTo>
                    <a:pt x="2229" y="911"/>
                  </a:lnTo>
                  <a:lnTo>
                    <a:pt x="2227" y="903"/>
                  </a:lnTo>
                  <a:lnTo>
                    <a:pt x="2192" y="896"/>
                  </a:lnTo>
                  <a:lnTo>
                    <a:pt x="2158" y="891"/>
                  </a:lnTo>
                  <a:lnTo>
                    <a:pt x="2143" y="890"/>
                  </a:lnTo>
                  <a:lnTo>
                    <a:pt x="2128" y="888"/>
                  </a:lnTo>
                  <a:lnTo>
                    <a:pt x="2118" y="888"/>
                  </a:lnTo>
                  <a:lnTo>
                    <a:pt x="2111" y="890"/>
                  </a:lnTo>
                  <a:lnTo>
                    <a:pt x="2113" y="899"/>
                  </a:lnTo>
                  <a:lnTo>
                    <a:pt x="2115" y="909"/>
                  </a:lnTo>
                  <a:lnTo>
                    <a:pt x="2132" y="917"/>
                  </a:lnTo>
                  <a:lnTo>
                    <a:pt x="2148" y="926"/>
                  </a:lnTo>
                  <a:lnTo>
                    <a:pt x="2164" y="935"/>
                  </a:lnTo>
                  <a:lnTo>
                    <a:pt x="2178" y="946"/>
                  </a:lnTo>
                  <a:lnTo>
                    <a:pt x="2206" y="966"/>
                  </a:lnTo>
                  <a:lnTo>
                    <a:pt x="2232" y="990"/>
                  </a:lnTo>
                  <a:lnTo>
                    <a:pt x="2258" y="1012"/>
                  </a:lnTo>
                  <a:lnTo>
                    <a:pt x="2283" y="1035"/>
                  </a:lnTo>
                  <a:lnTo>
                    <a:pt x="2309" y="1058"/>
                  </a:lnTo>
                  <a:lnTo>
                    <a:pt x="2337" y="1078"/>
                  </a:lnTo>
                  <a:lnTo>
                    <a:pt x="2352" y="1077"/>
                  </a:lnTo>
                  <a:lnTo>
                    <a:pt x="2369" y="1077"/>
                  </a:lnTo>
                  <a:lnTo>
                    <a:pt x="2368" y="1063"/>
                  </a:lnTo>
                  <a:lnTo>
                    <a:pt x="2368" y="1050"/>
                  </a:lnTo>
                  <a:lnTo>
                    <a:pt x="2373" y="1052"/>
                  </a:lnTo>
                  <a:lnTo>
                    <a:pt x="2381" y="1055"/>
                  </a:lnTo>
                  <a:lnTo>
                    <a:pt x="2378" y="1074"/>
                  </a:lnTo>
                  <a:lnTo>
                    <a:pt x="2373" y="1091"/>
                  </a:lnTo>
                  <a:lnTo>
                    <a:pt x="2370" y="1100"/>
                  </a:lnTo>
                  <a:lnTo>
                    <a:pt x="2368" y="1111"/>
                  </a:lnTo>
                  <a:lnTo>
                    <a:pt x="2366" y="1121"/>
                  </a:lnTo>
                  <a:lnTo>
                    <a:pt x="2365" y="1134"/>
                  </a:lnTo>
                  <a:lnTo>
                    <a:pt x="2382" y="1137"/>
                  </a:lnTo>
                  <a:lnTo>
                    <a:pt x="2400" y="1139"/>
                  </a:lnTo>
                  <a:lnTo>
                    <a:pt x="2403" y="1150"/>
                  </a:lnTo>
                  <a:lnTo>
                    <a:pt x="2407" y="1160"/>
                  </a:lnTo>
                  <a:lnTo>
                    <a:pt x="2412" y="1169"/>
                  </a:lnTo>
                  <a:lnTo>
                    <a:pt x="2417" y="1180"/>
                  </a:lnTo>
                  <a:lnTo>
                    <a:pt x="2429" y="1198"/>
                  </a:lnTo>
                  <a:lnTo>
                    <a:pt x="2443" y="1214"/>
                  </a:lnTo>
                  <a:lnTo>
                    <a:pt x="2459" y="1231"/>
                  </a:lnTo>
                  <a:lnTo>
                    <a:pt x="2477" y="1245"/>
                  </a:lnTo>
                  <a:lnTo>
                    <a:pt x="2495" y="1258"/>
                  </a:lnTo>
                  <a:lnTo>
                    <a:pt x="2515" y="1270"/>
                  </a:lnTo>
                  <a:lnTo>
                    <a:pt x="2536" y="1281"/>
                  </a:lnTo>
                  <a:lnTo>
                    <a:pt x="2556" y="1290"/>
                  </a:lnTo>
                  <a:lnTo>
                    <a:pt x="2577" y="1299"/>
                  </a:lnTo>
                  <a:lnTo>
                    <a:pt x="2599" y="1307"/>
                  </a:lnTo>
                  <a:lnTo>
                    <a:pt x="2621" y="1314"/>
                  </a:lnTo>
                  <a:lnTo>
                    <a:pt x="2642" y="1319"/>
                  </a:lnTo>
                  <a:lnTo>
                    <a:pt x="2663" y="1323"/>
                  </a:lnTo>
                  <a:lnTo>
                    <a:pt x="2683" y="1327"/>
                  </a:lnTo>
                  <a:lnTo>
                    <a:pt x="2688" y="1316"/>
                  </a:lnTo>
                  <a:lnTo>
                    <a:pt x="2693" y="1305"/>
                  </a:lnTo>
                  <a:lnTo>
                    <a:pt x="2697" y="1293"/>
                  </a:lnTo>
                  <a:lnTo>
                    <a:pt x="2700" y="1281"/>
                  </a:lnTo>
                  <a:lnTo>
                    <a:pt x="2703" y="1257"/>
                  </a:lnTo>
                  <a:lnTo>
                    <a:pt x="2705" y="1231"/>
                  </a:lnTo>
                  <a:lnTo>
                    <a:pt x="2705" y="1205"/>
                  </a:lnTo>
                  <a:lnTo>
                    <a:pt x="2702" y="1176"/>
                  </a:lnTo>
                  <a:lnTo>
                    <a:pt x="2700" y="1149"/>
                  </a:lnTo>
                  <a:lnTo>
                    <a:pt x="2697" y="1120"/>
                  </a:lnTo>
                  <a:lnTo>
                    <a:pt x="2693" y="1091"/>
                  </a:lnTo>
                  <a:lnTo>
                    <a:pt x="2690" y="1064"/>
                  </a:lnTo>
                  <a:lnTo>
                    <a:pt x="2688" y="1037"/>
                  </a:lnTo>
                  <a:lnTo>
                    <a:pt x="2687" y="1009"/>
                  </a:lnTo>
                  <a:lnTo>
                    <a:pt x="2688" y="982"/>
                  </a:lnTo>
                  <a:lnTo>
                    <a:pt x="2690" y="957"/>
                  </a:lnTo>
                  <a:lnTo>
                    <a:pt x="2693" y="946"/>
                  </a:lnTo>
                  <a:lnTo>
                    <a:pt x="2697" y="934"/>
                  </a:lnTo>
                  <a:lnTo>
                    <a:pt x="2701" y="922"/>
                  </a:lnTo>
                  <a:lnTo>
                    <a:pt x="2706" y="911"/>
                  </a:lnTo>
                  <a:lnTo>
                    <a:pt x="2719" y="904"/>
                  </a:lnTo>
                  <a:lnTo>
                    <a:pt x="2729" y="900"/>
                  </a:lnTo>
                  <a:lnTo>
                    <a:pt x="2742" y="897"/>
                  </a:lnTo>
                  <a:lnTo>
                    <a:pt x="2766" y="896"/>
                  </a:lnTo>
                  <a:lnTo>
                    <a:pt x="2762" y="904"/>
                  </a:lnTo>
                  <a:lnTo>
                    <a:pt x="2757" y="909"/>
                  </a:lnTo>
                  <a:lnTo>
                    <a:pt x="2746" y="917"/>
                  </a:lnTo>
                  <a:lnTo>
                    <a:pt x="2727" y="929"/>
                  </a:lnTo>
                  <a:lnTo>
                    <a:pt x="2726" y="947"/>
                  </a:lnTo>
                  <a:lnTo>
                    <a:pt x="2726" y="966"/>
                  </a:lnTo>
                  <a:lnTo>
                    <a:pt x="2745" y="981"/>
                  </a:lnTo>
                  <a:lnTo>
                    <a:pt x="2767" y="995"/>
                  </a:lnTo>
                  <a:lnTo>
                    <a:pt x="2788" y="1011"/>
                  </a:lnTo>
                  <a:lnTo>
                    <a:pt x="2810" y="1025"/>
                  </a:lnTo>
                  <a:lnTo>
                    <a:pt x="2810" y="1030"/>
                  </a:lnTo>
                  <a:lnTo>
                    <a:pt x="2810" y="1038"/>
                  </a:lnTo>
                  <a:lnTo>
                    <a:pt x="2849" y="1039"/>
                  </a:lnTo>
                  <a:lnTo>
                    <a:pt x="2892" y="1038"/>
                  </a:lnTo>
                  <a:lnTo>
                    <a:pt x="2913" y="1037"/>
                  </a:lnTo>
                  <a:lnTo>
                    <a:pt x="2932" y="1033"/>
                  </a:lnTo>
                  <a:lnTo>
                    <a:pt x="2943" y="1030"/>
                  </a:lnTo>
                  <a:lnTo>
                    <a:pt x="2951" y="1028"/>
                  </a:lnTo>
                  <a:lnTo>
                    <a:pt x="2958" y="1024"/>
                  </a:lnTo>
                  <a:lnTo>
                    <a:pt x="2965" y="1018"/>
                  </a:lnTo>
                  <a:lnTo>
                    <a:pt x="2970" y="1003"/>
                  </a:lnTo>
                  <a:lnTo>
                    <a:pt x="2974" y="989"/>
                  </a:lnTo>
                  <a:lnTo>
                    <a:pt x="2979" y="976"/>
                  </a:lnTo>
                  <a:lnTo>
                    <a:pt x="2986" y="964"/>
                  </a:lnTo>
                  <a:lnTo>
                    <a:pt x="2991" y="952"/>
                  </a:lnTo>
                  <a:lnTo>
                    <a:pt x="2997" y="943"/>
                  </a:lnTo>
                  <a:lnTo>
                    <a:pt x="3004" y="935"/>
                  </a:lnTo>
                  <a:lnTo>
                    <a:pt x="3010" y="927"/>
                  </a:lnTo>
                  <a:lnTo>
                    <a:pt x="3018" y="921"/>
                  </a:lnTo>
                  <a:lnTo>
                    <a:pt x="3026" y="916"/>
                  </a:lnTo>
                  <a:lnTo>
                    <a:pt x="3034" y="912"/>
                  </a:lnTo>
                  <a:lnTo>
                    <a:pt x="3042" y="908"/>
                  </a:lnTo>
                  <a:lnTo>
                    <a:pt x="3050" y="904"/>
                  </a:lnTo>
                  <a:lnTo>
                    <a:pt x="3059" y="903"/>
                  </a:lnTo>
                  <a:lnTo>
                    <a:pt x="3068" y="901"/>
                  </a:lnTo>
                  <a:lnTo>
                    <a:pt x="3077" y="900"/>
                  </a:lnTo>
                  <a:lnTo>
                    <a:pt x="3096" y="900"/>
                  </a:lnTo>
                  <a:lnTo>
                    <a:pt x="3116" y="901"/>
                  </a:lnTo>
                  <a:lnTo>
                    <a:pt x="3138" y="904"/>
                  </a:lnTo>
                  <a:lnTo>
                    <a:pt x="3159" y="908"/>
                  </a:lnTo>
                  <a:lnTo>
                    <a:pt x="3204" y="916"/>
                  </a:lnTo>
                  <a:lnTo>
                    <a:pt x="3252" y="922"/>
                  </a:lnTo>
                  <a:lnTo>
                    <a:pt x="3252" y="931"/>
                  </a:lnTo>
                  <a:lnTo>
                    <a:pt x="3252" y="942"/>
                  </a:lnTo>
                  <a:lnTo>
                    <a:pt x="3263" y="942"/>
                  </a:lnTo>
                  <a:lnTo>
                    <a:pt x="3272" y="939"/>
                  </a:lnTo>
                  <a:lnTo>
                    <a:pt x="3280" y="935"/>
                  </a:lnTo>
                  <a:lnTo>
                    <a:pt x="3286" y="931"/>
                  </a:lnTo>
                  <a:lnTo>
                    <a:pt x="3290" y="924"/>
                  </a:lnTo>
                  <a:lnTo>
                    <a:pt x="3293" y="916"/>
                  </a:lnTo>
                  <a:lnTo>
                    <a:pt x="3294" y="905"/>
                  </a:lnTo>
                  <a:lnTo>
                    <a:pt x="3293" y="894"/>
                  </a:lnTo>
                  <a:lnTo>
                    <a:pt x="3282" y="890"/>
                  </a:lnTo>
                  <a:lnTo>
                    <a:pt x="3273" y="888"/>
                  </a:lnTo>
                  <a:lnTo>
                    <a:pt x="3263" y="887"/>
                  </a:lnTo>
                  <a:lnTo>
                    <a:pt x="3252" y="887"/>
                  </a:lnTo>
                  <a:lnTo>
                    <a:pt x="3232" y="888"/>
                  </a:lnTo>
                  <a:lnTo>
                    <a:pt x="3212" y="890"/>
                  </a:lnTo>
                  <a:lnTo>
                    <a:pt x="3207" y="882"/>
                  </a:lnTo>
                  <a:lnTo>
                    <a:pt x="3206" y="877"/>
                  </a:lnTo>
                  <a:lnTo>
                    <a:pt x="3204" y="871"/>
                  </a:lnTo>
                  <a:lnTo>
                    <a:pt x="3206" y="862"/>
                  </a:lnTo>
                  <a:lnTo>
                    <a:pt x="3251" y="836"/>
                  </a:lnTo>
                  <a:lnTo>
                    <a:pt x="3301" y="809"/>
                  </a:lnTo>
                  <a:lnTo>
                    <a:pt x="3312" y="804"/>
                  </a:lnTo>
                  <a:lnTo>
                    <a:pt x="3324" y="800"/>
                  </a:lnTo>
                  <a:lnTo>
                    <a:pt x="3336" y="799"/>
                  </a:lnTo>
                  <a:lnTo>
                    <a:pt x="3347" y="799"/>
                  </a:lnTo>
                  <a:lnTo>
                    <a:pt x="3353" y="800"/>
                  </a:lnTo>
                  <a:lnTo>
                    <a:pt x="3358" y="801"/>
                  </a:lnTo>
                  <a:lnTo>
                    <a:pt x="3362" y="804"/>
                  </a:lnTo>
                  <a:lnTo>
                    <a:pt x="3367" y="806"/>
                  </a:lnTo>
                  <a:lnTo>
                    <a:pt x="3372" y="810"/>
                  </a:lnTo>
                  <a:lnTo>
                    <a:pt x="3376" y="814"/>
                  </a:lnTo>
                  <a:lnTo>
                    <a:pt x="3381" y="821"/>
                  </a:lnTo>
                  <a:lnTo>
                    <a:pt x="3385" y="826"/>
                  </a:lnTo>
                  <a:lnTo>
                    <a:pt x="3392" y="826"/>
                  </a:lnTo>
                  <a:lnTo>
                    <a:pt x="3401" y="826"/>
                  </a:lnTo>
                  <a:lnTo>
                    <a:pt x="3419" y="813"/>
                  </a:lnTo>
                  <a:lnTo>
                    <a:pt x="3444" y="793"/>
                  </a:lnTo>
                  <a:lnTo>
                    <a:pt x="3448" y="788"/>
                  </a:lnTo>
                  <a:lnTo>
                    <a:pt x="3452" y="783"/>
                  </a:lnTo>
                  <a:lnTo>
                    <a:pt x="3454" y="778"/>
                  </a:lnTo>
                  <a:lnTo>
                    <a:pt x="3454" y="773"/>
                  </a:lnTo>
                  <a:lnTo>
                    <a:pt x="3453" y="767"/>
                  </a:lnTo>
                  <a:lnTo>
                    <a:pt x="3449" y="764"/>
                  </a:lnTo>
                  <a:lnTo>
                    <a:pt x="3442" y="760"/>
                  </a:lnTo>
                  <a:lnTo>
                    <a:pt x="3433" y="756"/>
                  </a:lnTo>
                  <a:lnTo>
                    <a:pt x="3425" y="730"/>
                  </a:lnTo>
                  <a:lnTo>
                    <a:pt x="3416" y="708"/>
                  </a:lnTo>
                  <a:lnTo>
                    <a:pt x="3407" y="685"/>
                  </a:lnTo>
                  <a:lnTo>
                    <a:pt x="3398" y="665"/>
                  </a:lnTo>
                  <a:lnTo>
                    <a:pt x="3389" y="644"/>
                  </a:lnTo>
                  <a:lnTo>
                    <a:pt x="3380" y="622"/>
                  </a:lnTo>
                  <a:lnTo>
                    <a:pt x="3373" y="597"/>
                  </a:lnTo>
                  <a:lnTo>
                    <a:pt x="3367" y="571"/>
                  </a:lnTo>
                  <a:lnTo>
                    <a:pt x="3354" y="570"/>
                  </a:lnTo>
                  <a:lnTo>
                    <a:pt x="3342" y="570"/>
                  </a:lnTo>
                  <a:lnTo>
                    <a:pt x="3334" y="572"/>
                  </a:lnTo>
                  <a:lnTo>
                    <a:pt x="3327" y="576"/>
                  </a:lnTo>
                  <a:lnTo>
                    <a:pt x="3320" y="580"/>
                  </a:lnTo>
                  <a:lnTo>
                    <a:pt x="3314" y="584"/>
                  </a:lnTo>
                  <a:lnTo>
                    <a:pt x="3306" y="587"/>
                  </a:lnTo>
                  <a:lnTo>
                    <a:pt x="3297" y="588"/>
                  </a:lnTo>
                  <a:lnTo>
                    <a:pt x="3290" y="564"/>
                  </a:lnTo>
                  <a:lnTo>
                    <a:pt x="3288" y="546"/>
                  </a:lnTo>
                  <a:lnTo>
                    <a:pt x="3286" y="523"/>
                  </a:lnTo>
                  <a:lnTo>
                    <a:pt x="3285" y="486"/>
                  </a:lnTo>
                  <a:lnTo>
                    <a:pt x="3311" y="485"/>
                  </a:lnTo>
                  <a:lnTo>
                    <a:pt x="3334" y="483"/>
                  </a:lnTo>
                  <a:lnTo>
                    <a:pt x="3345" y="480"/>
                  </a:lnTo>
                  <a:lnTo>
                    <a:pt x="3354" y="477"/>
                  </a:lnTo>
                  <a:lnTo>
                    <a:pt x="3363" y="473"/>
                  </a:lnTo>
                  <a:lnTo>
                    <a:pt x="3371" y="469"/>
                  </a:lnTo>
                  <a:lnTo>
                    <a:pt x="3379" y="463"/>
                  </a:lnTo>
                  <a:lnTo>
                    <a:pt x="3385" y="458"/>
                  </a:lnTo>
                  <a:lnTo>
                    <a:pt x="3392" y="450"/>
                  </a:lnTo>
                  <a:lnTo>
                    <a:pt x="3397" y="441"/>
                  </a:lnTo>
                  <a:lnTo>
                    <a:pt x="3402" y="432"/>
                  </a:lnTo>
                  <a:lnTo>
                    <a:pt x="3407" y="421"/>
                  </a:lnTo>
                  <a:lnTo>
                    <a:pt x="3411" y="408"/>
                  </a:lnTo>
                  <a:lnTo>
                    <a:pt x="3415" y="395"/>
                  </a:lnTo>
                  <a:lnTo>
                    <a:pt x="3390" y="365"/>
                  </a:lnTo>
                  <a:lnTo>
                    <a:pt x="3376" y="349"/>
                  </a:lnTo>
                  <a:lnTo>
                    <a:pt x="3371" y="339"/>
                  </a:lnTo>
                  <a:lnTo>
                    <a:pt x="3367" y="332"/>
                  </a:lnTo>
                  <a:lnTo>
                    <a:pt x="3383" y="330"/>
                  </a:lnTo>
                  <a:lnTo>
                    <a:pt x="3397" y="329"/>
                  </a:lnTo>
                  <a:lnTo>
                    <a:pt x="3411" y="329"/>
                  </a:lnTo>
                  <a:lnTo>
                    <a:pt x="3425" y="328"/>
                  </a:lnTo>
                  <a:lnTo>
                    <a:pt x="3440" y="332"/>
                  </a:lnTo>
                  <a:lnTo>
                    <a:pt x="3454" y="333"/>
                  </a:lnTo>
                  <a:lnTo>
                    <a:pt x="3468" y="333"/>
                  </a:lnTo>
                  <a:lnTo>
                    <a:pt x="3484" y="332"/>
                  </a:lnTo>
                  <a:lnTo>
                    <a:pt x="3500" y="330"/>
                  </a:lnTo>
                  <a:lnTo>
                    <a:pt x="3515" y="328"/>
                  </a:lnTo>
                  <a:lnTo>
                    <a:pt x="3531" y="324"/>
                  </a:lnTo>
                  <a:lnTo>
                    <a:pt x="3546" y="320"/>
                  </a:lnTo>
                  <a:lnTo>
                    <a:pt x="3578" y="309"/>
                  </a:lnTo>
                  <a:lnTo>
                    <a:pt x="3612" y="298"/>
                  </a:lnTo>
                  <a:lnTo>
                    <a:pt x="3644" y="285"/>
                  </a:lnTo>
                  <a:lnTo>
                    <a:pt x="3678" y="270"/>
                  </a:lnTo>
                  <a:lnTo>
                    <a:pt x="3712" y="256"/>
                  </a:lnTo>
                  <a:lnTo>
                    <a:pt x="3746" y="243"/>
                  </a:lnTo>
                  <a:lnTo>
                    <a:pt x="3781" y="233"/>
                  </a:lnTo>
                  <a:lnTo>
                    <a:pt x="3814" y="224"/>
                  </a:lnTo>
                  <a:lnTo>
                    <a:pt x="3833" y="220"/>
                  </a:lnTo>
                  <a:lnTo>
                    <a:pt x="3850" y="217"/>
                  </a:lnTo>
                  <a:lnTo>
                    <a:pt x="3867" y="215"/>
                  </a:lnTo>
                  <a:lnTo>
                    <a:pt x="3883" y="215"/>
                  </a:lnTo>
                  <a:lnTo>
                    <a:pt x="3902" y="215"/>
                  </a:lnTo>
                  <a:lnTo>
                    <a:pt x="3919" y="216"/>
                  </a:lnTo>
                  <a:lnTo>
                    <a:pt x="3935" y="218"/>
                  </a:lnTo>
                  <a:lnTo>
                    <a:pt x="3952" y="222"/>
                  </a:lnTo>
                  <a:lnTo>
                    <a:pt x="3945" y="233"/>
                  </a:lnTo>
                  <a:lnTo>
                    <a:pt x="3937" y="241"/>
                  </a:lnTo>
                  <a:lnTo>
                    <a:pt x="3928" y="248"/>
                  </a:lnTo>
                  <a:lnTo>
                    <a:pt x="3919" y="255"/>
                  </a:lnTo>
                  <a:lnTo>
                    <a:pt x="3908" y="261"/>
                  </a:lnTo>
                  <a:lnTo>
                    <a:pt x="3898" y="265"/>
                  </a:lnTo>
                  <a:lnTo>
                    <a:pt x="3886" y="269"/>
                  </a:lnTo>
                  <a:lnTo>
                    <a:pt x="3876" y="273"/>
                  </a:lnTo>
                  <a:lnTo>
                    <a:pt x="3852" y="278"/>
                  </a:lnTo>
                  <a:lnTo>
                    <a:pt x="3827" y="281"/>
                  </a:lnTo>
                  <a:lnTo>
                    <a:pt x="3804" y="283"/>
                  </a:lnTo>
                  <a:lnTo>
                    <a:pt x="3781" y="286"/>
                  </a:lnTo>
                  <a:lnTo>
                    <a:pt x="3773" y="299"/>
                  </a:lnTo>
                  <a:lnTo>
                    <a:pt x="3768" y="312"/>
                  </a:lnTo>
                  <a:lnTo>
                    <a:pt x="3764" y="324"/>
                  </a:lnTo>
                  <a:lnTo>
                    <a:pt x="3762" y="337"/>
                  </a:lnTo>
                  <a:lnTo>
                    <a:pt x="3762" y="364"/>
                  </a:lnTo>
                  <a:lnTo>
                    <a:pt x="3764" y="395"/>
                  </a:lnTo>
                  <a:lnTo>
                    <a:pt x="3770" y="395"/>
                  </a:lnTo>
                  <a:lnTo>
                    <a:pt x="3778" y="393"/>
                  </a:lnTo>
                  <a:lnTo>
                    <a:pt x="3785" y="390"/>
                  </a:lnTo>
                  <a:lnTo>
                    <a:pt x="3791" y="388"/>
                  </a:lnTo>
                  <a:lnTo>
                    <a:pt x="3803" y="378"/>
                  </a:lnTo>
                  <a:lnTo>
                    <a:pt x="3814" y="367"/>
                  </a:lnTo>
                  <a:lnTo>
                    <a:pt x="3826" y="355"/>
                  </a:lnTo>
                  <a:lnTo>
                    <a:pt x="3838" y="342"/>
                  </a:lnTo>
                  <a:lnTo>
                    <a:pt x="3850" y="330"/>
                  </a:lnTo>
                  <a:lnTo>
                    <a:pt x="3861" y="321"/>
                  </a:lnTo>
                  <a:lnTo>
                    <a:pt x="3915" y="295"/>
                  </a:lnTo>
                  <a:lnTo>
                    <a:pt x="3943" y="282"/>
                  </a:lnTo>
                  <a:lnTo>
                    <a:pt x="3952" y="278"/>
                  </a:lnTo>
                  <a:lnTo>
                    <a:pt x="3959" y="276"/>
                  </a:lnTo>
                  <a:lnTo>
                    <a:pt x="3965" y="276"/>
                  </a:lnTo>
                  <a:lnTo>
                    <a:pt x="3972" y="274"/>
                  </a:lnTo>
                  <a:lnTo>
                    <a:pt x="3967" y="285"/>
                  </a:lnTo>
                  <a:lnTo>
                    <a:pt x="3962" y="294"/>
                  </a:lnTo>
                  <a:lnTo>
                    <a:pt x="3955" y="302"/>
                  </a:lnTo>
                  <a:lnTo>
                    <a:pt x="3948" y="307"/>
                  </a:lnTo>
                  <a:lnTo>
                    <a:pt x="3934" y="319"/>
                  </a:lnTo>
                  <a:lnTo>
                    <a:pt x="3922" y="329"/>
                  </a:lnTo>
                  <a:lnTo>
                    <a:pt x="3916" y="334"/>
                  </a:lnTo>
                  <a:lnTo>
                    <a:pt x="3912" y="339"/>
                  </a:lnTo>
                  <a:lnTo>
                    <a:pt x="3908" y="346"/>
                  </a:lnTo>
                  <a:lnTo>
                    <a:pt x="3907" y="354"/>
                  </a:lnTo>
                  <a:lnTo>
                    <a:pt x="3906" y="363"/>
                  </a:lnTo>
                  <a:lnTo>
                    <a:pt x="3907" y="375"/>
                  </a:lnTo>
                  <a:lnTo>
                    <a:pt x="3911" y="386"/>
                  </a:lnTo>
                  <a:lnTo>
                    <a:pt x="3916" y="402"/>
                  </a:lnTo>
                  <a:lnTo>
                    <a:pt x="3907" y="415"/>
                  </a:lnTo>
                  <a:lnTo>
                    <a:pt x="3899" y="429"/>
                  </a:lnTo>
                  <a:lnTo>
                    <a:pt x="3896" y="436"/>
                  </a:lnTo>
                  <a:lnTo>
                    <a:pt x="3895" y="443"/>
                  </a:lnTo>
                  <a:lnTo>
                    <a:pt x="3894" y="450"/>
                  </a:lnTo>
                  <a:lnTo>
                    <a:pt x="3893" y="456"/>
                  </a:lnTo>
                  <a:lnTo>
                    <a:pt x="3894" y="463"/>
                  </a:lnTo>
                  <a:lnTo>
                    <a:pt x="3895" y="469"/>
                  </a:lnTo>
                  <a:lnTo>
                    <a:pt x="3898" y="475"/>
                  </a:lnTo>
                  <a:lnTo>
                    <a:pt x="3900" y="481"/>
                  </a:lnTo>
                  <a:lnTo>
                    <a:pt x="3906" y="486"/>
                  </a:lnTo>
                  <a:lnTo>
                    <a:pt x="3911" y="492"/>
                  </a:lnTo>
                  <a:lnTo>
                    <a:pt x="3917" y="497"/>
                  </a:lnTo>
                  <a:lnTo>
                    <a:pt x="3925" y="502"/>
                  </a:lnTo>
                  <a:lnTo>
                    <a:pt x="3942" y="485"/>
                  </a:lnTo>
                  <a:lnTo>
                    <a:pt x="3956" y="468"/>
                  </a:lnTo>
                  <a:lnTo>
                    <a:pt x="3967" y="453"/>
                  </a:lnTo>
                  <a:lnTo>
                    <a:pt x="3976" y="436"/>
                  </a:lnTo>
                  <a:lnTo>
                    <a:pt x="3984" y="417"/>
                  </a:lnTo>
                  <a:lnTo>
                    <a:pt x="3989" y="401"/>
                  </a:lnTo>
                  <a:lnTo>
                    <a:pt x="3993" y="384"/>
                  </a:lnTo>
                  <a:lnTo>
                    <a:pt x="3997" y="365"/>
                  </a:lnTo>
                  <a:lnTo>
                    <a:pt x="4002" y="328"/>
                  </a:lnTo>
                  <a:lnTo>
                    <a:pt x="4007" y="290"/>
                  </a:lnTo>
                  <a:lnTo>
                    <a:pt x="4010" y="269"/>
                  </a:lnTo>
                  <a:lnTo>
                    <a:pt x="4014" y="250"/>
                  </a:lnTo>
                  <a:lnTo>
                    <a:pt x="4020" y="229"/>
                  </a:lnTo>
                  <a:lnTo>
                    <a:pt x="4028" y="207"/>
                  </a:lnTo>
                  <a:lnTo>
                    <a:pt x="4067" y="194"/>
                  </a:lnTo>
                  <a:lnTo>
                    <a:pt x="4103" y="179"/>
                  </a:lnTo>
                  <a:lnTo>
                    <a:pt x="4137" y="168"/>
                  </a:lnTo>
                  <a:lnTo>
                    <a:pt x="4170" y="157"/>
                  </a:lnTo>
                  <a:lnTo>
                    <a:pt x="4185" y="155"/>
                  </a:lnTo>
                  <a:lnTo>
                    <a:pt x="4202" y="152"/>
                  </a:lnTo>
                  <a:lnTo>
                    <a:pt x="4218" y="152"/>
                  </a:lnTo>
                  <a:lnTo>
                    <a:pt x="4235" y="153"/>
                  </a:lnTo>
                  <a:lnTo>
                    <a:pt x="4253" y="157"/>
                  </a:lnTo>
                  <a:lnTo>
                    <a:pt x="4271" y="164"/>
                  </a:lnTo>
                  <a:lnTo>
                    <a:pt x="4289" y="173"/>
                  </a:lnTo>
                  <a:lnTo>
                    <a:pt x="4310" y="185"/>
                  </a:lnTo>
                  <a:lnTo>
                    <a:pt x="4310" y="199"/>
                  </a:lnTo>
                  <a:lnTo>
                    <a:pt x="4310" y="213"/>
                  </a:lnTo>
                  <a:lnTo>
                    <a:pt x="4310" y="228"/>
                  </a:lnTo>
                  <a:lnTo>
                    <a:pt x="4311" y="242"/>
                  </a:lnTo>
                  <a:lnTo>
                    <a:pt x="4296" y="247"/>
                  </a:lnTo>
                  <a:lnTo>
                    <a:pt x="4280" y="254"/>
                  </a:lnTo>
                  <a:lnTo>
                    <a:pt x="4265" y="259"/>
                  </a:lnTo>
                  <a:lnTo>
                    <a:pt x="4250" y="265"/>
                  </a:lnTo>
                  <a:lnTo>
                    <a:pt x="4248" y="282"/>
                  </a:lnTo>
                  <a:lnTo>
                    <a:pt x="4246" y="299"/>
                  </a:lnTo>
                  <a:lnTo>
                    <a:pt x="4261" y="299"/>
                  </a:lnTo>
                  <a:lnTo>
                    <a:pt x="4275" y="299"/>
                  </a:lnTo>
                  <a:lnTo>
                    <a:pt x="4289" y="300"/>
                  </a:lnTo>
                  <a:lnTo>
                    <a:pt x="4304" y="302"/>
                  </a:lnTo>
                  <a:lnTo>
                    <a:pt x="4314" y="295"/>
                  </a:lnTo>
                  <a:lnTo>
                    <a:pt x="4326" y="290"/>
                  </a:lnTo>
                  <a:lnTo>
                    <a:pt x="4339" y="286"/>
                  </a:lnTo>
                  <a:lnTo>
                    <a:pt x="4353" y="283"/>
                  </a:lnTo>
                  <a:lnTo>
                    <a:pt x="4369" y="282"/>
                  </a:lnTo>
                  <a:lnTo>
                    <a:pt x="4384" y="281"/>
                  </a:lnTo>
                  <a:lnTo>
                    <a:pt x="4401" y="282"/>
                  </a:lnTo>
                  <a:lnTo>
                    <a:pt x="4419" y="282"/>
                  </a:lnTo>
                  <a:lnTo>
                    <a:pt x="4453" y="286"/>
                  </a:lnTo>
                  <a:lnTo>
                    <a:pt x="4486" y="291"/>
                  </a:lnTo>
                  <a:lnTo>
                    <a:pt x="4516" y="296"/>
                  </a:lnTo>
                  <a:lnTo>
                    <a:pt x="4540" y="302"/>
                  </a:lnTo>
                  <a:lnTo>
                    <a:pt x="4560" y="326"/>
                  </a:lnTo>
                  <a:lnTo>
                    <a:pt x="4581" y="351"/>
                  </a:lnTo>
                  <a:lnTo>
                    <a:pt x="4592" y="364"/>
                  </a:lnTo>
                  <a:lnTo>
                    <a:pt x="4605" y="375"/>
                  </a:lnTo>
                  <a:lnTo>
                    <a:pt x="4617" y="384"/>
                  </a:lnTo>
                  <a:lnTo>
                    <a:pt x="4632" y="391"/>
                  </a:lnTo>
                  <a:lnTo>
                    <a:pt x="4639" y="391"/>
                  </a:lnTo>
                  <a:lnTo>
                    <a:pt x="4647" y="390"/>
                  </a:lnTo>
                  <a:lnTo>
                    <a:pt x="4655" y="389"/>
                  </a:lnTo>
                  <a:lnTo>
                    <a:pt x="4661" y="386"/>
                  </a:lnTo>
                  <a:lnTo>
                    <a:pt x="4676" y="378"/>
                  </a:lnTo>
                  <a:lnTo>
                    <a:pt x="4689" y="369"/>
                  </a:lnTo>
                  <a:lnTo>
                    <a:pt x="4700" y="358"/>
                  </a:lnTo>
                  <a:lnTo>
                    <a:pt x="4711" y="345"/>
                  </a:lnTo>
                  <a:lnTo>
                    <a:pt x="4720" y="330"/>
                  </a:lnTo>
                  <a:lnTo>
                    <a:pt x="4729" y="315"/>
                  </a:lnTo>
                  <a:lnTo>
                    <a:pt x="4737" y="299"/>
                  </a:lnTo>
                  <a:lnTo>
                    <a:pt x="4743" y="282"/>
                  </a:lnTo>
                  <a:lnTo>
                    <a:pt x="4750" y="265"/>
                  </a:lnTo>
                  <a:lnTo>
                    <a:pt x="4755" y="248"/>
                  </a:lnTo>
                  <a:lnTo>
                    <a:pt x="4763" y="217"/>
                  </a:lnTo>
                  <a:lnTo>
                    <a:pt x="4768" y="190"/>
                  </a:lnTo>
                  <a:lnTo>
                    <a:pt x="4776" y="175"/>
                  </a:lnTo>
                  <a:lnTo>
                    <a:pt x="4784" y="161"/>
                  </a:lnTo>
                  <a:lnTo>
                    <a:pt x="4793" y="148"/>
                  </a:lnTo>
                  <a:lnTo>
                    <a:pt x="4803" y="136"/>
                  </a:lnTo>
                  <a:lnTo>
                    <a:pt x="4815" y="123"/>
                  </a:lnTo>
                  <a:lnTo>
                    <a:pt x="4827" y="113"/>
                  </a:lnTo>
                  <a:lnTo>
                    <a:pt x="4838" y="101"/>
                  </a:lnTo>
                  <a:lnTo>
                    <a:pt x="4851" y="91"/>
                  </a:lnTo>
                  <a:lnTo>
                    <a:pt x="4866" y="82"/>
                  </a:lnTo>
                  <a:lnTo>
                    <a:pt x="4880" y="73"/>
                  </a:lnTo>
                  <a:lnTo>
                    <a:pt x="4894" y="64"/>
                  </a:lnTo>
                  <a:lnTo>
                    <a:pt x="4910" y="56"/>
                  </a:lnTo>
                  <a:lnTo>
                    <a:pt x="4941" y="41"/>
                  </a:lnTo>
                  <a:lnTo>
                    <a:pt x="4974" y="30"/>
                  </a:lnTo>
                  <a:lnTo>
                    <a:pt x="5008" y="19"/>
                  </a:lnTo>
                  <a:lnTo>
                    <a:pt x="5041" y="12"/>
                  </a:lnTo>
                  <a:lnTo>
                    <a:pt x="5076" y="5"/>
                  </a:lnTo>
                  <a:lnTo>
                    <a:pt x="5110" y="1"/>
                  </a:lnTo>
                  <a:lnTo>
                    <a:pt x="5144" y="0"/>
                  </a:lnTo>
                  <a:lnTo>
                    <a:pt x="5177" y="0"/>
                  </a:lnTo>
                  <a:lnTo>
                    <a:pt x="5209" y="2"/>
                  </a:lnTo>
                  <a:lnTo>
                    <a:pt x="5239" y="8"/>
                  </a:lnTo>
                  <a:lnTo>
                    <a:pt x="5260" y="23"/>
                  </a:lnTo>
                  <a:lnTo>
                    <a:pt x="5277" y="39"/>
                  </a:lnTo>
                  <a:lnTo>
                    <a:pt x="5294" y="55"/>
                  </a:lnTo>
                  <a:lnTo>
                    <a:pt x="5308" y="70"/>
                  </a:lnTo>
                  <a:lnTo>
                    <a:pt x="5321" y="88"/>
                  </a:lnTo>
                  <a:lnTo>
                    <a:pt x="5334" y="107"/>
                  </a:lnTo>
                  <a:lnTo>
                    <a:pt x="5346" y="127"/>
                  </a:lnTo>
                  <a:lnTo>
                    <a:pt x="5359" y="151"/>
                  </a:lnTo>
                  <a:lnTo>
                    <a:pt x="5361" y="172"/>
                  </a:lnTo>
                  <a:lnTo>
                    <a:pt x="5367" y="189"/>
                  </a:lnTo>
                  <a:lnTo>
                    <a:pt x="5369" y="195"/>
                  </a:lnTo>
                  <a:lnTo>
                    <a:pt x="5373" y="200"/>
                  </a:lnTo>
                  <a:lnTo>
                    <a:pt x="5377" y="205"/>
                  </a:lnTo>
                  <a:lnTo>
                    <a:pt x="5381" y="209"/>
                  </a:lnTo>
                  <a:lnTo>
                    <a:pt x="5385" y="212"/>
                  </a:lnTo>
                  <a:lnTo>
                    <a:pt x="5389" y="215"/>
                  </a:lnTo>
                  <a:lnTo>
                    <a:pt x="5394" y="217"/>
                  </a:lnTo>
                  <a:lnTo>
                    <a:pt x="5399" y="218"/>
                  </a:lnTo>
                  <a:lnTo>
                    <a:pt x="5410" y="220"/>
                  </a:lnTo>
                  <a:lnTo>
                    <a:pt x="5421" y="218"/>
                  </a:lnTo>
                  <a:lnTo>
                    <a:pt x="5447" y="215"/>
                  </a:lnTo>
                  <a:lnTo>
                    <a:pt x="5473" y="207"/>
                  </a:lnTo>
                  <a:lnTo>
                    <a:pt x="5488" y="204"/>
                  </a:lnTo>
                  <a:lnTo>
                    <a:pt x="5502" y="202"/>
                  </a:lnTo>
                  <a:lnTo>
                    <a:pt x="5516" y="202"/>
                  </a:lnTo>
                  <a:lnTo>
                    <a:pt x="5529" y="202"/>
                  </a:lnTo>
                  <a:lnTo>
                    <a:pt x="5538" y="216"/>
                  </a:lnTo>
                  <a:lnTo>
                    <a:pt x="5547" y="230"/>
                  </a:lnTo>
                  <a:lnTo>
                    <a:pt x="5555" y="241"/>
                  </a:lnTo>
                  <a:lnTo>
                    <a:pt x="5563" y="251"/>
                  </a:lnTo>
                  <a:lnTo>
                    <a:pt x="5572" y="259"/>
                  </a:lnTo>
                  <a:lnTo>
                    <a:pt x="5584" y="265"/>
                  </a:lnTo>
                  <a:lnTo>
                    <a:pt x="5597" y="270"/>
                  </a:lnTo>
                  <a:lnTo>
                    <a:pt x="5612" y="274"/>
                  </a:lnTo>
                  <a:lnTo>
                    <a:pt x="5611" y="265"/>
                  </a:lnTo>
                  <a:lnTo>
                    <a:pt x="5609" y="257"/>
                  </a:lnTo>
                  <a:lnTo>
                    <a:pt x="5607" y="250"/>
                  </a:lnTo>
                  <a:lnTo>
                    <a:pt x="5605" y="244"/>
                  </a:lnTo>
                  <a:lnTo>
                    <a:pt x="5601" y="239"/>
                  </a:lnTo>
                  <a:lnTo>
                    <a:pt x="5596" y="233"/>
                  </a:lnTo>
                  <a:lnTo>
                    <a:pt x="5590" y="228"/>
                  </a:lnTo>
                  <a:lnTo>
                    <a:pt x="5584" y="222"/>
                  </a:lnTo>
                  <a:lnTo>
                    <a:pt x="5584" y="211"/>
                  </a:lnTo>
                  <a:lnTo>
                    <a:pt x="5584" y="199"/>
                  </a:lnTo>
                  <a:lnTo>
                    <a:pt x="5584" y="189"/>
                  </a:lnTo>
                  <a:lnTo>
                    <a:pt x="5584" y="177"/>
                  </a:lnTo>
                  <a:lnTo>
                    <a:pt x="5603" y="172"/>
                  </a:lnTo>
                  <a:lnTo>
                    <a:pt x="5618" y="166"/>
                  </a:lnTo>
                  <a:lnTo>
                    <a:pt x="5629" y="161"/>
                  </a:lnTo>
                  <a:lnTo>
                    <a:pt x="5637" y="155"/>
                  </a:lnTo>
                  <a:lnTo>
                    <a:pt x="5642" y="146"/>
                  </a:lnTo>
                  <a:lnTo>
                    <a:pt x="5646" y="135"/>
                  </a:lnTo>
                  <a:lnTo>
                    <a:pt x="5650" y="121"/>
                  </a:lnTo>
                  <a:lnTo>
                    <a:pt x="5654" y="103"/>
                  </a:lnTo>
                  <a:lnTo>
                    <a:pt x="5663" y="118"/>
                  </a:lnTo>
                  <a:lnTo>
                    <a:pt x="5672" y="134"/>
                  </a:lnTo>
                  <a:lnTo>
                    <a:pt x="5680" y="149"/>
                  </a:lnTo>
                  <a:lnTo>
                    <a:pt x="5689" y="165"/>
                  </a:lnTo>
                  <a:lnTo>
                    <a:pt x="5707" y="168"/>
                  </a:lnTo>
                  <a:lnTo>
                    <a:pt x="5727" y="170"/>
                  </a:lnTo>
                  <a:lnTo>
                    <a:pt x="5728" y="181"/>
                  </a:lnTo>
                  <a:lnTo>
                    <a:pt x="5728" y="191"/>
                  </a:lnTo>
                  <a:lnTo>
                    <a:pt x="5730" y="202"/>
                  </a:lnTo>
                  <a:lnTo>
                    <a:pt x="5731" y="213"/>
                  </a:lnTo>
                  <a:lnTo>
                    <a:pt x="5745" y="220"/>
                  </a:lnTo>
                  <a:lnTo>
                    <a:pt x="5758" y="225"/>
                  </a:lnTo>
                  <a:lnTo>
                    <a:pt x="5780" y="230"/>
                  </a:lnTo>
                  <a:lnTo>
                    <a:pt x="5819" y="239"/>
                  </a:lnTo>
                  <a:lnTo>
                    <a:pt x="5834" y="281"/>
                  </a:lnTo>
                  <a:lnTo>
                    <a:pt x="5851" y="326"/>
                  </a:lnTo>
                  <a:lnTo>
                    <a:pt x="5858" y="350"/>
                  </a:lnTo>
                  <a:lnTo>
                    <a:pt x="5862" y="372"/>
                  </a:lnTo>
                  <a:lnTo>
                    <a:pt x="5865" y="382"/>
                  </a:lnTo>
                  <a:lnTo>
                    <a:pt x="5865" y="391"/>
                  </a:lnTo>
                  <a:lnTo>
                    <a:pt x="5864" y="401"/>
                  </a:lnTo>
                  <a:lnTo>
                    <a:pt x="5862" y="410"/>
                  </a:lnTo>
                  <a:lnTo>
                    <a:pt x="5849" y="416"/>
                  </a:lnTo>
                  <a:lnTo>
                    <a:pt x="5838" y="424"/>
                  </a:lnTo>
                  <a:lnTo>
                    <a:pt x="5827" y="433"/>
                  </a:lnTo>
                  <a:lnTo>
                    <a:pt x="5818" y="441"/>
                  </a:lnTo>
                  <a:lnTo>
                    <a:pt x="5801" y="458"/>
                  </a:lnTo>
                  <a:lnTo>
                    <a:pt x="5787" y="476"/>
                  </a:lnTo>
                  <a:lnTo>
                    <a:pt x="5774" y="494"/>
                  </a:lnTo>
                  <a:lnTo>
                    <a:pt x="5761" y="512"/>
                  </a:lnTo>
                  <a:lnTo>
                    <a:pt x="5744" y="533"/>
                  </a:lnTo>
                  <a:lnTo>
                    <a:pt x="5726" y="553"/>
                  </a:lnTo>
                  <a:lnTo>
                    <a:pt x="5717" y="568"/>
                  </a:lnTo>
                  <a:lnTo>
                    <a:pt x="5705" y="585"/>
                  </a:lnTo>
                  <a:lnTo>
                    <a:pt x="5691" y="601"/>
                  </a:lnTo>
                  <a:lnTo>
                    <a:pt x="5674" y="616"/>
                  </a:lnTo>
                  <a:lnTo>
                    <a:pt x="5640" y="649"/>
                  </a:lnTo>
                  <a:lnTo>
                    <a:pt x="5607" y="683"/>
                  </a:lnTo>
                  <a:lnTo>
                    <a:pt x="5593" y="700"/>
                  </a:lnTo>
                  <a:lnTo>
                    <a:pt x="5581" y="715"/>
                  </a:lnTo>
                  <a:lnTo>
                    <a:pt x="5576" y="724"/>
                  </a:lnTo>
                  <a:lnTo>
                    <a:pt x="5572" y="732"/>
                  </a:lnTo>
                  <a:lnTo>
                    <a:pt x="5568" y="741"/>
                  </a:lnTo>
                  <a:lnTo>
                    <a:pt x="5566" y="750"/>
                  </a:lnTo>
                  <a:lnTo>
                    <a:pt x="5564" y="758"/>
                  </a:lnTo>
                  <a:lnTo>
                    <a:pt x="5564" y="767"/>
                  </a:lnTo>
                  <a:lnTo>
                    <a:pt x="5564" y="775"/>
                  </a:lnTo>
                  <a:lnTo>
                    <a:pt x="5567" y="784"/>
                  </a:lnTo>
                  <a:lnTo>
                    <a:pt x="5570" y="793"/>
                  </a:lnTo>
                  <a:lnTo>
                    <a:pt x="5575" y="801"/>
                  </a:lnTo>
                  <a:lnTo>
                    <a:pt x="5581" y="810"/>
                  </a:lnTo>
                  <a:lnTo>
                    <a:pt x="5589" y="818"/>
                  </a:lnTo>
                  <a:lnTo>
                    <a:pt x="5588" y="829"/>
                  </a:lnTo>
                  <a:lnTo>
                    <a:pt x="5585" y="838"/>
                  </a:lnTo>
                  <a:lnTo>
                    <a:pt x="5583" y="845"/>
                  </a:lnTo>
                  <a:lnTo>
                    <a:pt x="5579" y="853"/>
                  </a:lnTo>
                  <a:lnTo>
                    <a:pt x="5575" y="862"/>
                  </a:lnTo>
                  <a:lnTo>
                    <a:pt x="5572" y="871"/>
                  </a:lnTo>
                  <a:lnTo>
                    <a:pt x="5571" y="881"/>
                  </a:lnTo>
                  <a:lnTo>
                    <a:pt x="5572" y="892"/>
                  </a:lnTo>
                  <a:lnTo>
                    <a:pt x="5594" y="912"/>
                  </a:lnTo>
                  <a:lnTo>
                    <a:pt x="5616" y="934"/>
                  </a:lnTo>
                  <a:lnTo>
                    <a:pt x="5638" y="955"/>
                  </a:lnTo>
                  <a:lnTo>
                    <a:pt x="5662" y="977"/>
                  </a:lnTo>
                  <a:lnTo>
                    <a:pt x="5687" y="977"/>
                  </a:lnTo>
                  <a:lnTo>
                    <a:pt x="5709" y="978"/>
                  </a:lnTo>
                  <a:lnTo>
                    <a:pt x="5731" y="981"/>
                  </a:lnTo>
                  <a:lnTo>
                    <a:pt x="5752" y="983"/>
                  </a:lnTo>
                  <a:lnTo>
                    <a:pt x="5772" y="987"/>
                  </a:lnTo>
                  <a:lnTo>
                    <a:pt x="5793" y="992"/>
                  </a:lnTo>
                  <a:lnTo>
                    <a:pt x="5814" y="1000"/>
                  </a:lnTo>
                  <a:lnTo>
                    <a:pt x="5838" y="1009"/>
                  </a:lnTo>
                  <a:lnTo>
                    <a:pt x="5840" y="1015"/>
                  </a:lnTo>
                  <a:lnTo>
                    <a:pt x="5841" y="1018"/>
                  </a:lnTo>
                  <a:lnTo>
                    <a:pt x="5843" y="1025"/>
                  </a:lnTo>
                  <a:lnTo>
                    <a:pt x="5844" y="1031"/>
                  </a:lnTo>
                  <a:lnTo>
                    <a:pt x="5845" y="1055"/>
                  </a:lnTo>
                  <a:lnTo>
                    <a:pt x="5845" y="1095"/>
                  </a:lnTo>
                  <a:lnTo>
                    <a:pt x="5861" y="1110"/>
                  </a:lnTo>
                  <a:lnTo>
                    <a:pt x="5878" y="1125"/>
                  </a:lnTo>
                  <a:lnTo>
                    <a:pt x="5895" y="1142"/>
                  </a:lnTo>
                  <a:lnTo>
                    <a:pt x="5909" y="1159"/>
                  </a:lnTo>
                  <a:lnTo>
                    <a:pt x="5916" y="1168"/>
                  </a:lnTo>
                  <a:lnTo>
                    <a:pt x="5921" y="1177"/>
                  </a:lnTo>
                  <a:lnTo>
                    <a:pt x="5925" y="1186"/>
                  </a:lnTo>
                  <a:lnTo>
                    <a:pt x="5927" y="1195"/>
                  </a:lnTo>
                  <a:lnTo>
                    <a:pt x="5929" y="1206"/>
                  </a:lnTo>
                  <a:lnTo>
                    <a:pt x="5927" y="1215"/>
                  </a:lnTo>
                  <a:lnTo>
                    <a:pt x="5925" y="1225"/>
                  </a:lnTo>
                  <a:lnTo>
                    <a:pt x="5920" y="1236"/>
                  </a:lnTo>
                  <a:lnTo>
                    <a:pt x="5900" y="1250"/>
                  </a:lnTo>
                  <a:lnTo>
                    <a:pt x="5883" y="1262"/>
                  </a:lnTo>
                  <a:lnTo>
                    <a:pt x="5870" y="1273"/>
                  </a:lnTo>
                  <a:lnTo>
                    <a:pt x="5858" y="1285"/>
                  </a:lnTo>
                  <a:lnTo>
                    <a:pt x="5849" y="1299"/>
                  </a:lnTo>
                  <a:lnTo>
                    <a:pt x="5841" y="1315"/>
                  </a:lnTo>
                  <a:lnTo>
                    <a:pt x="5832" y="1335"/>
                  </a:lnTo>
                  <a:lnTo>
                    <a:pt x="5823" y="1359"/>
                  </a:lnTo>
                  <a:lnTo>
                    <a:pt x="5775" y="1358"/>
                  </a:lnTo>
                  <a:lnTo>
                    <a:pt x="5719" y="1357"/>
                  </a:lnTo>
                  <a:lnTo>
                    <a:pt x="5706" y="1358"/>
                  </a:lnTo>
                  <a:lnTo>
                    <a:pt x="5693" y="1361"/>
                  </a:lnTo>
                  <a:lnTo>
                    <a:pt x="5680" y="1365"/>
                  </a:lnTo>
                  <a:lnTo>
                    <a:pt x="5670" y="1370"/>
                  </a:lnTo>
                  <a:lnTo>
                    <a:pt x="5659" y="1376"/>
                  </a:lnTo>
                  <a:lnTo>
                    <a:pt x="5650" y="1385"/>
                  </a:lnTo>
                  <a:lnTo>
                    <a:pt x="5646" y="1391"/>
                  </a:lnTo>
                  <a:lnTo>
                    <a:pt x="5642" y="1396"/>
                  </a:lnTo>
                  <a:lnTo>
                    <a:pt x="5640" y="1402"/>
                  </a:lnTo>
                  <a:lnTo>
                    <a:pt x="5637" y="1409"/>
                  </a:lnTo>
                  <a:lnTo>
                    <a:pt x="5627" y="1410"/>
                  </a:lnTo>
                  <a:lnTo>
                    <a:pt x="5618" y="1413"/>
                  </a:lnTo>
                  <a:lnTo>
                    <a:pt x="5609" y="1415"/>
                  </a:lnTo>
                  <a:lnTo>
                    <a:pt x="5602" y="1420"/>
                  </a:lnTo>
                  <a:lnTo>
                    <a:pt x="5588" y="1432"/>
                  </a:lnTo>
                  <a:lnTo>
                    <a:pt x="5573" y="1448"/>
                  </a:lnTo>
                  <a:lnTo>
                    <a:pt x="5560" y="1452"/>
                  </a:lnTo>
                  <a:lnTo>
                    <a:pt x="5550" y="1457"/>
                  </a:lnTo>
                  <a:lnTo>
                    <a:pt x="5542" y="1462"/>
                  </a:lnTo>
                  <a:lnTo>
                    <a:pt x="5534" y="1467"/>
                  </a:lnTo>
                  <a:lnTo>
                    <a:pt x="5531" y="1474"/>
                  </a:lnTo>
                  <a:lnTo>
                    <a:pt x="5527" y="1480"/>
                  </a:lnTo>
                  <a:lnTo>
                    <a:pt x="5524" y="1487"/>
                  </a:lnTo>
                  <a:lnTo>
                    <a:pt x="5524" y="1493"/>
                  </a:lnTo>
                  <a:lnTo>
                    <a:pt x="5524" y="1509"/>
                  </a:lnTo>
                  <a:lnTo>
                    <a:pt x="5528" y="1527"/>
                  </a:lnTo>
                  <a:lnTo>
                    <a:pt x="5533" y="1547"/>
                  </a:lnTo>
                  <a:lnTo>
                    <a:pt x="5537" y="1569"/>
                  </a:lnTo>
                  <a:lnTo>
                    <a:pt x="5520" y="1587"/>
                  </a:lnTo>
                  <a:lnTo>
                    <a:pt x="5503" y="1608"/>
                  </a:lnTo>
                  <a:lnTo>
                    <a:pt x="5497" y="1618"/>
                  </a:lnTo>
                  <a:lnTo>
                    <a:pt x="5490" y="1629"/>
                  </a:lnTo>
                  <a:lnTo>
                    <a:pt x="5485" y="1639"/>
                  </a:lnTo>
                  <a:lnTo>
                    <a:pt x="5482" y="1649"/>
                  </a:lnTo>
                  <a:lnTo>
                    <a:pt x="5480" y="1661"/>
                  </a:lnTo>
                  <a:lnTo>
                    <a:pt x="5480" y="1672"/>
                  </a:lnTo>
                  <a:lnTo>
                    <a:pt x="5481" y="1681"/>
                  </a:lnTo>
                  <a:lnTo>
                    <a:pt x="5485" y="1691"/>
                  </a:lnTo>
                  <a:lnTo>
                    <a:pt x="5491" y="1700"/>
                  </a:lnTo>
                  <a:lnTo>
                    <a:pt x="5501" y="1708"/>
                  </a:lnTo>
                  <a:lnTo>
                    <a:pt x="5512" y="1716"/>
                  </a:lnTo>
                  <a:lnTo>
                    <a:pt x="5528" y="1722"/>
                  </a:lnTo>
                  <a:lnTo>
                    <a:pt x="5527" y="1734"/>
                  </a:lnTo>
                  <a:lnTo>
                    <a:pt x="5523" y="1744"/>
                  </a:lnTo>
                  <a:lnTo>
                    <a:pt x="5517" y="1755"/>
                  </a:lnTo>
                  <a:lnTo>
                    <a:pt x="5511" y="1767"/>
                  </a:lnTo>
                  <a:lnTo>
                    <a:pt x="5495" y="1786"/>
                  </a:lnTo>
                  <a:lnTo>
                    <a:pt x="5481" y="1803"/>
                  </a:lnTo>
                  <a:lnTo>
                    <a:pt x="5481" y="1819"/>
                  </a:lnTo>
                  <a:lnTo>
                    <a:pt x="5482" y="1832"/>
                  </a:lnTo>
                  <a:lnTo>
                    <a:pt x="5484" y="1845"/>
                  </a:lnTo>
                  <a:lnTo>
                    <a:pt x="5486" y="1856"/>
                  </a:lnTo>
                  <a:lnTo>
                    <a:pt x="5489" y="1868"/>
                  </a:lnTo>
                  <a:lnTo>
                    <a:pt x="5493" y="1878"/>
                  </a:lnTo>
                  <a:lnTo>
                    <a:pt x="5497" y="1887"/>
                  </a:lnTo>
                  <a:lnTo>
                    <a:pt x="5502" y="1898"/>
                  </a:lnTo>
                  <a:lnTo>
                    <a:pt x="5507" y="1906"/>
                  </a:lnTo>
                  <a:lnTo>
                    <a:pt x="5514" y="1915"/>
                  </a:lnTo>
                  <a:lnTo>
                    <a:pt x="5521" y="1923"/>
                  </a:lnTo>
                  <a:lnTo>
                    <a:pt x="5531" y="1930"/>
                  </a:lnTo>
                  <a:lnTo>
                    <a:pt x="5550" y="1946"/>
                  </a:lnTo>
                  <a:lnTo>
                    <a:pt x="5573" y="1962"/>
                  </a:lnTo>
                  <a:lnTo>
                    <a:pt x="5570" y="1972"/>
                  </a:lnTo>
                  <a:lnTo>
                    <a:pt x="5568" y="1981"/>
                  </a:lnTo>
                  <a:lnTo>
                    <a:pt x="5567" y="1992"/>
                  </a:lnTo>
                  <a:lnTo>
                    <a:pt x="5567" y="1999"/>
                  </a:lnTo>
                  <a:lnTo>
                    <a:pt x="5568" y="2016"/>
                  </a:lnTo>
                  <a:lnTo>
                    <a:pt x="5571" y="2031"/>
                  </a:lnTo>
                  <a:lnTo>
                    <a:pt x="5571" y="2037"/>
                  </a:lnTo>
                  <a:lnTo>
                    <a:pt x="5571" y="2045"/>
                  </a:lnTo>
                  <a:lnTo>
                    <a:pt x="5570" y="2050"/>
                  </a:lnTo>
                  <a:lnTo>
                    <a:pt x="5567" y="2057"/>
                  </a:lnTo>
                  <a:lnTo>
                    <a:pt x="5562" y="2063"/>
                  </a:lnTo>
                  <a:lnTo>
                    <a:pt x="5557" y="2068"/>
                  </a:lnTo>
                  <a:lnTo>
                    <a:pt x="5547" y="2075"/>
                  </a:lnTo>
                  <a:lnTo>
                    <a:pt x="5537" y="2080"/>
                  </a:lnTo>
                  <a:lnTo>
                    <a:pt x="5529" y="2093"/>
                  </a:lnTo>
                  <a:lnTo>
                    <a:pt x="5523" y="2103"/>
                  </a:lnTo>
                  <a:lnTo>
                    <a:pt x="5517" y="2114"/>
                  </a:lnTo>
                  <a:lnTo>
                    <a:pt x="5514" y="2124"/>
                  </a:lnTo>
                  <a:lnTo>
                    <a:pt x="5508" y="2145"/>
                  </a:lnTo>
                  <a:lnTo>
                    <a:pt x="5502" y="2172"/>
                  </a:lnTo>
                  <a:lnTo>
                    <a:pt x="5488" y="2181"/>
                  </a:lnTo>
                  <a:lnTo>
                    <a:pt x="5477" y="2187"/>
                  </a:lnTo>
                  <a:lnTo>
                    <a:pt x="5465" y="2191"/>
                  </a:lnTo>
                  <a:lnTo>
                    <a:pt x="5449" y="2196"/>
                  </a:lnTo>
                  <a:lnTo>
                    <a:pt x="5445" y="2211"/>
                  </a:lnTo>
                  <a:lnTo>
                    <a:pt x="5441" y="2228"/>
                  </a:lnTo>
                  <a:lnTo>
                    <a:pt x="5437" y="2245"/>
                  </a:lnTo>
                  <a:lnTo>
                    <a:pt x="5433" y="2263"/>
                  </a:lnTo>
                  <a:lnTo>
                    <a:pt x="5424" y="2267"/>
                  </a:lnTo>
                  <a:lnTo>
                    <a:pt x="5415" y="2270"/>
                  </a:lnTo>
                  <a:lnTo>
                    <a:pt x="5406" y="2273"/>
                  </a:lnTo>
                  <a:lnTo>
                    <a:pt x="5397" y="2273"/>
                  </a:lnTo>
                  <a:lnTo>
                    <a:pt x="5389" y="2273"/>
                  </a:lnTo>
                  <a:lnTo>
                    <a:pt x="5381" y="2271"/>
                  </a:lnTo>
                  <a:lnTo>
                    <a:pt x="5373" y="2269"/>
                  </a:lnTo>
                  <a:lnTo>
                    <a:pt x="5365" y="2266"/>
                  </a:lnTo>
                  <a:lnTo>
                    <a:pt x="5337" y="2248"/>
                  </a:lnTo>
                  <a:lnTo>
                    <a:pt x="5304" y="2227"/>
                  </a:lnTo>
                  <a:lnTo>
                    <a:pt x="5295" y="2228"/>
                  </a:lnTo>
                  <a:lnTo>
                    <a:pt x="5285" y="2232"/>
                  </a:lnTo>
                  <a:lnTo>
                    <a:pt x="5273" y="2237"/>
                  </a:lnTo>
                  <a:lnTo>
                    <a:pt x="5260" y="2243"/>
                  </a:lnTo>
                  <a:lnTo>
                    <a:pt x="5233" y="2258"/>
                  </a:lnTo>
                  <a:lnTo>
                    <a:pt x="5205" y="2276"/>
                  </a:lnTo>
                  <a:lnTo>
                    <a:pt x="5178" y="2296"/>
                  </a:lnTo>
                  <a:lnTo>
                    <a:pt x="5156" y="2317"/>
                  </a:lnTo>
                  <a:lnTo>
                    <a:pt x="5145" y="2326"/>
                  </a:lnTo>
                  <a:lnTo>
                    <a:pt x="5138" y="2335"/>
                  </a:lnTo>
                  <a:lnTo>
                    <a:pt x="5131" y="2344"/>
                  </a:lnTo>
                  <a:lnTo>
                    <a:pt x="5127" y="2352"/>
                  </a:lnTo>
                  <a:lnTo>
                    <a:pt x="5131" y="2364"/>
                  </a:lnTo>
                  <a:lnTo>
                    <a:pt x="5135" y="2374"/>
                  </a:lnTo>
                  <a:lnTo>
                    <a:pt x="5142" y="2382"/>
                  </a:lnTo>
                  <a:lnTo>
                    <a:pt x="5148" y="2390"/>
                  </a:lnTo>
                  <a:lnTo>
                    <a:pt x="5156" y="2397"/>
                  </a:lnTo>
                  <a:lnTo>
                    <a:pt x="5161" y="2407"/>
                  </a:lnTo>
                  <a:lnTo>
                    <a:pt x="5166" y="2416"/>
                  </a:lnTo>
                  <a:lnTo>
                    <a:pt x="5170" y="2429"/>
                  </a:lnTo>
                  <a:lnTo>
                    <a:pt x="5162" y="2429"/>
                  </a:lnTo>
                  <a:lnTo>
                    <a:pt x="5156" y="2429"/>
                  </a:lnTo>
                  <a:lnTo>
                    <a:pt x="5156" y="2434"/>
                  </a:lnTo>
                  <a:lnTo>
                    <a:pt x="5156" y="2442"/>
                  </a:lnTo>
                  <a:lnTo>
                    <a:pt x="5138" y="2448"/>
                  </a:lnTo>
                  <a:lnTo>
                    <a:pt x="5119" y="2453"/>
                  </a:lnTo>
                  <a:lnTo>
                    <a:pt x="5100" y="2459"/>
                  </a:lnTo>
                  <a:lnTo>
                    <a:pt x="5082" y="2465"/>
                  </a:lnTo>
                  <a:lnTo>
                    <a:pt x="5069" y="2478"/>
                  </a:lnTo>
                  <a:lnTo>
                    <a:pt x="5057" y="2489"/>
                  </a:lnTo>
                  <a:lnTo>
                    <a:pt x="5044" y="2496"/>
                  </a:lnTo>
                  <a:lnTo>
                    <a:pt x="5032" y="2503"/>
                  </a:lnTo>
                  <a:lnTo>
                    <a:pt x="5008" y="2512"/>
                  </a:lnTo>
                  <a:lnTo>
                    <a:pt x="4987" y="2520"/>
                  </a:lnTo>
                  <a:lnTo>
                    <a:pt x="4976" y="2525"/>
                  </a:lnTo>
                  <a:lnTo>
                    <a:pt x="4968" y="2530"/>
                  </a:lnTo>
                  <a:lnTo>
                    <a:pt x="4961" y="2537"/>
                  </a:lnTo>
                  <a:lnTo>
                    <a:pt x="4954" y="2544"/>
                  </a:lnTo>
                  <a:lnTo>
                    <a:pt x="4948" y="2555"/>
                  </a:lnTo>
                  <a:lnTo>
                    <a:pt x="4944" y="2568"/>
                  </a:lnTo>
                  <a:lnTo>
                    <a:pt x="4941" y="2582"/>
                  </a:lnTo>
                  <a:lnTo>
                    <a:pt x="4941" y="2602"/>
                  </a:lnTo>
                  <a:lnTo>
                    <a:pt x="4935" y="2621"/>
                  </a:lnTo>
                  <a:lnTo>
                    <a:pt x="4929" y="2641"/>
                  </a:lnTo>
                  <a:lnTo>
                    <a:pt x="4926" y="2659"/>
                  </a:lnTo>
                  <a:lnTo>
                    <a:pt x="4923" y="2676"/>
                  </a:lnTo>
                  <a:lnTo>
                    <a:pt x="4923" y="2685"/>
                  </a:lnTo>
                  <a:lnTo>
                    <a:pt x="4923" y="2694"/>
                  </a:lnTo>
                  <a:lnTo>
                    <a:pt x="4924" y="2703"/>
                  </a:lnTo>
                  <a:lnTo>
                    <a:pt x="4926" y="2712"/>
                  </a:lnTo>
                  <a:lnTo>
                    <a:pt x="4928" y="2721"/>
                  </a:lnTo>
                  <a:lnTo>
                    <a:pt x="4931" y="2730"/>
                  </a:lnTo>
                  <a:lnTo>
                    <a:pt x="4936" y="2740"/>
                  </a:lnTo>
                  <a:lnTo>
                    <a:pt x="4941" y="2750"/>
                  </a:lnTo>
                  <a:lnTo>
                    <a:pt x="4944" y="2789"/>
                  </a:lnTo>
                  <a:lnTo>
                    <a:pt x="4948" y="2822"/>
                  </a:lnTo>
                  <a:lnTo>
                    <a:pt x="4950" y="2835"/>
                  </a:lnTo>
                  <a:lnTo>
                    <a:pt x="4953" y="2848"/>
                  </a:lnTo>
                  <a:lnTo>
                    <a:pt x="4958" y="2858"/>
                  </a:lnTo>
                  <a:lnTo>
                    <a:pt x="4963" y="2868"/>
                  </a:lnTo>
                  <a:lnTo>
                    <a:pt x="4970" y="2879"/>
                  </a:lnTo>
                  <a:lnTo>
                    <a:pt x="4976" y="2888"/>
                  </a:lnTo>
                  <a:lnTo>
                    <a:pt x="4985" y="2897"/>
                  </a:lnTo>
                  <a:lnTo>
                    <a:pt x="4996" y="2906"/>
                  </a:lnTo>
                  <a:lnTo>
                    <a:pt x="5022" y="2926"/>
                  </a:lnTo>
                  <a:lnTo>
                    <a:pt x="5054" y="2948"/>
                  </a:lnTo>
                  <a:lnTo>
                    <a:pt x="5050" y="2965"/>
                  </a:lnTo>
                  <a:lnTo>
                    <a:pt x="5048" y="2980"/>
                  </a:lnTo>
                  <a:lnTo>
                    <a:pt x="5047" y="2993"/>
                  </a:lnTo>
                  <a:lnTo>
                    <a:pt x="5048" y="3006"/>
                  </a:lnTo>
                  <a:lnTo>
                    <a:pt x="5049" y="3034"/>
                  </a:lnTo>
                  <a:lnTo>
                    <a:pt x="5050" y="3064"/>
                  </a:lnTo>
                  <a:lnTo>
                    <a:pt x="5044" y="3077"/>
                  </a:lnTo>
                  <a:lnTo>
                    <a:pt x="5040" y="3090"/>
                  </a:lnTo>
                  <a:lnTo>
                    <a:pt x="5036" y="3104"/>
                  </a:lnTo>
                  <a:lnTo>
                    <a:pt x="5035" y="3118"/>
                  </a:lnTo>
                  <a:lnTo>
                    <a:pt x="5032" y="3147"/>
                  </a:lnTo>
                  <a:lnTo>
                    <a:pt x="5032" y="3178"/>
                  </a:lnTo>
                  <a:lnTo>
                    <a:pt x="5034" y="3209"/>
                  </a:lnTo>
                  <a:lnTo>
                    <a:pt x="5035" y="3240"/>
                  </a:lnTo>
                  <a:lnTo>
                    <a:pt x="5035" y="3256"/>
                  </a:lnTo>
                  <a:lnTo>
                    <a:pt x="5034" y="3272"/>
                  </a:lnTo>
                  <a:lnTo>
                    <a:pt x="5032" y="3287"/>
                  </a:lnTo>
                  <a:lnTo>
                    <a:pt x="5030" y="3302"/>
                  </a:lnTo>
                  <a:lnTo>
                    <a:pt x="5017" y="3303"/>
                  </a:lnTo>
                  <a:lnTo>
                    <a:pt x="5004" y="3304"/>
                  </a:lnTo>
                  <a:lnTo>
                    <a:pt x="4991" y="3305"/>
                  </a:lnTo>
                  <a:lnTo>
                    <a:pt x="4978" y="3307"/>
                  </a:lnTo>
                  <a:lnTo>
                    <a:pt x="4967" y="3292"/>
                  </a:lnTo>
                  <a:lnTo>
                    <a:pt x="4958" y="3278"/>
                  </a:lnTo>
                  <a:lnTo>
                    <a:pt x="4929" y="3278"/>
                  </a:lnTo>
                  <a:lnTo>
                    <a:pt x="4903" y="3281"/>
                  </a:lnTo>
                  <a:lnTo>
                    <a:pt x="4892" y="3282"/>
                  </a:lnTo>
                  <a:lnTo>
                    <a:pt x="4879" y="3285"/>
                  </a:lnTo>
                  <a:lnTo>
                    <a:pt x="4864" y="3287"/>
                  </a:lnTo>
                  <a:lnTo>
                    <a:pt x="4850" y="3292"/>
                  </a:lnTo>
                  <a:lnTo>
                    <a:pt x="4845" y="3305"/>
                  </a:lnTo>
                  <a:lnTo>
                    <a:pt x="4840" y="3318"/>
                  </a:lnTo>
                  <a:lnTo>
                    <a:pt x="4834" y="3331"/>
                  </a:lnTo>
                  <a:lnTo>
                    <a:pt x="4829" y="3346"/>
                  </a:lnTo>
                  <a:lnTo>
                    <a:pt x="4814" y="3351"/>
                  </a:lnTo>
                  <a:lnTo>
                    <a:pt x="4802" y="3356"/>
                  </a:lnTo>
                  <a:lnTo>
                    <a:pt x="4798" y="3360"/>
                  </a:lnTo>
                  <a:lnTo>
                    <a:pt x="4793" y="3364"/>
                  </a:lnTo>
                  <a:lnTo>
                    <a:pt x="4789" y="3371"/>
                  </a:lnTo>
                  <a:lnTo>
                    <a:pt x="4785" y="3378"/>
                  </a:lnTo>
                  <a:lnTo>
                    <a:pt x="4766" y="3381"/>
                  </a:lnTo>
                  <a:lnTo>
                    <a:pt x="4746" y="3385"/>
                  </a:lnTo>
                  <a:lnTo>
                    <a:pt x="4746" y="3377"/>
                  </a:lnTo>
                  <a:lnTo>
                    <a:pt x="4746" y="3371"/>
                  </a:lnTo>
                  <a:lnTo>
                    <a:pt x="4737" y="3365"/>
                  </a:lnTo>
                  <a:lnTo>
                    <a:pt x="4728" y="3360"/>
                  </a:lnTo>
                  <a:lnTo>
                    <a:pt x="4720" y="3355"/>
                  </a:lnTo>
                  <a:lnTo>
                    <a:pt x="4713" y="3348"/>
                  </a:lnTo>
                  <a:lnTo>
                    <a:pt x="4702" y="3334"/>
                  </a:lnTo>
                  <a:lnTo>
                    <a:pt x="4689" y="3317"/>
                  </a:lnTo>
                  <a:lnTo>
                    <a:pt x="4652" y="3317"/>
                  </a:lnTo>
                  <a:lnTo>
                    <a:pt x="4621" y="3320"/>
                  </a:lnTo>
                  <a:lnTo>
                    <a:pt x="4608" y="3322"/>
                  </a:lnTo>
                  <a:lnTo>
                    <a:pt x="4598" y="3325"/>
                  </a:lnTo>
                  <a:lnTo>
                    <a:pt x="4589" y="3329"/>
                  </a:lnTo>
                  <a:lnTo>
                    <a:pt x="4581" y="3334"/>
                  </a:lnTo>
                  <a:lnTo>
                    <a:pt x="4574" y="3341"/>
                  </a:lnTo>
                  <a:lnTo>
                    <a:pt x="4570" y="3347"/>
                  </a:lnTo>
                  <a:lnTo>
                    <a:pt x="4568" y="3356"/>
                  </a:lnTo>
                  <a:lnTo>
                    <a:pt x="4566" y="3368"/>
                  </a:lnTo>
                  <a:lnTo>
                    <a:pt x="4568" y="3380"/>
                  </a:lnTo>
                  <a:lnTo>
                    <a:pt x="4569" y="3394"/>
                  </a:lnTo>
                  <a:lnTo>
                    <a:pt x="4573" y="3410"/>
                  </a:lnTo>
                  <a:lnTo>
                    <a:pt x="4579" y="3429"/>
                  </a:lnTo>
                  <a:lnTo>
                    <a:pt x="4573" y="3430"/>
                  </a:lnTo>
                  <a:lnTo>
                    <a:pt x="4568" y="3433"/>
                  </a:lnTo>
                  <a:lnTo>
                    <a:pt x="4563" y="3436"/>
                  </a:lnTo>
                  <a:lnTo>
                    <a:pt x="4559" y="3438"/>
                  </a:lnTo>
                  <a:lnTo>
                    <a:pt x="4556" y="3442"/>
                  </a:lnTo>
                  <a:lnTo>
                    <a:pt x="4555" y="3445"/>
                  </a:lnTo>
                  <a:lnTo>
                    <a:pt x="4553" y="3449"/>
                  </a:lnTo>
                  <a:lnTo>
                    <a:pt x="4553" y="3452"/>
                  </a:lnTo>
                  <a:lnTo>
                    <a:pt x="4556" y="3471"/>
                  </a:lnTo>
                  <a:lnTo>
                    <a:pt x="4563" y="3494"/>
                  </a:lnTo>
                  <a:lnTo>
                    <a:pt x="4560" y="3516"/>
                  </a:lnTo>
                  <a:lnTo>
                    <a:pt x="4557" y="3538"/>
                  </a:lnTo>
                  <a:lnTo>
                    <a:pt x="4556" y="3562"/>
                  </a:lnTo>
                  <a:lnTo>
                    <a:pt x="4555" y="3584"/>
                  </a:lnTo>
                  <a:lnTo>
                    <a:pt x="4543" y="3590"/>
                  </a:lnTo>
                  <a:lnTo>
                    <a:pt x="4535" y="3598"/>
                  </a:lnTo>
                  <a:lnTo>
                    <a:pt x="4529" y="3605"/>
                  </a:lnTo>
                  <a:lnTo>
                    <a:pt x="4524" y="3612"/>
                  </a:lnTo>
                  <a:lnTo>
                    <a:pt x="4521" y="3622"/>
                  </a:lnTo>
                  <a:lnTo>
                    <a:pt x="4518" y="3631"/>
                  </a:lnTo>
                  <a:lnTo>
                    <a:pt x="4518" y="3641"/>
                  </a:lnTo>
                  <a:lnTo>
                    <a:pt x="4518" y="3654"/>
                  </a:lnTo>
                  <a:lnTo>
                    <a:pt x="4505" y="3670"/>
                  </a:lnTo>
                  <a:lnTo>
                    <a:pt x="4494" y="3687"/>
                  </a:lnTo>
                  <a:lnTo>
                    <a:pt x="4483" y="3702"/>
                  </a:lnTo>
                  <a:lnTo>
                    <a:pt x="4474" y="3719"/>
                  </a:lnTo>
                  <a:lnTo>
                    <a:pt x="4465" y="3735"/>
                  </a:lnTo>
                  <a:lnTo>
                    <a:pt x="4458" y="3750"/>
                  </a:lnTo>
                  <a:lnTo>
                    <a:pt x="4453" y="3767"/>
                  </a:lnTo>
                  <a:lnTo>
                    <a:pt x="4451" y="3783"/>
                  </a:lnTo>
                  <a:lnTo>
                    <a:pt x="4449" y="3800"/>
                  </a:lnTo>
                  <a:lnTo>
                    <a:pt x="4449" y="3815"/>
                  </a:lnTo>
                  <a:lnTo>
                    <a:pt x="4452" y="3832"/>
                  </a:lnTo>
                  <a:lnTo>
                    <a:pt x="4456" y="3848"/>
                  </a:lnTo>
                  <a:lnTo>
                    <a:pt x="4462" y="3865"/>
                  </a:lnTo>
                  <a:lnTo>
                    <a:pt x="4473" y="3882"/>
                  </a:lnTo>
                  <a:lnTo>
                    <a:pt x="4485" y="3900"/>
                  </a:lnTo>
                  <a:lnTo>
                    <a:pt x="4499" y="3917"/>
                  </a:lnTo>
                  <a:lnTo>
                    <a:pt x="4499" y="3936"/>
                  </a:lnTo>
                  <a:lnTo>
                    <a:pt x="4499" y="3955"/>
                  </a:lnTo>
                  <a:lnTo>
                    <a:pt x="4499" y="3974"/>
                  </a:lnTo>
                  <a:lnTo>
                    <a:pt x="4499" y="3994"/>
                  </a:lnTo>
                  <a:lnTo>
                    <a:pt x="4511" y="4013"/>
                  </a:lnTo>
                  <a:lnTo>
                    <a:pt x="4522" y="4034"/>
                  </a:lnTo>
                  <a:lnTo>
                    <a:pt x="4531" y="4056"/>
                  </a:lnTo>
                  <a:lnTo>
                    <a:pt x="4540" y="4078"/>
                  </a:lnTo>
                  <a:lnTo>
                    <a:pt x="4557" y="4122"/>
                  </a:lnTo>
                  <a:lnTo>
                    <a:pt x="4576" y="4167"/>
                  </a:lnTo>
                  <a:lnTo>
                    <a:pt x="4574" y="4182"/>
                  </a:lnTo>
                  <a:lnTo>
                    <a:pt x="4573" y="4198"/>
                  </a:lnTo>
                  <a:lnTo>
                    <a:pt x="4560" y="4194"/>
                  </a:lnTo>
                  <a:lnTo>
                    <a:pt x="4550" y="4191"/>
                  </a:lnTo>
                  <a:lnTo>
                    <a:pt x="4537" y="4190"/>
                  </a:lnTo>
                  <a:lnTo>
                    <a:pt x="4518" y="4190"/>
                  </a:lnTo>
                  <a:lnTo>
                    <a:pt x="4512" y="4203"/>
                  </a:lnTo>
                  <a:lnTo>
                    <a:pt x="4509" y="4216"/>
                  </a:lnTo>
                  <a:lnTo>
                    <a:pt x="4508" y="4229"/>
                  </a:lnTo>
                  <a:lnTo>
                    <a:pt x="4508" y="4246"/>
                  </a:lnTo>
                  <a:lnTo>
                    <a:pt x="4520" y="4255"/>
                  </a:lnTo>
                  <a:lnTo>
                    <a:pt x="4529" y="4263"/>
                  </a:lnTo>
                  <a:lnTo>
                    <a:pt x="4535" y="4272"/>
                  </a:lnTo>
                  <a:lnTo>
                    <a:pt x="4539" y="4280"/>
                  </a:lnTo>
                  <a:lnTo>
                    <a:pt x="4540" y="4289"/>
                  </a:lnTo>
                  <a:lnTo>
                    <a:pt x="4540" y="4297"/>
                  </a:lnTo>
                  <a:lnTo>
                    <a:pt x="4538" y="4306"/>
                  </a:lnTo>
                  <a:lnTo>
                    <a:pt x="4534" y="4314"/>
                  </a:lnTo>
                  <a:lnTo>
                    <a:pt x="4509" y="4349"/>
                  </a:lnTo>
                  <a:lnTo>
                    <a:pt x="4483" y="4390"/>
                  </a:lnTo>
                  <a:lnTo>
                    <a:pt x="4468" y="4393"/>
                  </a:lnTo>
                  <a:lnTo>
                    <a:pt x="4452" y="4396"/>
                  </a:lnTo>
                  <a:lnTo>
                    <a:pt x="4438" y="4398"/>
                  </a:lnTo>
                  <a:lnTo>
                    <a:pt x="4423" y="4402"/>
                  </a:lnTo>
                  <a:lnTo>
                    <a:pt x="4419" y="4409"/>
                  </a:lnTo>
                  <a:lnTo>
                    <a:pt x="4416" y="4413"/>
                  </a:lnTo>
                  <a:lnTo>
                    <a:pt x="4410" y="4416"/>
                  </a:lnTo>
                  <a:lnTo>
                    <a:pt x="4404" y="4418"/>
                  </a:lnTo>
                  <a:lnTo>
                    <a:pt x="4399" y="4418"/>
                  </a:lnTo>
                  <a:lnTo>
                    <a:pt x="4392" y="4416"/>
                  </a:lnTo>
                  <a:lnTo>
                    <a:pt x="4386" y="4415"/>
                  </a:lnTo>
                  <a:lnTo>
                    <a:pt x="4379" y="4413"/>
                  </a:lnTo>
                  <a:lnTo>
                    <a:pt x="4354" y="4396"/>
                  </a:lnTo>
                  <a:lnTo>
                    <a:pt x="4334" y="4380"/>
                  </a:lnTo>
                  <a:lnTo>
                    <a:pt x="4326" y="4385"/>
                  </a:lnTo>
                  <a:lnTo>
                    <a:pt x="4319" y="4390"/>
                  </a:lnTo>
                  <a:lnTo>
                    <a:pt x="4313" y="4396"/>
                  </a:lnTo>
                  <a:lnTo>
                    <a:pt x="4309" y="4402"/>
                  </a:lnTo>
                  <a:lnTo>
                    <a:pt x="4305" y="4409"/>
                  </a:lnTo>
                  <a:lnTo>
                    <a:pt x="4302" y="4415"/>
                  </a:lnTo>
                  <a:lnTo>
                    <a:pt x="4300" y="4423"/>
                  </a:lnTo>
                  <a:lnTo>
                    <a:pt x="4297" y="4431"/>
                  </a:lnTo>
                  <a:lnTo>
                    <a:pt x="4293" y="4466"/>
                  </a:lnTo>
                  <a:lnTo>
                    <a:pt x="4291" y="4502"/>
                  </a:lnTo>
                  <a:lnTo>
                    <a:pt x="4272" y="4513"/>
                  </a:lnTo>
                  <a:lnTo>
                    <a:pt x="4256" y="4521"/>
                  </a:lnTo>
                  <a:lnTo>
                    <a:pt x="4237" y="4526"/>
                  </a:lnTo>
                  <a:lnTo>
                    <a:pt x="4219" y="4531"/>
                  </a:lnTo>
                  <a:lnTo>
                    <a:pt x="4201" y="4535"/>
                  </a:lnTo>
                  <a:lnTo>
                    <a:pt x="4184" y="4540"/>
                  </a:lnTo>
                  <a:lnTo>
                    <a:pt x="4164" y="4547"/>
                  </a:lnTo>
                  <a:lnTo>
                    <a:pt x="4146" y="4556"/>
                  </a:lnTo>
                  <a:lnTo>
                    <a:pt x="4112" y="4565"/>
                  </a:lnTo>
                  <a:lnTo>
                    <a:pt x="4077" y="4573"/>
                  </a:lnTo>
                  <a:lnTo>
                    <a:pt x="4043" y="4582"/>
                  </a:lnTo>
                  <a:lnTo>
                    <a:pt x="4010" y="4591"/>
                  </a:lnTo>
                  <a:lnTo>
                    <a:pt x="4006" y="4600"/>
                  </a:lnTo>
                  <a:lnTo>
                    <a:pt x="4002" y="4608"/>
                  </a:lnTo>
                  <a:lnTo>
                    <a:pt x="3997" y="4614"/>
                  </a:lnTo>
                  <a:lnTo>
                    <a:pt x="3991" y="4619"/>
                  </a:lnTo>
                  <a:lnTo>
                    <a:pt x="3980" y="4628"/>
                  </a:lnTo>
                  <a:lnTo>
                    <a:pt x="3962" y="4639"/>
                  </a:lnTo>
                  <a:lnTo>
                    <a:pt x="3959" y="4645"/>
                  </a:lnTo>
                  <a:lnTo>
                    <a:pt x="3958" y="4652"/>
                  </a:lnTo>
                  <a:lnTo>
                    <a:pt x="3956" y="4658"/>
                  </a:lnTo>
                  <a:lnTo>
                    <a:pt x="3955" y="4666"/>
                  </a:lnTo>
                  <a:lnTo>
                    <a:pt x="3956" y="4690"/>
                  </a:lnTo>
                  <a:lnTo>
                    <a:pt x="3958" y="4730"/>
                  </a:lnTo>
                  <a:lnTo>
                    <a:pt x="3947" y="4736"/>
                  </a:lnTo>
                  <a:lnTo>
                    <a:pt x="3937" y="4742"/>
                  </a:lnTo>
                  <a:lnTo>
                    <a:pt x="3933" y="4791"/>
                  </a:lnTo>
                  <a:lnTo>
                    <a:pt x="3929" y="4818"/>
                  </a:lnTo>
                  <a:lnTo>
                    <a:pt x="3926" y="4834"/>
                  </a:lnTo>
                  <a:lnTo>
                    <a:pt x="3921" y="4846"/>
                  </a:lnTo>
                  <a:lnTo>
                    <a:pt x="3926" y="4859"/>
                  </a:lnTo>
                  <a:lnTo>
                    <a:pt x="3930" y="4870"/>
                  </a:lnTo>
                  <a:lnTo>
                    <a:pt x="3932" y="4886"/>
                  </a:lnTo>
                  <a:lnTo>
                    <a:pt x="3933" y="4911"/>
                  </a:lnTo>
                  <a:lnTo>
                    <a:pt x="3916" y="4915"/>
                  </a:lnTo>
                  <a:lnTo>
                    <a:pt x="3899" y="4917"/>
                  </a:lnTo>
                  <a:lnTo>
                    <a:pt x="3883" y="4920"/>
                  </a:lnTo>
                  <a:lnTo>
                    <a:pt x="3868" y="4922"/>
                  </a:lnTo>
                  <a:lnTo>
                    <a:pt x="3870" y="4938"/>
                  </a:lnTo>
                  <a:lnTo>
                    <a:pt x="3874" y="4950"/>
                  </a:lnTo>
                  <a:lnTo>
                    <a:pt x="3880" y="4962"/>
                  </a:lnTo>
                  <a:lnTo>
                    <a:pt x="3886" y="4971"/>
                  </a:lnTo>
                  <a:lnTo>
                    <a:pt x="3893" y="4980"/>
                  </a:lnTo>
                  <a:lnTo>
                    <a:pt x="3900" y="4986"/>
                  </a:lnTo>
                  <a:lnTo>
                    <a:pt x="3908" y="4994"/>
                  </a:lnTo>
                  <a:lnTo>
                    <a:pt x="3917" y="4999"/>
                  </a:lnTo>
                  <a:lnTo>
                    <a:pt x="3933" y="5011"/>
                  </a:lnTo>
                  <a:lnTo>
                    <a:pt x="3948" y="5025"/>
                  </a:lnTo>
                  <a:lnTo>
                    <a:pt x="3954" y="5033"/>
                  </a:lnTo>
                  <a:lnTo>
                    <a:pt x="3960" y="5041"/>
                  </a:lnTo>
                  <a:lnTo>
                    <a:pt x="3964" y="5051"/>
                  </a:lnTo>
                  <a:lnTo>
                    <a:pt x="3968" y="5063"/>
                  </a:lnTo>
                  <a:lnTo>
                    <a:pt x="3962" y="5068"/>
                  </a:lnTo>
                  <a:lnTo>
                    <a:pt x="3956" y="5073"/>
                  </a:lnTo>
                  <a:lnTo>
                    <a:pt x="3952" y="5079"/>
                  </a:lnTo>
                  <a:lnTo>
                    <a:pt x="3948" y="5084"/>
                  </a:lnTo>
                  <a:lnTo>
                    <a:pt x="3942" y="5096"/>
                  </a:lnTo>
                  <a:lnTo>
                    <a:pt x="3935" y="5109"/>
                  </a:lnTo>
                  <a:lnTo>
                    <a:pt x="3930" y="5122"/>
                  </a:lnTo>
                  <a:lnTo>
                    <a:pt x="3922" y="5135"/>
                  </a:lnTo>
                  <a:lnTo>
                    <a:pt x="3917" y="5141"/>
                  </a:lnTo>
                  <a:lnTo>
                    <a:pt x="3912" y="5146"/>
                  </a:lnTo>
                  <a:lnTo>
                    <a:pt x="3906" y="5153"/>
                  </a:lnTo>
                  <a:lnTo>
                    <a:pt x="3898" y="5158"/>
                  </a:lnTo>
                  <a:lnTo>
                    <a:pt x="3899" y="5167"/>
                  </a:lnTo>
                  <a:lnTo>
                    <a:pt x="3899" y="5175"/>
                  </a:lnTo>
                  <a:lnTo>
                    <a:pt x="3902" y="5183"/>
                  </a:lnTo>
                  <a:lnTo>
                    <a:pt x="3903" y="5189"/>
                  </a:lnTo>
                  <a:lnTo>
                    <a:pt x="3908" y="5201"/>
                  </a:lnTo>
                  <a:lnTo>
                    <a:pt x="3916" y="5210"/>
                  </a:lnTo>
                  <a:lnTo>
                    <a:pt x="3922" y="5220"/>
                  </a:lnTo>
                  <a:lnTo>
                    <a:pt x="3930" y="5231"/>
                  </a:lnTo>
                  <a:lnTo>
                    <a:pt x="3937" y="5243"/>
                  </a:lnTo>
                  <a:lnTo>
                    <a:pt x="3942" y="5258"/>
                  </a:lnTo>
                  <a:lnTo>
                    <a:pt x="3952" y="5261"/>
                  </a:lnTo>
                  <a:lnTo>
                    <a:pt x="3962" y="5265"/>
                  </a:lnTo>
                  <a:lnTo>
                    <a:pt x="3969" y="5270"/>
                  </a:lnTo>
                  <a:lnTo>
                    <a:pt x="3977" y="5276"/>
                  </a:lnTo>
                  <a:lnTo>
                    <a:pt x="3991" y="5291"/>
                  </a:lnTo>
                  <a:lnTo>
                    <a:pt x="4006" y="5305"/>
                  </a:lnTo>
                  <a:lnTo>
                    <a:pt x="3998" y="5323"/>
                  </a:lnTo>
                  <a:lnTo>
                    <a:pt x="3989" y="5343"/>
                  </a:lnTo>
                  <a:lnTo>
                    <a:pt x="3973" y="5353"/>
                  </a:lnTo>
                  <a:lnTo>
                    <a:pt x="3962" y="5362"/>
                  </a:lnTo>
                  <a:lnTo>
                    <a:pt x="3952" y="5373"/>
                  </a:lnTo>
                  <a:lnTo>
                    <a:pt x="3945" y="5382"/>
                  </a:lnTo>
                  <a:lnTo>
                    <a:pt x="3941" y="5391"/>
                  </a:lnTo>
                  <a:lnTo>
                    <a:pt x="3937" y="5400"/>
                  </a:lnTo>
                  <a:lnTo>
                    <a:pt x="3935" y="5409"/>
                  </a:lnTo>
                  <a:lnTo>
                    <a:pt x="3935" y="5417"/>
                  </a:lnTo>
                  <a:lnTo>
                    <a:pt x="3934" y="5436"/>
                  </a:lnTo>
                  <a:lnTo>
                    <a:pt x="3932" y="5457"/>
                  </a:lnTo>
                  <a:lnTo>
                    <a:pt x="3929" y="5468"/>
                  </a:lnTo>
                  <a:lnTo>
                    <a:pt x="3925" y="5479"/>
                  </a:lnTo>
                  <a:lnTo>
                    <a:pt x="3919" y="5492"/>
                  </a:lnTo>
                  <a:lnTo>
                    <a:pt x="3909" y="5505"/>
                  </a:lnTo>
                  <a:lnTo>
                    <a:pt x="3911" y="5524"/>
                  </a:lnTo>
                  <a:lnTo>
                    <a:pt x="3911" y="5540"/>
                  </a:lnTo>
                  <a:lnTo>
                    <a:pt x="3911" y="5555"/>
                  </a:lnTo>
                  <a:lnTo>
                    <a:pt x="3909" y="5568"/>
                  </a:lnTo>
                  <a:lnTo>
                    <a:pt x="3907" y="5579"/>
                  </a:lnTo>
                  <a:lnTo>
                    <a:pt x="3903" y="5590"/>
                  </a:lnTo>
                  <a:lnTo>
                    <a:pt x="3899" y="5598"/>
                  </a:lnTo>
                  <a:lnTo>
                    <a:pt x="3893" y="5605"/>
                  </a:lnTo>
                  <a:lnTo>
                    <a:pt x="3886" y="5611"/>
                  </a:lnTo>
                  <a:lnTo>
                    <a:pt x="3877" y="5616"/>
                  </a:lnTo>
                  <a:lnTo>
                    <a:pt x="3867" y="5620"/>
                  </a:lnTo>
                  <a:lnTo>
                    <a:pt x="3855" y="5624"/>
                  </a:lnTo>
                  <a:lnTo>
                    <a:pt x="3842" y="5626"/>
                  </a:lnTo>
                  <a:lnTo>
                    <a:pt x="3826" y="5628"/>
                  </a:lnTo>
                  <a:lnTo>
                    <a:pt x="3809" y="5629"/>
                  </a:lnTo>
                  <a:lnTo>
                    <a:pt x="3791" y="5630"/>
                  </a:lnTo>
                  <a:lnTo>
                    <a:pt x="3777" y="5641"/>
                  </a:lnTo>
                  <a:lnTo>
                    <a:pt x="3766" y="5650"/>
                  </a:lnTo>
                  <a:lnTo>
                    <a:pt x="3755" y="5663"/>
                  </a:lnTo>
                  <a:lnTo>
                    <a:pt x="3735" y="5686"/>
                  </a:lnTo>
                  <a:lnTo>
                    <a:pt x="3720" y="5691"/>
                  </a:lnTo>
                  <a:lnTo>
                    <a:pt x="3704" y="5695"/>
                  </a:lnTo>
                  <a:lnTo>
                    <a:pt x="3690" y="5700"/>
                  </a:lnTo>
                  <a:lnTo>
                    <a:pt x="3675" y="5706"/>
                  </a:lnTo>
                  <a:lnTo>
                    <a:pt x="3673" y="5720"/>
                  </a:lnTo>
                  <a:lnTo>
                    <a:pt x="3670" y="5734"/>
                  </a:lnTo>
                  <a:lnTo>
                    <a:pt x="3666" y="5749"/>
                  </a:lnTo>
                  <a:lnTo>
                    <a:pt x="3664" y="5763"/>
                  </a:lnTo>
                  <a:lnTo>
                    <a:pt x="3638" y="5755"/>
                  </a:lnTo>
                  <a:lnTo>
                    <a:pt x="3613" y="5747"/>
                  </a:lnTo>
                  <a:lnTo>
                    <a:pt x="3588" y="5739"/>
                  </a:lnTo>
                  <a:lnTo>
                    <a:pt x="3563" y="5733"/>
                  </a:lnTo>
                  <a:lnTo>
                    <a:pt x="3543" y="5739"/>
                  </a:lnTo>
                  <a:lnTo>
                    <a:pt x="3520" y="5747"/>
                  </a:lnTo>
                  <a:lnTo>
                    <a:pt x="3498" y="5755"/>
                  </a:lnTo>
                  <a:lnTo>
                    <a:pt x="3478" y="5763"/>
                  </a:lnTo>
                  <a:lnTo>
                    <a:pt x="3470" y="5778"/>
                  </a:lnTo>
                  <a:lnTo>
                    <a:pt x="3463" y="5794"/>
                  </a:lnTo>
                  <a:lnTo>
                    <a:pt x="3446" y="5793"/>
                  </a:lnTo>
                  <a:lnTo>
                    <a:pt x="3429" y="5792"/>
                  </a:lnTo>
                  <a:lnTo>
                    <a:pt x="3411" y="5790"/>
                  </a:lnTo>
                  <a:lnTo>
                    <a:pt x="3394" y="5790"/>
                  </a:lnTo>
                  <a:lnTo>
                    <a:pt x="3357" y="5805"/>
                  </a:lnTo>
                  <a:lnTo>
                    <a:pt x="3320" y="5819"/>
                  </a:lnTo>
                  <a:lnTo>
                    <a:pt x="3282" y="5833"/>
                  </a:lnTo>
                  <a:lnTo>
                    <a:pt x="3246" y="5847"/>
                  </a:lnTo>
                  <a:lnTo>
                    <a:pt x="3215" y="5841"/>
                  </a:lnTo>
                  <a:lnTo>
                    <a:pt x="3187" y="5837"/>
                  </a:lnTo>
                  <a:lnTo>
                    <a:pt x="3161" y="5834"/>
                  </a:lnTo>
                  <a:lnTo>
                    <a:pt x="3138" y="5834"/>
                  </a:lnTo>
                  <a:lnTo>
                    <a:pt x="3113" y="5836"/>
                  </a:lnTo>
                  <a:lnTo>
                    <a:pt x="3089" y="5840"/>
                  </a:lnTo>
                  <a:lnTo>
                    <a:pt x="3061" y="5845"/>
                  </a:lnTo>
                  <a:lnTo>
                    <a:pt x="3029" y="5851"/>
                  </a:lnTo>
                </a:path>
              </a:pathLst>
            </a:custGeom>
            <a:noFill/>
            <a:ln w="1905">
              <a:solidFill>
                <a:srgbClr val="3399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2932841" name="Freeform 114"/>
          <p:cNvSpPr>
            <a:spLocks/>
          </p:cNvSpPr>
          <p:nvPr/>
        </p:nvSpPr>
        <p:spPr bwMode="auto">
          <a:xfrm>
            <a:off x="1149350" y="3695700"/>
            <a:ext cx="301625" cy="415925"/>
          </a:xfrm>
          <a:custGeom>
            <a:avLst/>
            <a:gdLst>
              <a:gd name="T0" fmla="*/ 2147483647 w 762"/>
              <a:gd name="T1" fmla="*/ 2147483647 h 1048"/>
              <a:gd name="T2" fmla="*/ 2147483647 w 762"/>
              <a:gd name="T3" fmla="*/ 2147483647 h 1048"/>
              <a:gd name="T4" fmla="*/ 2147483647 w 762"/>
              <a:gd name="T5" fmla="*/ 2147483647 h 1048"/>
              <a:gd name="T6" fmla="*/ 2147483647 w 762"/>
              <a:gd name="T7" fmla="*/ 2147483647 h 1048"/>
              <a:gd name="T8" fmla="*/ 2147483647 w 762"/>
              <a:gd name="T9" fmla="*/ 2147483647 h 1048"/>
              <a:gd name="T10" fmla="*/ 2147483647 w 762"/>
              <a:gd name="T11" fmla="*/ 2147483647 h 1048"/>
              <a:gd name="T12" fmla="*/ 2147483647 w 762"/>
              <a:gd name="T13" fmla="*/ 2147483647 h 1048"/>
              <a:gd name="T14" fmla="*/ 2147483647 w 762"/>
              <a:gd name="T15" fmla="*/ 2147483647 h 1048"/>
              <a:gd name="T16" fmla="*/ 2147483647 w 762"/>
              <a:gd name="T17" fmla="*/ 2147483647 h 1048"/>
              <a:gd name="T18" fmla="*/ 2147483647 w 762"/>
              <a:gd name="T19" fmla="*/ 2147483647 h 1048"/>
              <a:gd name="T20" fmla="*/ 2147483647 w 762"/>
              <a:gd name="T21" fmla="*/ 2147483647 h 1048"/>
              <a:gd name="T22" fmla="*/ 2147483647 w 762"/>
              <a:gd name="T23" fmla="*/ 2147483647 h 1048"/>
              <a:gd name="T24" fmla="*/ 2147483647 w 762"/>
              <a:gd name="T25" fmla="*/ 2147483647 h 1048"/>
              <a:gd name="T26" fmla="*/ 2147483647 w 762"/>
              <a:gd name="T27" fmla="*/ 2147483647 h 1048"/>
              <a:gd name="T28" fmla="*/ 2147483647 w 762"/>
              <a:gd name="T29" fmla="*/ 2147483647 h 1048"/>
              <a:gd name="T30" fmla="*/ 2147483647 w 762"/>
              <a:gd name="T31" fmla="*/ 2147483647 h 1048"/>
              <a:gd name="T32" fmla="*/ 2147483647 w 762"/>
              <a:gd name="T33" fmla="*/ 2147483647 h 1048"/>
              <a:gd name="T34" fmla="*/ 2147483647 w 762"/>
              <a:gd name="T35" fmla="*/ 2147483647 h 1048"/>
              <a:gd name="T36" fmla="*/ 2147483647 w 762"/>
              <a:gd name="T37" fmla="*/ 2147483647 h 1048"/>
              <a:gd name="T38" fmla="*/ 2147483647 w 762"/>
              <a:gd name="T39" fmla="*/ 2147483647 h 1048"/>
              <a:gd name="T40" fmla="*/ 2147483647 w 762"/>
              <a:gd name="T41" fmla="*/ 2147483647 h 1048"/>
              <a:gd name="T42" fmla="*/ 2147483647 w 762"/>
              <a:gd name="T43" fmla="*/ 2147483647 h 1048"/>
              <a:gd name="T44" fmla="*/ 2147483647 w 762"/>
              <a:gd name="T45" fmla="*/ 2147483647 h 1048"/>
              <a:gd name="T46" fmla="*/ 2147483647 w 762"/>
              <a:gd name="T47" fmla="*/ 2147483647 h 1048"/>
              <a:gd name="T48" fmla="*/ 2147483647 w 762"/>
              <a:gd name="T49" fmla="*/ 2147483647 h 1048"/>
              <a:gd name="T50" fmla="*/ 2147483647 w 762"/>
              <a:gd name="T51" fmla="*/ 2147483647 h 1048"/>
              <a:gd name="T52" fmla="*/ 2147483647 w 762"/>
              <a:gd name="T53" fmla="*/ 2147483647 h 1048"/>
              <a:gd name="T54" fmla="*/ 2147483647 w 762"/>
              <a:gd name="T55" fmla="*/ 2147483647 h 1048"/>
              <a:gd name="T56" fmla="*/ 2147483647 w 762"/>
              <a:gd name="T57" fmla="*/ 2147483647 h 1048"/>
              <a:gd name="T58" fmla="*/ 2147483647 w 762"/>
              <a:gd name="T59" fmla="*/ 2147483647 h 1048"/>
              <a:gd name="T60" fmla="*/ 2147483647 w 762"/>
              <a:gd name="T61" fmla="*/ 2147483647 h 1048"/>
              <a:gd name="T62" fmla="*/ 2147483647 w 762"/>
              <a:gd name="T63" fmla="*/ 2147483647 h 1048"/>
              <a:gd name="T64" fmla="*/ 2147483647 w 762"/>
              <a:gd name="T65" fmla="*/ 2147483647 h 1048"/>
              <a:gd name="T66" fmla="*/ 2147483647 w 762"/>
              <a:gd name="T67" fmla="*/ 2147483647 h 1048"/>
              <a:gd name="T68" fmla="*/ 2147483647 w 762"/>
              <a:gd name="T69" fmla="*/ 2147483647 h 1048"/>
              <a:gd name="T70" fmla="*/ 2147483647 w 762"/>
              <a:gd name="T71" fmla="*/ 2147483647 h 1048"/>
              <a:gd name="T72" fmla="*/ 2147483647 w 762"/>
              <a:gd name="T73" fmla="*/ 2147483647 h 1048"/>
              <a:gd name="T74" fmla="*/ 2147483647 w 762"/>
              <a:gd name="T75" fmla="*/ 2147483647 h 1048"/>
              <a:gd name="T76" fmla="*/ 2147483647 w 762"/>
              <a:gd name="T77" fmla="*/ 2147483647 h 1048"/>
              <a:gd name="T78" fmla="*/ 2147483647 w 762"/>
              <a:gd name="T79" fmla="*/ 2147483647 h 1048"/>
              <a:gd name="T80" fmla="*/ 2147483647 w 762"/>
              <a:gd name="T81" fmla="*/ 2147483647 h 1048"/>
              <a:gd name="T82" fmla="*/ 2147483647 w 762"/>
              <a:gd name="T83" fmla="*/ 2147483647 h 1048"/>
              <a:gd name="T84" fmla="*/ 2147483647 w 762"/>
              <a:gd name="T85" fmla="*/ 2147483647 h 1048"/>
              <a:gd name="T86" fmla="*/ 2147483647 w 762"/>
              <a:gd name="T87" fmla="*/ 2147483647 h 1048"/>
              <a:gd name="T88" fmla="*/ 2147483647 w 762"/>
              <a:gd name="T89" fmla="*/ 2147483647 h 1048"/>
              <a:gd name="T90" fmla="*/ 2147483647 w 762"/>
              <a:gd name="T91" fmla="*/ 2147483647 h 1048"/>
              <a:gd name="T92" fmla="*/ 2147483647 w 762"/>
              <a:gd name="T93" fmla="*/ 2147483647 h 1048"/>
              <a:gd name="T94" fmla="*/ 2147483647 w 762"/>
              <a:gd name="T95" fmla="*/ 2147483647 h 1048"/>
              <a:gd name="T96" fmla="*/ 2147483647 w 762"/>
              <a:gd name="T97" fmla="*/ 2147483647 h 1048"/>
              <a:gd name="T98" fmla="*/ 2147483647 w 762"/>
              <a:gd name="T99" fmla="*/ 2147483647 h 1048"/>
              <a:gd name="T100" fmla="*/ 2147483647 w 762"/>
              <a:gd name="T101" fmla="*/ 2147483647 h 1048"/>
              <a:gd name="T102" fmla="*/ 2147483647 w 762"/>
              <a:gd name="T103" fmla="*/ 2147483647 h 1048"/>
              <a:gd name="T104" fmla="*/ 2147483647 w 762"/>
              <a:gd name="T105" fmla="*/ 2147483647 h 1048"/>
              <a:gd name="T106" fmla="*/ 2147483647 w 762"/>
              <a:gd name="T107" fmla="*/ 2147483647 h 10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762"/>
              <a:gd name="T163" fmla="*/ 0 h 1048"/>
              <a:gd name="T164" fmla="*/ 762 w 762"/>
              <a:gd name="T165" fmla="*/ 1048 h 104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762" h="1048">
                <a:moveTo>
                  <a:pt x="0" y="303"/>
                </a:moveTo>
                <a:lnTo>
                  <a:pt x="14" y="313"/>
                </a:lnTo>
                <a:lnTo>
                  <a:pt x="28" y="323"/>
                </a:lnTo>
                <a:lnTo>
                  <a:pt x="43" y="329"/>
                </a:lnTo>
                <a:lnTo>
                  <a:pt x="58" y="334"/>
                </a:lnTo>
                <a:lnTo>
                  <a:pt x="74" y="338"/>
                </a:lnTo>
                <a:lnTo>
                  <a:pt x="91" y="341"/>
                </a:lnTo>
                <a:lnTo>
                  <a:pt x="107" y="342"/>
                </a:lnTo>
                <a:lnTo>
                  <a:pt x="123" y="341"/>
                </a:lnTo>
                <a:lnTo>
                  <a:pt x="134" y="325"/>
                </a:lnTo>
                <a:lnTo>
                  <a:pt x="144" y="311"/>
                </a:lnTo>
                <a:lnTo>
                  <a:pt x="153" y="297"/>
                </a:lnTo>
                <a:lnTo>
                  <a:pt x="164" y="282"/>
                </a:lnTo>
                <a:lnTo>
                  <a:pt x="200" y="281"/>
                </a:lnTo>
                <a:lnTo>
                  <a:pt x="237" y="280"/>
                </a:lnTo>
                <a:lnTo>
                  <a:pt x="272" y="278"/>
                </a:lnTo>
                <a:lnTo>
                  <a:pt x="308" y="277"/>
                </a:lnTo>
                <a:lnTo>
                  <a:pt x="313" y="263"/>
                </a:lnTo>
                <a:lnTo>
                  <a:pt x="320" y="251"/>
                </a:lnTo>
                <a:lnTo>
                  <a:pt x="326" y="239"/>
                </a:lnTo>
                <a:lnTo>
                  <a:pt x="333" y="229"/>
                </a:lnTo>
                <a:lnTo>
                  <a:pt x="347" y="209"/>
                </a:lnTo>
                <a:lnTo>
                  <a:pt x="360" y="191"/>
                </a:lnTo>
                <a:lnTo>
                  <a:pt x="367" y="182"/>
                </a:lnTo>
                <a:lnTo>
                  <a:pt x="372" y="173"/>
                </a:lnTo>
                <a:lnTo>
                  <a:pt x="376" y="163"/>
                </a:lnTo>
                <a:lnTo>
                  <a:pt x="380" y="152"/>
                </a:lnTo>
                <a:lnTo>
                  <a:pt x="381" y="140"/>
                </a:lnTo>
                <a:lnTo>
                  <a:pt x="381" y="127"/>
                </a:lnTo>
                <a:lnTo>
                  <a:pt x="381" y="113"/>
                </a:lnTo>
                <a:lnTo>
                  <a:pt x="377" y="97"/>
                </a:lnTo>
                <a:lnTo>
                  <a:pt x="356" y="112"/>
                </a:lnTo>
                <a:lnTo>
                  <a:pt x="339" y="122"/>
                </a:lnTo>
                <a:lnTo>
                  <a:pt x="332" y="127"/>
                </a:lnTo>
                <a:lnTo>
                  <a:pt x="325" y="130"/>
                </a:lnTo>
                <a:lnTo>
                  <a:pt x="317" y="133"/>
                </a:lnTo>
                <a:lnTo>
                  <a:pt x="312" y="135"/>
                </a:lnTo>
                <a:lnTo>
                  <a:pt x="306" y="135"/>
                </a:lnTo>
                <a:lnTo>
                  <a:pt x="300" y="135"/>
                </a:lnTo>
                <a:lnTo>
                  <a:pt x="294" y="133"/>
                </a:lnTo>
                <a:lnTo>
                  <a:pt x="289" y="129"/>
                </a:lnTo>
                <a:lnTo>
                  <a:pt x="283" y="125"/>
                </a:lnTo>
                <a:lnTo>
                  <a:pt x="277" y="118"/>
                </a:lnTo>
                <a:lnTo>
                  <a:pt x="272" y="109"/>
                </a:lnTo>
                <a:lnTo>
                  <a:pt x="265" y="100"/>
                </a:lnTo>
                <a:lnTo>
                  <a:pt x="274" y="84"/>
                </a:lnTo>
                <a:lnTo>
                  <a:pt x="283" y="71"/>
                </a:lnTo>
                <a:lnTo>
                  <a:pt x="294" y="61"/>
                </a:lnTo>
                <a:lnTo>
                  <a:pt x="304" y="52"/>
                </a:lnTo>
                <a:lnTo>
                  <a:pt x="316" y="44"/>
                </a:lnTo>
                <a:lnTo>
                  <a:pt x="329" y="38"/>
                </a:lnTo>
                <a:lnTo>
                  <a:pt x="342" y="34"/>
                </a:lnTo>
                <a:lnTo>
                  <a:pt x="355" y="32"/>
                </a:lnTo>
                <a:lnTo>
                  <a:pt x="368" y="31"/>
                </a:lnTo>
                <a:lnTo>
                  <a:pt x="382" y="32"/>
                </a:lnTo>
                <a:lnTo>
                  <a:pt x="395" y="35"/>
                </a:lnTo>
                <a:lnTo>
                  <a:pt x="410" y="39"/>
                </a:lnTo>
                <a:lnTo>
                  <a:pt x="424" y="45"/>
                </a:lnTo>
                <a:lnTo>
                  <a:pt x="437" y="52"/>
                </a:lnTo>
                <a:lnTo>
                  <a:pt x="451" y="61"/>
                </a:lnTo>
                <a:lnTo>
                  <a:pt x="464" y="71"/>
                </a:lnTo>
                <a:lnTo>
                  <a:pt x="481" y="71"/>
                </a:lnTo>
                <a:lnTo>
                  <a:pt x="501" y="73"/>
                </a:lnTo>
                <a:lnTo>
                  <a:pt x="505" y="56"/>
                </a:lnTo>
                <a:lnTo>
                  <a:pt x="509" y="35"/>
                </a:lnTo>
                <a:lnTo>
                  <a:pt x="510" y="25"/>
                </a:lnTo>
                <a:lnTo>
                  <a:pt x="512" y="16"/>
                </a:lnTo>
                <a:lnTo>
                  <a:pt x="515" y="6"/>
                </a:lnTo>
                <a:lnTo>
                  <a:pt x="518" y="0"/>
                </a:lnTo>
                <a:lnTo>
                  <a:pt x="531" y="0"/>
                </a:lnTo>
                <a:lnTo>
                  <a:pt x="545" y="1"/>
                </a:lnTo>
                <a:lnTo>
                  <a:pt x="550" y="43"/>
                </a:lnTo>
                <a:lnTo>
                  <a:pt x="554" y="65"/>
                </a:lnTo>
                <a:lnTo>
                  <a:pt x="558" y="78"/>
                </a:lnTo>
                <a:lnTo>
                  <a:pt x="562" y="86"/>
                </a:lnTo>
                <a:lnTo>
                  <a:pt x="571" y="86"/>
                </a:lnTo>
                <a:lnTo>
                  <a:pt x="579" y="84"/>
                </a:lnTo>
                <a:lnTo>
                  <a:pt x="587" y="82"/>
                </a:lnTo>
                <a:lnTo>
                  <a:pt x="594" y="78"/>
                </a:lnTo>
                <a:lnTo>
                  <a:pt x="609" y="73"/>
                </a:lnTo>
                <a:lnTo>
                  <a:pt x="622" y="71"/>
                </a:lnTo>
                <a:lnTo>
                  <a:pt x="627" y="84"/>
                </a:lnTo>
                <a:lnTo>
                  <a:pt x="632" y="100"/>
                </a:lnTo>
                <a:lnTo>
                  <a:pt x="637" y="126"/>
                </a:lnTo>
                <a:lnTo>
                  <a:pt x="645" y="174"/>
                </a:lnTo>
                <a:lnTo>
                  <a:pt x="659" y="183"/>
                </a:lnTo>
                <a:lnTo>
                  <a:pt x="675" y="192"/>
                </a:lnTo>
                <a:lnTo>
                  <a:pt x="671" y="200"/>
                </a:lnTo>
                <a:lnTo>
                  <a:pt x="667" y="207"/>
                </a:lnTo>
                <a:lnTo>
                  <a:pt x="658" y="213"/>
                </a:lnTo>
                <a:lnTo>
                  <a:pt x="643" y="225"/>
                </a:lnTo>
                <a:lnTo>
                  <a:pt x="639" y="244"/>
                </a:lnTo>
                <a:lnTo>
                  <a:pt x="636" y="263"/>
                </a:lnTo>
                <a:lnTo>
                  <a:pt x="636" y="280"/>
                </a:lnTo>
                <a:lnTo>
                  <a:pt x="637" y="294"/>
                </a:lnTo>
                <a:lnTo>
                  <a:pt x="641" y="308"/>
                </a:lnTo>
                <a:lnTo>
                  <a:pt x="645" y="321"/>
                </a:lnTo>
                <a:lnTo>
                  <a:pt x="652" y="332"/>
                </a:lnTo>
                <a:lnTo>
                  <a:pt x="659" y="342"/>
                </a:lnTo>
                <a:lnTo>
                  <a:pt x="669" y="351"/>
                </a:lnTo>
                <a:lnTo>
                  <a:pt x="679" y="359"/>
                </a:lnTo>
                <a:lnTo>
                  <a:pt x="689" y="367"/>
                </a:lnTo>
                <a:lnTo>
                  <a:pt x="702" y="373"/>
                </a:lnTo>
                <a:lnTo>
                  <a:pt x="715" y="378"/>
                </a:lnTo>
                <a:lnTo>
                  <a:pt x="731" y="384"/>
                </a:lnTo>
                <a:lnTo>
                  <a:pt x="745" y="388"/>
                </a:lnTo>
                <a:lnTo>
                  <a:pt x="762" y="391"/>
                </a:lnTo>
                <a:lnTo>
                  <a:pt x="760" y="398"/>
                </a:lnTo>
                <a:lnTo>
                  <a:pt x="756" y="402"/>
                </a:lnTo>
                <a:lnTo>
                  <a:pt x="752" y="407"/>
                </a:lnTo>
                <a:lnTo>
                  <a:pt x="747" y="410"/>
                </a:lnTo>
                <a:lnTo>
                  <a:pt x="736" y="415"/>
                </a:lnTo>
                <a:lnTo>
                  <a:pt x="725" y="419"/>
                </a:lnTo>
                <a:lnTo>
                  <a:pt x="713" y="421"/>
                </a:lnTo>
                <a:lnTo>
                  <a:pt x="700" y="425"/>
                </a:lnTo>
                <a:lnTo>
                  <a:pt x="688" y="429"/>
                </a:lnTo>
                <a:lnTo>
                  <a:pt x="678" y="436"/>
                </a:lnTo>
                <a:lnTo>
                  <a:pt x="672" y="507"/>
                </a:lnTo>
                <a:lnTo>
                  <a:pt x="670" y="548"/>
                </a:lnTo>
                <a:lnTo>
                  <a:pt x="667" y="568"/>
                </a:lnTo>
                <a:lnTo>
                  <a:pt x="662" y="584"/>
                </a:lnTo>
                <a:lnTo>
                  <a:pt x="666" y="593"/>
                </a:lnTo>
                <a:lnTo>
                  <a:pt x="669" y="602"/>
                </a:lnTo>
                <a:lnTo>
                  <a:pt x="671" y="609"/>
                </a:lnTo>
                <a:lnTo>
                  <a:pt x="672" y="615"/>
                </a:lnTo>
                <a:lnTo>
                  <a:pt x="672" y="622"/>
                </a:lnTo>
                <a:lnTo>
                  <a:pt x="671" y="626"/>
                </a:lnTo>
                <a:lnTo>
                  <a:pt x="669" y="631"/>
                </a:lnTo>
                <a:lnTo>
                  <a:pt x="666" y="635"/>
                </a:lnTo>
                <a:lnTo>
                  <a:pt x="663" y="637"/>
                </a:lnTo>
                <a:lnTo>
                  <a:pt x="659" y="640"/>
                </a:lnTo>
                <a:lnTo>
                  <a:pt x="654" y="641"/>
                </a:lnTo>
                <a:lnTo>
                  <a:pt x="649" y="644"/>
                </a:lnTo>
                <a:lnTo>
                  <a:pt x="637" y="645"/>
                </a:lnTo>
                <a:lnTo>
                  <a:pt x="624" y="645"/>
                </a:lnTo>
                <a:lnTo>
                  <a:pt x="596" y="644"/>
                </a:lnTo>
                <a:lnTo>
                  <a:pt x="566" y="640"/>
                </a:lnTo>
                <a:lnTo>
                  <a:pt x="551" y="639"/>
                </a:lnTo>
                <a:lnTo>
                  <a:pt x="538" y="639"/>
                </a:lnTo>
                <a:lnTo>
                  <a:pt x="527" y="639"/>
                </a:lnTo>
                <a:lnTo>
                  <a:pt x="518" y="640"/>
                </a:lnTo>
                <a:lnTo>
                  <a:pt x="519" y="658"/>
                </a:lnTo>
                <a:lnTo>
                  <a:pt x="522" y="678"/>
                </a:lnTo>
                <a:lnTo>
                  <a:pt x="525" y="697"/>
                </a:lnTo>
                <a:lnTo>
                  <a:pt x="531" y="715"/>
                </a:lnTo>
                <a:lnTo>
                  <a:pt x="535" y="735"/>
                </a:lnTo>
                <a:lnTo>
                  <a:pt x="538" y="752"/>
                </a:lnTo>
                <a:lnTo>
                  <a:pt x="540" y="761"/>
                </a:lnTo>
                <a:lnTo>
                  <a:pt x="540" y="769"/>
                </a:lnTo>
                <a:lnTo>
                  <a:pt x="540" y="777"/>
                </a:lnTo>
                <a:lnTo>
                  <a:pt x="538" y="784"/>
                </a:lnTo>
                <a:lnTo>
                  <a:pt x="515" y="795"/>
                </a:lnTo>
                <a:lnTo>
                  <a:pt x="489" y="805"/>
                </a:lnTo>
                <a:lnTo>
                  <a:pt x="464" y="813"/>
                </a:lnTo>
                <a:lnTo>
                  <a:pt x="446" y="821"/>
                </a:lnTo>
                <a:lnTo>
                  <a:pt x="447" y="834"/>
                </a:lnTo>
                <a:lnTo>
                  <a:pt x="450" y="844"/>
                </a:lnTo>
                <a:lnTo>
                  <a:pt x="454" y="853"/>
                </a:lnTo>
                <a:lnTo>
                  <a:pt x="458" y="862"/>
                </a:lnTo>
                <a:lnTo>
                  <a:pt x="464" y="869"/>
                </a:lnTo>
                <a:lnTo>
                  <a:pt x="471" y="875"/>
                </a:lnTo>
                <a:lnTo>
                  <a:pt x="479" y="882"/>
                </a:lnTo>
                <a:lnTo>
                  <a:pt x="485" y="887"/>
                </a:lnTo>
                <a:lnTo>
                  <a:pt x="501" y="898"/>
                </a:lnTo>
                <a:lnTo>
                  <a:pt x="516" y="909"/>
                </a:lnTo>
                <a:lnTo>
                  <a:pt x="523" y="917"/>
                </a:lnTo>
                <a:lnTo>
                  <a:pt x="529" y="925"/>
                </a:lnTo>
                <a:lnTo>
                  <a:pt x="535" y="934"/>
                </a:lnTo>
                <a:lnTo>
                  <a:pt x="538" y="944"/>
                </a:lnTo>
                <a:lnTo>
                  <a:pt x="518" y="955"/>
                </a:lnTo>
                <a:lnTo>
                  <a:pt x="490" y="970"/>
                </a:lnTo>
                <a:lnTo>
                  <a:pt x="459" y="989"/>
                </a:lnTo>
                <a:lnTo>
                  <a:pt x="427" y="1007"/>
                </a:lnTo>
                <a:lnTo>
                  <a:pt x="394" y="1024"/>
                </a:lnTo>
                <a:lnTo>
                  <a:pt x="364" y="1038"/>
                </a:lnTo>
                <a:lnTo>
                  <a:pt x="351" y="1043"/>
                </a:lnTo>
                <a:lnTo>
                  <a:pt x="338" y="1047"/>
                </a:lnTo>
                <a:lnTo>
                  <a:pt x="326" y="1048"/>
                </a:lnTo>
                <a:lnTo>
                  <a:pt x="317" y="1048"/>
                </a:lnTo>
                <a:lnTo>
                  <a:pt x="308" y="1026"/>
                </a:lnTo>
                <a:lnTo>
                  <a:pt x="295" y="1006"/>
                </a:lnTo>
                <a:lnTo>
                  <a:pt x="282" y="982"/>
                </a:lnTo>
                <a:lnTo>
                  <a:pt x="268" y="953"/>
                </a:lnTo>
                <a:lnTo>
                  <a:pt x="235" y="911"/>
                </a:lnTo>
                <a:lnTo>
                  <a:pt x="213" y="883"/>
                </a:lnTo>
                <a:lnTo>
                  <a:pt x="208" y="878"/>
                </a:lnTo>
                <a:lnTo>
                  <a:pt x="202" y="873"/>
                </a:lnTo>
                <a:lnTo>
                  <a:pt x="195" y="869"/>
                </a:lnTo>
                <a:lnTo>
                  <a:pt x="189" y="865"/>
                </a:lnTo>
                <a:lnTo>
                  <a:pt x="170" y="856"/>
                </a:lnTo>
                <a:lnTo>
                  <a:pt x="147" y="848"/>
                </a:lnTo>
                <a:lnTo>
                  <a:pt x="153" y="834"/>
                </a:lnTo>
                <a:lnTo>
                  <a:pt x="159" y="826"/>
                </a:lnTo>
                <a:lnTo>
                  <a:pt x="162" y="821"/>
                </a:lnTo>
                <a:lnTo>
                  <a:pt x="170" y="816"/>
                </a:lnTo>
                <a:lnTo>
                  <a:pt x="169" y="793"/>
                </a:lnTo>
                <a:lnTo>
                  <a:pt x="165" y="773"/>
                </a:lnTo>
                <a:lnTo>
                  <a:pt x="160" y="752"/>
                </a:lnTo>
                <a:lnTo>
                  <a:pt x="153" y="732"/>
                </a:lnTo>
                <a:lnTo>
                  <a:pt x="144" y="713"/>
                </a:lnTo>
                <a:lnTo>
                  <a:pt x="135" y="695"/>
                </a:lnTo>
                <a:lnTo>
                  <a:pt x="126" y="675"/>
                </a:lnTo>
                <a:lnTo>
                  <a:pt x="116" y="657"/>
                </a:lnTo>
                <a:lnTo>
                  <a:pt x="95" y="618"/>
                </a:lnTo>
                <a:lnTo>
                  <a:pt x="77" y="580"/>
                </a:lnTo>
                <a:lnTo>
                  <a:pt x="69" y="559"/>
                </a:lnTo>
                <a:lnTo>
                  <a:pt x="62" y="538"/>
                </a:lnTo>
                <a:lnTo>
                  <a:pt x="57" y="518"/>
                </a:lnTo>
                <a:lnTo>
                  <a:pt x="55" y="496"/>
                </a:lnTo>
                <a:lnTo>
                  <a:pt x="61" y="468"/>
                </a:lnTo>
                <a:lnTo>
                  <a:pt x="65" y="450"/>
                </a:lnTo>
                <a:lnTo>
                  <a:pt x="66" y="432"/>
                </a:lnTo>
                <a:lnTo>
                  <a:pt x="66" y="406"/>
                </a:lnTo>
                <a:lnTo>
                  <a:pt x="47" y="381"/>
                </a:lnTo>
                <a:lnTo>
                  <a:pt x="30" y="356"/>
                </a:lnTo>
                <a:lnTo>
                  <a:pt x="21" y="345"/>
                </a:lnTo>
                <a:lnTo>
                  <a:pt x="14" y="332"/>
                </a:lnTo>
                <a:lnTo>
                  <a:pt x="6" y="317"/>
                </a:lnTo>
                <a:lnTo>
                  <a:pt x="0" y="303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42" name="Freeform 115"/>
          <p:cNvSpPr>
            <a:spLocks/>
          </p:cNvSpPr>
          <p:nvPr/>
        </p:nvSpPr>
        <p:spPr bwMode="auto">
          <a:xfrm>
            <a:off x="2444750" y="3536950"/>
            <a:ext cx="379413" cy="449263"/>
          </a:xfrm>
          <a:custGeom>
            <a:avLst/>
            <a:gdLst>
              <a:gd name="T0" fmla="*/ 2147483647 w 958"/>
              <a:gd name="T1" fmla="*/ 2147483647 h 1130"/>
              <a:gd name="T2" fmla="*/ 2147483647 w 958"/>
              <a:gd name="T3" fmla="*/ 2147483647 h 1130"/>
              <a:gd name="T4" fmla="*/ 2147483647 w 958"/>
              <a:gd name="T5" fmla="*/ 2147483647 h 1130"/>
              <a:gd name="T6" fmla="*/ 2147483647 w 958"/>
              <a:gd name="T7" fmla="*/ 2147483647 h 1130"/>
              <a:gd name="T8" fmla="*/ 2147483647 w 958"/>
              <a:gd name="T9" fmla="*/ 2147483647 h 1130"/>
              <a:gd name="T10" fmla="*/ 2147483647 w 958"/>
              <a:gd name="T11" fmla="*/ 2147483647 h 1130"/>
              <a:gd name="T12" fmla="*/ 2147483647 w 958"/>
              <a:gd name="T13" fmla="*/ 2147483647 h 1130"/>
              <a:gd name="T14" fmla="*/ 2147483647 w 958"/>
              <a:gd name="T15" fmla="*/ 2147483647 h 1130"/>
              <a:gd name="T16" fmla="*/ 2147483647 w 958"/>
              <a:gd name="T17" fmla="*/ 2147483647 h 1130"/>
              <a:gd name="T18" fmla="*/ 2147483647 w 958"/>
              <a:gd name="T19" fmla="*/ 2147483647 h 1130"/>
              <a:gd name="T20" fmla="*/ 2147483647 w 958"/>
              <a:gd name="T21" fmla="*/ 2147483647 h 1130"/>
              <a:gd name="T22" fmla="*/ 2147483647 w 958"/>
              <a:gd name="T23" fmla="*/ 2147483647 h 1130"/>
              <a:gd name="T24" fmla="*/ 2147483647 w 958"/>
              <a:gd name="T25" fmla="*/ 2147483647 h 1130"/>
              <a:gd name="T26" fmla="*/ 2147483647 w 958"/>
              <a:gd name="T27" fmla="*/ 2147483647 h 1130"/>
              <a:gd name="T28" fmla="*/ 2147483647 w 958"/>
              <a:gd name="T29" fmla="*/ 2147483647 h 1130"/>
              <a:gd name="T30" fmla="*/ 2147483647 w 958"/>
              <a:gd name="T31" fmla="*/ 2147483647 h 1130"/>
              <a:gd name="T32" fmla="*/ 2147483647 w 958"/>
              <a:gd name="T33" fmla="*/ 2147483647 h 1130"/>
              <a:gd name="T34" fmla="*/ 2147483647 w 958"/>
              <a:gd name="T35" fmla="*/ 2147483647 h 1130"/>
              <a:gd name="T36" fmla="*/ 2147483647 w 958"/>
              <a:gd name="T37" fmla="*/ 2147483647 h 1130"/>
              <a:gd name="T38" fmla="*/ 2147483647 w 958"/>
              <a:gd name="T39" fmla="*/ 2147483647 h 1130"/>
              <a:gd name="T40" fmla="*/ 2147483647 w 958"/>
              <a:gd name="T41" fmla="*/ 2147483647 h 1130"/>
              <a:gd name="T42" fmla="*/ 2147483647 w 958"/>
              <a:gd name="T43" fmla="*/ 2147483647 h 1130"/>
              <a:gd name="T44" fmla="*/ 2147483647 w 958"/>
              <a:gd name="T45" fmla="*/ 2147483647 h 1130"/>
              <a:gd name="T46" fmla="*/ 2147483647 w 958"/>
              <a:gd name="T47" fmla="*/ 2147483647 h 1130"/>
              <a:gd name="T48" fmla="*/ 2147483647 w 958"/>
              <a:gd name="T49" fmla="*/ 2147483647 h 1130"/>
              <a:gd name="T50" fmla="*/ 2147483647 w 958"/>
              <a:gd name="T51" fmla="*/ 2147483647 h 1130"/>
              <a:gd name="T52" fmla="*/ 2147483647 w 958"/>
              <a:gd name="T53" fmla="*/ 2147483647 h 1130"/>
              <a:gd name="T54" fmla="*/ 2147483647 w 958"/>
              <a:gd name="T55" fmla="*/ 2147483647 h 1130"/>
              <a:gd name="T56" fmla="*/ 2147483647 w 958"/>
              <a:gd name="T57" fmla="*/ 2147483647 h 1130"/>
              <a:gd name="T58" fmla="*/ 2147483647 w 958"/>
              <a:gd name="T59" fmla="*/ 2147483647 h 1130"/>
              <a:gd name="T60" fmla="*/ 2147483647 w 958"/>
              <a:gd name="T61" fmla="*/ 2147483647 h 1130"/>
              <a:gd name="T62" fmla="*/ 2147483647 w 958"/>
              <a:gd name="T63" fmla="*/ 0 h 1130"/>
              <a:gd name="T64" fmla="*/ 2147483647 w 958"/>
              <a:gd name="T65" fmla="*/ 2147483647 h 1130"/>
              <a:gd name="T66" fmla="*/ 2147483647 w 958"/>
              <a:gd name="T67" fmla="*/ 2147483647 h 1130"/>
              <a:gd name="T68" fmla="*/ 2147483647 w 958"/>
              <a:gd name="T69" fmla="*/ 2147483647 h 1130"/>
              <a:gd name="T70" fmla="*/ 2147483647 w 958"/>
              <a:gd name="T71" fmla="*/ 2147483647 h 1130"/>
              <a:gd name="T72" fmla="*/ 2147483647 w 958"/>
              <a:gd name="T73" fmla="*/ 2147483647 h 1130"/>
              <a:gd name="T74" fmla="*/ 2147483647 w 958"/>
              <a:gd name="T75" fmla="*/ 2147483647 h 1130"/>
              <a:gd name="T76" fmla="*/ 2147483647 w 958"/>
              <a:gd name="T77" fmla="*/ 2147483647 h 1130"/>
              <a:gd name="T78" fmla="*/ 2147483647 w 958"/>
              <a:gd name="T79" fmla="*/ 2147483647 h 1130"/>
              <a:gd name="T80" fmla="*/ 2147483647 w 958"/>
              <a:gd name="T81" fmla="*/ 2147483647 h 1130"/>
              <a:gd name="T82" fmla="*/ 2147483647 w 958"/>
              <a:gd name="T83" fmla="*/ 2147483647 h 1130"/>
              <a:gd name="T84" fmla="*/ 2147483647 w 958"/>
              <a:gd name="T85" fmla="*/ 2147483647 h 1130"/>
              <a:gd name="T86" fmla="*/ 2147483647 w 958"/>
              <a:gd name="T87" fmla="*/ 2147483647 h 1130"/>
              <a:gd name="T88" fmla="*/ 2147483647 w 958"/>
              <a:gd name="T89" fmla="*/ 2147483647 h 1130"/>
              <a:gd name="T90" fmla="*/ 2147483647 w 958"/>
              <a:gd name="T91" fmla="*/ 2147483647 h 1130"/>
              <a:gd name="T92" fmla="*/ 2147483647 w 958"/>
              <a:gd name="T93" fmla="*/ 2147483647 h 1130"/>
              <a:gd name="T94" fmla="*/ 2147483647 w 958"/>
              <a:gd name="T95" fmla="*/ 2147483647 h 1130"/>
              <a:gd name="T96" fmla="*/ 2147483647 w 958"/>
              <a:gd name="T97" fmla="*/ 2147483647 h 1130"/>
              <a:gd name="T98" fmla="*/ 2147483647 w 958"/>
              <a:gd name="T99" fmla="*/ 2147483647 h 1130"/>
              <a:gd name="T100" fmla="*/ 2147483647 w 958"/>
              <a:gd name="T101" fmla="*/ 2147483647 h 1130"/>
              <a:gd name="T102" fmla="*/ 2147483647 w 958"/>
              <a:gd name="T103" fmla="*/ 2147483647 h 1130"/>
              <a:gd name="T104" fmla="*/ 2147483647 w 958"/>
              <a:gd name="T105" fmla="*/ 2147483647 h 1130"/>
              <a:gd name="T106" fmla="*/ 2147483647 w 958"/>
              <a:gd name="T107" fmla="*/ 2147483647 h 1130"/>
              <a:gd name="T108" fmla="*/ 2147483647 w 958"/>
              <a:gd name="T109" fmla="*/ 2147483647 h 1130"/>
              <a:gd name="T110" fmla="*/ 2147483647 w 958"/>
              <a:gd name="T111" fmla="*/ 2147483647 h 1130"/>
              <a:gd name="T112" fmla="*/ 2147483647 w 958"/>
              <a:gd name="T113" fmla="*/ 2147483647 h 1130"/>
              <a:gd name="T114" fmla="*/ 2147483647 w 958"/>
              <a:gd name="T115" fmla="*/ 2147483647 h 113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958"/>
              <a:gd name="T175" fmla="*/ 0 h 1130"/>
              <a:gd name="T176" fmla="*/ 958 w 958"/>
              <a:gd name="T177" fmla="*/ 1130 h 113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958" h="1130">
                <a:moveTo>
                  <a:pt x="141" y="1130"/>
                </a:moveTo>
                <a:lnTo>
                  <a:pt x="130" y="1125"/>
                </a:lnTo>
                <a:lnTo>
                  <a:pt x="120" y="1119"/>
                </a:lnTo>
                <a:lnTo>
                  <a:pt x="117" y="1108"/>
                </a:lnTo>
                <a:lnTo>
                  <a:pt x="115" y="1096"/>
                </a:lnTo>
                <a:lnTo>
                  <a:pt x="113" y="1087"/>
                </a:lnTo>
                <a:lnTo>
                  <a:pt x="112" y="1077"/>
                </a:lnTo>
                <a:lnTo>
                  <a:pt x="126" y="1070"/>
                </a:lnTo>
                <a:lnTo>
                  <a:pt x="141" y="1065"/>
                </a:lnTo>
                <a:lnTo>
                  <a:pt x="156" y="1059"/>
                </a:lnTo>
                <a:lnTo>
                  <a:pt x="172" y="1054"/>
                </a:lnTo>
                <a:lnTo>
                  <a:pt x="172" y="1028"/>
                </a:lnTo>
                <a:lnTo>
                  <a:pt x="171" y="1008"/>
                </a:lnTo>
                <a:lnTo>
                  <a:pt x="169" y="1000"/>
                </a:lnTo>
                <a:lnTo>
                  <a:pt x="167" y="992"/>
                </a:lnTo>
                <a:lnTo>
                  <a:pt x="164" y="986"/>
                </a:lnTo>
                <a:lnTo>
                  <a:pt x="161" y="981"/>
                </a:lnTo>
                <a:lnTo>
                  <a:pt x="157" y="976"/>
                </a:lnTo>
                <a:lnTo>
                  <a:pt x="152" y="972"/>
                </a:lnTo>
                <a:lnTo>
                  <a:pt x="146" y="966"/>
                </a:lnTo>
                <a:lnTo>
                  <a:pt x="138" y="963"/>
                </a:lnTo>
                <a:lnTo>
                  <a:pt x="120" y="952"/>
                </a:lnTo>
                <a:lnTo>
                  <a:pt x="95" y="940"/>
                </a:lnTo>
                <a:lnTo>
                  <a:pt x="50" y="940"/>
                </a:lnTo>
                <a:lnTo>
                  <a:pt x="25" y="939"/>
                </a:lnTo>
                <a:lnTo>
                  <a:pt x="17" y="938"/>
                </a:lnTo>
                <a:lnTo>
                  <a:pt x="12" y="936"/>
                </a:lnTo>
                <a:lnTo>
                  <a:pt x="7" y="935"/>
                </a:lnTo>
                <a:lnTo>
                  <a:pt x="0" y="933"/>
                </a:lnTo>
                <a:lnTo>
                  <a:pt x="4" y="905"/>
                </a:lnTo>
                <a:lnTo>
                  <a:pt x="8" y="879"/>
                </a:lnTo>
                <a:lnTo>
                  <a:pt x="12" y="853"/>
                </a:lnTo>
                <a:lnTo>
                  <a:pt x="16" y="827"/>
                </a:lnTo>
                <a:lnTo>
                  <a:pt x="36" y="810"/>
                </a:lnTo>
                <a:lnTo>
                  <a:pt x="55" y="795"/>
                </a:lnTo>
                <a:lnTo>
                  <a:pt x="72" y="779"/>
                </a:lnTo>
                <a:lnTo>
                  <a:pt x="87" y="763"/>
                </a:lnTo>
                <a:lnTo>
                  <a:pt x="102" y="748"/>
                </a:lnTo>
                <a:lnTo>
                  <a:pt x="113" y="730"/>
                </a:lnTo>
                <a:lnTo>
                  <a:pt x="120" y="719"/>
                </a:lnTo>
                <a:lnTo>
                  <a:pt x="125" y="709"/>
                </a:lnTo>
                <a:lnTo>
                  <a:pt x="129" y="697"/>
                </a:lnTo>
                <a:lnTo>
                  <a:pt x="133" y="684"/>
                </a:lnTo>
                <a:lnTo>
                  <a:pt x="143" y="674"/>
                </a:lnTo>
                <a:lnTo>
                  <a:pt x="152" y="668"/>
                </a:lnTo>
                <a:lnTo>
                  <a:pt x="163" y="663"/>
                </a:lnTo>
                <a:lnTo>
                  <a:pt x="180" y="657"/>
                </a:lnTo>
                <a:lnTo>
                  <a:pt x="184" y="640"/>
                </a:lnTo>
                <a:lnTo>
                  <a:pt x="187" y="623"/>
                </a:lnTo>
                <a:lnTo>
                  <a:pt x="193" y="606"/>
                </a:lnTo>
                <a:lnTo>
                  <a:pt x="197" y="588"/>
                </a:lnTo>
                <a:lnTo>
                  <a:pt x="203" y="583"/>
                </a:lnTo>
                <a:lnTo>
                  <a:pt x="211" y="577"/>
                </a:lnTo>
                <a:lnTo>
                  <a:pt x="219" y="574"/>
                </a:lnTo>
                <a:lnTo>
                  <a:pt x="228" y="571"/>
                </a:lnTo>
                <a:lnTo>
                  <a:pt x="249" y="566"/>
                </a:lnTo>
                <a:lnTo>
                  <a:pt x="269" y="564"/>
                </a:lnTo>
                <a:lnTo>
                  <a:pt x="291" y="564"/>
                </a:lnTo>
                <a:lnTo>
                  <a:pt x="314" y="564"/>
                </a:lnTo>
                <a:lnTo>
                  <a:pt x="334" y="567"/>
                </a:lnTo>
                <a:lnTo>
                  <a:pt x="353" y="568"/>
                </a:lnTo>
                <a:lnTo>
                  <a:pt x="362" y="562"/>
                </a:lnTo>
                <a:lnTo>
                  <a:pt x="371" y="557"/>
                </a:lnTo>
                <a:lnTo>
                  <a:pt x="379" y="549"/>
                </a:lnTo>
                <a:lnTo>
                  <a:pt x="385" y="542"/>
                </a:lnTo>
                <a:lnTo>
                  <a:pt x="392" y="535"/>
                </a:lnTo>
                <a:lnTo>
                  <a:pt x="398" y="527"/>
                </a:lnTo>
                <a:lnTo>
                  <a:pt x="403" y="518"/>
                </a:lnTo>
                <a:lnTo>
                  <a:pt x="409" y="507"/>
                </a:lnTo>
                <a:lnTo>
                  <a:pt x="422" y="499"/>
                </a:lnTo>
                <a:lnTo>
                  <a:pt x="435" y="490"/>
                </a:lnTo>
                <a:lnTo>
                  <a:pt x="448" y="480"/>
                </a:lnTo>
                <a:lnTo>
                  <a:pt x="459" y="469"/>
                </a:lnTo>
                <a:lnTo>
                  <a:pt x="468" y="456"/>
                </a:lnTo>
                <a:lnTo>
                  <a:pt x="476" y="443"/>
                </a:lnTo>
                <a:lnTo>
                  <a:pt x="479" y="437"/>
                </a:lnTo>
                <a:lnTo>
                  <a:pt x="481" y="429"/>
                </a:lnTo>
                <a:lnTo>
                  <a:pt x="483" y="421"/>
                </a:lnTo>
                <a:lnTo>
                  <a:pt x="483" y="414"/>
                </a:lnTo>
                <a:lnTo>
                  <a:pt x="478" y="407"/>
                </a:lnTo>
                <a:lnTo>
                  <a:pt x="471" y="403"/>
                </a:lnTo>
                <a:lnTo>
                  <a:pt x="466" y="399"/>
                </a:lnTo>
                <a:lnTo>
                  <a:pt x="461" y="397"/>
                </a:lnTo>
                <a:lnTo>
                  <a:pt x="449" y="394"/>
                </a:lnTo>
                <a:lnTo>
                  <a:pt x="435" y="390"/>
                </a:lnTo>
                <a:lnTo>
                  <a:pt x="425" y="395"/>
                </a:lnTo>
                <a:lnTo>
                  <a:pt x="414" y="399"/>
                </a:lnTo>
                <a:lnTo>
                  <a:pt x="401" y="403"/>
                </a:lnTo>
                <a:lnTo>
                  <a:pt x="388" y="404"/>
                </a:lnTo>
                <a:lnTo>
                  <a:pt x="373" y="406"/>
                </a:lnTo>
                <a:lnTo>
                  <a:pt x="358" y="406"/>
                </a:lnTo>
                <a:lnTo>
                  <a:pt x="344" y="404"/>
                </a:lnTo>
                <a:lnTo>
                  <a:pt x="328" y="402"/>
                </a:lnTo>
                <a:lnTo>
                  <a:pt x="314" y="399"/>
                </a:lnTo>
                <a:lnTo>
                  <a:pt x="299" y="395"/>
                </a:lnTo>
                <a:lnTo>
                  <a:pt x="286" y="390"/>
                </a:lnTo>
                <a:lnTo>
                  <a:pt x="273" y="384"/>
                </a:lnTo>
                <a:lnTo>
                  <a:pt x="262" y="377"/>
                </a:lnTo>
                <a:lnTo>
                  <a:pt x="251" y="371"/>
                </a:lnTo>
                <a:lnTo>
                  <a:pt x="243" y="363"/>
                </a:lnTo>
                <a:lnTo>
                  <a:pt x="237" y="354"/>
                </a:lnTo>
                <a:lnTo>
                  <a:pt x="208" y="346"/>
                </a:lnTo>
                <a:lnTo>
                  <a:pt x="186" y="339"/>
                </a:lnTo>
                <a:lnTo>
                  <a:pt x="178" y="337"/>
                </a:lnTo>
                <a:lnTo>
                  <a:pt x="171" y="333"/>
                </a:lnTo>
                <a:lnTo>
                  <a:pt x="164" y="329"/>
                </a:lnTo>
                <a:lnTo>
                  <a:pt x="159" y="325"/>
                </a:lnTo>
                <a:lnTo>
                  <a:pt x="155" y="320"/>
                </a:lnTo>
                <a:lnTo>
                  <a:pt x="151" y="315"/>
                </a:lnTo>
                <a:lnTo>
                  <a:pt x="147" y="307"/>
                </a:lnTo>
                <a:lnTo>
                  <a:pt x="144" y="299"/>
                </a:lnTo>
                <a:lnTo>
                  <a:pt x="139" y="278"/>
                </a:lnTo>
                <a:lnTo>
                  <a:pt x="133" y="251"/>
                </a:lnTo>
                <a:lnTo>
                  <a:pt x="122" y="244"/>
                </a:lnTo>
                <a:lnTo>
                  <a:pt x="115" y="237"/>
                </a:lnTo>
                <a:lnTo>
                  <a:pt x="108" y="227"/>
                </a:lnTo>
                <a:lnTo>
                  <a:pt x="105" y="217"/>
                </a:lnTo>
                <a:lnTo>
                  <a:pt x="103" y="208"/>
                </a:lnTo>
                <a:lnTo>
                  <a:pt x="103" y="198"/>
                </a:lnTo>
                <a:lnTo>
                  <a:pt x="105" y="187"/>
                </a:lnTo>
                <a:lnTo>
                  <a:pt x="108" y="177"/>
                </a:lnTo>
                <a:lnTo>
                  <a:pt x="113" y="166"/>
                </a:lnTo>
                <a:lnTo>
                  <a:pt x="118" y="156"/>
                </a:lnTo>
                <a:lnTo>
                  <a:pt x="126" y="147"/>
                </a:lnTo>
                <a:lnTo>
                  <a:pt x="134" y="139"/>
                </a:lnTo>
                <a:lnTo>
                  <a:pt x="143" y="131"/>
                </a:lnTo>
                <a:lnTo>
                  <a:pt x="152" y="123"/>
                </a:lnTo>
                <a:lnTo>
                  <a:pt x="161" y="118"/>
                </a:lnTo>
                <a:lnTo>
                  <a:pt x="172" y="113"/>
                </a:lnTo>
                <a:lnTo>
                  <a:pt x="180" y="113"/>
                </a:lnTo>
                <a:lnTo>
                  <a:pt x="187" y="116"/>
                </a:lnTo>
                <a:lnTo>
                  <a:pt x="197" y="118"/>
                </a:lnTo>
                <a:lnTo>
                  <a:pt x="204" y="121"/>
                </a:lnTo>
                <a:lnTo>
                  <a:pt x="212" y="126"/>
                </a:lnTo>
                <a:lnTo>
                  <a:pt x="220" y="130"/>
                </a:lnTo>
                <a:lnTo>
                  <a:pt x="228" y="136"/>
                </a:lnTo>
                <a:lnTo>
                  <a:pt x="234" y="143"/>
                </a:lnTo>
                <a:lnTo>
                  <a:pt x="239" y="149"/>
                </a:lnTo>
                <a:lnTo>
                  <a:pt x="243" y="156"/>
                </a:lnTo>
                <a:lnTo>
                  <a:pt x="247" y="164"/>
                </a:lnTo>
                <a:lnTo>
                  <a:pt x="249" y="172"/>
                </a:lnTo>
                <a:lnTo>
                  <a:pt x="250" y="179"/>
                </a:lnTo>
                <a:lnTo>
                  <a:pt x="249" y="187"/>
                </a:lnTo>
                <a:lnTo>
                  <a:pt x="246" y="195"/>
                </a:lnTo>
                <a:lnTo>
                  <a:pt x="241" y="204"/>
                </a:lnTo>
                <a:lnTo>
                  <a:pt x="241" y="221"/>
                </a:lnTo>
                <a:lnTo>
                  <a:pt x="243" y="241"/>
                </a:lnTo>
                <a:lnTo>
                  <a:pt x="256" y="241"/>
                </a:lnTo>
                <a:lnTo>
                  <a:pt x="269" y="241"/>
                </a:lnTo>
                <a:lnTo>
                  <a:pt x="282" y="241"/>
                </a:lnTo>
                <a:lnTo>
                  <a:pt x="294" y="241"/>
                </a:lnTo>
                <a:lnTo>
                  <a:pt x="295" y="248"/>
                </a:lnTo>
                <a:lnTo>
                  <a:pt x="295" y="255"/>
                </a:lnTo>
                <a:lnTo>
                  <a:pt x="298" y="260"/>
                </a:lnTo>
                <a:lnTo>
                  <a:pt x="299" y="265"/>
                </a:lnTo>
                <a:lnTo>
                  <a:pt x="302" y="270"/>
                </a:lnTo>
                <a:lnTo>
                  <a:pt x="306" y="273"/>
                </a:lnTo>
                <a:lnTo>
                  <a:pt x="310" y="277"/>
                </a:lnTo>
                <a:lnTo>
                  <a:pt x="314" y="278"/>
                </a:lnTo>
                <a:lnTo>
                  <a:pt x="323" y="282"/>
                </a:lnTo>
                <a:lnTo>
                  <a:pt x="333" y="283"/>
                </a:lnTo>
                <a:lnTo>
                  <a:pt x="346" y="285"/>
                </a:lnTo>
                <a:lnTo>
                  <a:pt x="358" y="285"/>
                </a:lnTo>
                <a:lnTo>
                  <a:pt x="363" y="270"/>
                </a:lnTo>
                <a:lnTo>
                  <a:pt x="367" y="256"/>
                </a:lnTo>
                <a:lnTo>
                  <a:pt x="371" y="243"/>
                </a:lnTo>
                <a:lnTo>
                  <a:pt x="376" y="230"/>
                </a:lnTo>
                <a:lnTo>
                  <a:pt x="415" y="233"/>
                </a:lnTo>
                <a:lnTo>
                  <a:pt x="453" y="234"/>
                </a:lnTo>
                <a:lnTo>
                  <a:pt x="492" y="237"/>
                </a:lnTo>
                <a:lnTo>
                  <a:pt x="531" y="241"/>
                </a:lnTo>
                <a:lnTo>
                  <a:pt x="535" y="230"/>
                </a:lnTo>
                <a:lnTo>
                  <a:pt x="536" y="220"/>
                </a:lnTo>
                <a:lnTo>
                  <a:pt x="536" y="211"/>
                </a:lnTo>
                <a:lnTo>
                  <a:pt x="536" y="203"/>
                </a:lnTo>
                <a:lnTo>
                  <a:pt x="533" y="187"/>
                </a:lnTo>
                <a:lnTo>
                  <a:pt x="531" y="173"/>
                </a:lnTo>
                <a:lnTo>
                  <a:pt x="530" y="166"/>
                </a:lnTo>
                <a:lnTo>
                  <a:pt x="530" y="160"/>
                </a:lnTo>
                <a:lnTo>
                  <a:pt x="530" y="152"/>
                </a:lnTo>
                <a:lnTo>
                  <a:pt x="530" y="146"/>
                </a:lnTo>
                <a:lnTo>
                  <a:pt x="532" y="138"/>
                </a:lnTo>
                <a:lnTo>
                  <a:pt x="535" y="129"/>
                </a:lnTo>
                <a:lnTo>
                  <a:pt x="540" y="121"/>
                </a:lnTo>
                <a:lnTo>
                  <a:pt x="546" y="112"/>
                </a:lnTo>
                <a:lnTo>
                  <a:pt x="554" y="84"/>
                </a:lnTo>
                <a:lnTo>
                  <a:pt x="558" y="65"/>
                </a:lnTo>
                <a:lnTo>
                  <a:pt x="561" y="43"/>
                </a:lnTo>
                <a:lnTo>
                  <a:pt x="562" y="8"/>
                </a:lnTo>
                <a:lnTo>
                  <a:pt x="569" y="4"/>
                </a:lnTo>
                <a:lnTo>
                  <a:pt x="576" y="1"/>
                </a:lnTo>
                <a:lnTo>
                  <a:pt x="583" y="0"/>
                </a:lnTo>
                <a:lnTo>
                  <a:pt x="589" y="1"/>
                </a:lnTo>
                <a:lnTo>
                  <a:pt x="596" y="2"/>
                </a:lnTo>
                <a:lnTo>
                  <a:pt x="602" y="6"/>
                </a:lnTo>
                <a:lnTo>
                  <a:pt x="609" y="10"/>
                </a:lnTo>
                <a:lnTo>
                  <a:pt x="615" y="15"/>
                </a:lnTo>
                <a:lnTo>
                  <a:pt x="626" y="27"/>
                </a:lnTo>
                <a:lnTo>
                  <a:pt x="636" y="41"/>
                </a:lnTo>
                <a:lnTo>
                  <a:pt x="644" y="54"/>
                </a:lnTo>
                <a:lnTo>
                  <a:pt x="651" y="67"/>
                </a:lnTo>
                <a:lnTo>
                  <a:pt x="673" y="78"/>
                </a:lnTo>
                <a:lnTo>
                  <a:pt x="694" y="92"/>
                </a:lnTo>
                <a:lnTo>
                  <a:pt x="714" y="107"/>
                </a:lnTo>
                <a:lnTo>
                  <a:pt x="734" y="122"/>
                </a:lnTo>
                <a:lnTo>
                  <a:pt x="753" y="136"/>
                </a:lnTo>
                <a:lnTo>
                  <a:pt x="774" y="148"/>
                </a:lnTo>
                <a:lnTo>
                  <a:pt x="785" y="153"/>
                </a:lnTo>
                <a:lnTo>
                  <a:pt x="796" y="159"/>
                </a:lnTo>
                <a:lnTo>
                  <a:pt x="808" y="162"/>
                </a:lnTo>
                <a:lnTo>
                  <a:pt x="820" y="165"/>
                </a:lnTo>
                <a:lnTo>
                  <a:pt x="830" y="160"/>
                </a:lnTo>
                <a:lnTo>
                  <a:pt x="841" y="157"/>
                </a:lnTo>
                <a:lnTo>
                  <a:pt x="851" y="156"/>
                </a:lnTo>
                <a:lnTo>
                  <a:pt x="860" y="156"/>
                </a:lnTo>
                <a:lnTo>
                  <a:pt x="869" y="159"/>
                </a:lnTo>
                <a:lnTo>
                  <a:pt x="878" y="161"/>
                </a:lnTo>
                <a:lnTo>
                  <a:pt x="886" y="166"/>
                </a:lnTo>
                <a:lnTo>
                  <a:pt x="894" y="172"/>
                </a:lnTo>
                <a:lnTo>
                  <a:pt x="902" y="179"/>
                </a:lnTo>
                <a:lnTo>
                  <a:pt x="908" y="187"/>
                </a:lnTo>
                <a:lnTo>
                  <a:pt x="915" y="196"/>
                </a:lnTo>
                <a:lnTo>
                  <a:pt x="921" y="205"/>
                </a:lnTo>
                <a:lnTo>
                  <a:pt x="932" y="227"/>
                </a:lnTo>
                <a:lnTo>
                  <a:pt x="941" y="252"/>
                </a:lnTo>
                <a:lnTo>
                  <a:pt x="947" y="278"/>
                </a:lnTo>
                <a:lnTo>
                  <a:pt x="952" y="304"/>
                </a:lnTo>
                <a:lnTo>
                  <a:pt x="956" y="330"/>
                </a:lnTo>
                <a:lnTo>
                  <a:pt x="958" y="356"/>
                </a:lnTo>
                <a:lnTo>
                  <a:pt x="958" y="381"/>
                </a:lnTo>
                <a:lnTo>
                  <a:pt x="955" y="403"/>
                </a:lnTo>
                <a:lnTo>
                  <a:pt x="952" y="414"/>
                </a:lnTo>
                <a:lnTo>
                  <a:pt x="950" y="423"/>
                </a:lnTo>
                <a:lnTo>
                  <a:pt x="947" y="430"/>
                </a:lnTo>
                <a:lnTo>
                  <a:pt x="943" y="438"/>
                </a:lnTo>
                <a:lnTo>
                  <a:pt x="922" y="441"/>
                </a:lnTo>
                <a:lnTo>
                  <a:pt x="907" y="442"/>
                </a:lnTo>
                <a:lnTo>
                  <a:pt x="893" y="446"/>
                </a:lnTo>
                <a:lnTo>
                  <a:pt x="882" y="450"/>
                </a:lnTo>
                <a:lnTo>
                  <a:pt x="873" y="456"/>
                </a:lnTo>
                <a:lnTo>
                  <a:pt x="864" y="467"/>
                </a:lnTo>
                <a:lnTo>
                  <a:pt x="856" y="479"/>
                </a:lnTo>
                <a:lnTo>
                  <a:pt x="847" y="495"/>
                </a:lnTo>
                <a:lnTo>
                  <a:pt x="833" y="503"/>
                </a:lnTo>
                <a:lnTo>
                  <a:pt x="824" y="510"/>
                </a:lnTo>
                <a:lnTo>
                  <a:pt x="820" y="514"/>
                </a:lnTo>
                <a:lnTo>
                  <a:pt x="817" y="519"/>
                </a:lnTo>
                <a:lnTo>
                  <a:pt x="816" y="525"/>
                </a:lnTo>
                <a:lnTo>
                  <a:pt x="814" y="535"/>
                </a:lnTo>
                <a:lnTo>
                  <a:pt x="798" y="537"/>
                </a:lnTo>
                <a:lnTo>
                  <a:pt x="782" y="540"/>
                </a:lnTo>
                <a:lnTo>
                  <a:pt x="777" y="561"/>
                </a:lnTo>
                <a:lnTo>
                  <a:pt x="773" y="581"/>
                </a:lnTo>
                <a:lnTo>
                  <a:pt x="769" y="603"/>
                </a:lnTo>
                <a:lnTo>
                  <a:pt x="766" y="624"/>
                </a:lnTo>
                <a:lnTo>
                  <a:pt x="778" y="635"/>
                </a:lnTo>
                <a:lnTo>
                  <a:pt x="788" y="646"/>
                </a:lnTo>
                <a:lnTo>
                  <a:pt x="800" y="657"/>
                </a:lnTo>
                <a:lnTo>
                  <a:pt x="812" y="668"/>
                </a:lnTo>
                <a:lnTo>
                  <a:pt x="834" y="672"/>
                </a:lnTo>
                <a:lnTo>
                  <a:pt x="856" y="675"/>
                </a:lnTo>
                <a:lnTo>
                  <a:pt x="880" y="679"/>
                </a:lnTo>
                <a:lnTo>
                  <a:pt x="903" y="683"/>
                </a:lnTo>
                <a:lnTo>
                  <a:pt x="903" y="695"/>
                </a:lnTo>
                <a:lnTo>
                  <a:pt x="903" y="705"/>
                </a:lnTo>
                <a:lnTo>
                  <a:pt x="903" y="717"/>
                </a:lnTo>
                <a:lnTo>
                  <a:pt x="903" y="728"/>
                </a:lnTo>
                <a:lnTo>
                  <a:pt x="889" y="744"/>
                </a:lnTo>
                <a:lnTo>
                  <a:pt x="880" y="757"/>
                </a:lnTo>
                <a:lnTo>
                  <a:pt x="877" y="762"/>
                </a:lnTo>
                <a:lnTo>
                  <a:pt x="876" y="767"/>
                </a:lnTo>
                <a:lnTo>
                  <a:pt x="874" y="773"/>
                </a:lnTo>
                <a:lnTo>
                  <a:pt x="874" y="778"/>
                </a:lnTo>
                <a:lnTo>
                  <a:pt x="877" y="801"/>
                </a:lnTo>
                <a:lnTo>
                  <a:pt x="877" y="836"/>
                </a:lnTo>
                <a:lnTo>
                  <a:pt x="843" y="834"/>
                </a:lnTo>
                <a:lnTo>
                  <a:pt x="822" y="831"/>
                </a:lnTo>
                <a:lnTo>
                  <a:pt x="803" y="827"/>
                </a:lnTo>
                <a:lnTo>
                  <a:pt x="778" y="819"/>
                </a:lnTo>
                <a:lnTo>
                  <a:pt x="765" y="822"/>
                </a:lnTo>
                <a:lnTo>
                  <a:pt x="752" y="823"/>
                </a:lnTo>
                <a:lnTo>
                  <a:pt x="739" y="823"/>
                </a:lnTo>
                <a:lnTo>
                  <a:pt x="726" y="821"/>
                </a:lnTo>
                <a:lnTo>
                  <a:pt x="713" y="818"/>
                </a:lnTo>
                <a:lnTo>
                  <a:pt x="700" y="813"/>
                </a:lnTo>
                <a:lnTo>
                  <a:pt x="687" y="808"/>
                </a:lnTo>
                <a:lnTo>
                  <a:pt x="674" y="801"/>
                </a:lnTo>
                <a:lnTo>
                  <a:pt x="662" y="793"/>
                </a:lnTo>
                <a:lnTo>
                  <a:pt x="651" y="786"/>
                </a:lnTo>
                <a:lnTo>
                  <a:pt x="639" y="778"/>
                </a:lnTo>
                <a:lnTo>
                  <a:pt x="627" y="769"/>
                </a:lnTo>
                <a:lnTo>
                  <a:pt x="608" y="749"/>
                </a:lnTo>
                <a:lnTo>
                  <a:pt x="589" y="731"/>
                </a:lnTo>
                <a:lnTo>
                  <a:pt x="565" y="728"/>
                </a:lnTo>
                <a:lnTo>
                  <a:pt x="544" y="728"/>
                </a:lnTo>
                <a:lnTo>
                  <a:pt x="533" y="728"/>
                </a:lnTo>
                <a:lnTo>
                  <a:pt x="524" y="730"/>
                </a:lnTo>
                <a:lnTo>
                  <a:pt x="515" y="732"/>
                </a:lnTo>
                <a:lnTo>
                  <a:pt x="507" y="735"/>
                </a:lnTo>
                <a:lnTo>
                  <a:pt x="501" y="740"/>
                </a:lnTo>
                <a:lnTo>
                  <a:pt x="494" y="745"/>
                </a:lnTo>
                <a:lnTo>
                  <a:pt x="489" y="752"/>
                </a:lnTo>
                <a:lnTo>
                  <a:pt x="484" y="760"/>
                </a:lnTo>
                <a:lnTo>
                  <a:pt x="480" y="770"/>
                </a:lnTo>
                <a:lnTo>
                  <a:pt x="478" y="780"/>
                </a:lnTo>
                <a:lnTo>
                  <a:pt x="476" y="795"/>
                </a:lnTo>
                <a:lnTo>
                  <a:pt x="475" y="809"/>
                </a:lnTo>
                <a:lnTo>
                  <a:pt x="484" y="823"/>
                </a:lnTo>
                <a:lnTo>
                  <a:pt x="491" y="834"/>
                </a:lnTo>
                <a:lnTo>
                  <a:pt x="494" y="844"/>
                </a:lnTo>
                <a:lnTo>
                  <a:pt x="498" y="861"/>
                </a:lnTo>
                <a:lnTo>
                  <a:pt x="489" y="865"/>
                </a:lnTo>
                <a:lnTo>
                  <a:pt x="481" y="868"/>
                </a:lnTo>
                <a:lnTo>
                  <a:pt x="474" y="871"/>
                </a:lnTo>
                <a:lnTo>
                  <a:pt x="468" y="875"/>
                </a:lnTo>
                <a:lnTo>
                  <a:pt x="463" y="881"/>
                </a:lnTo>
                <a:lnTo>
                  <a:pt x="459" y="884"/>
                </a:lnTo>
                <a:lnTo>
                  <a:pt x="457" y="888"/>
                </a:lnTo>
                <a:lnTo>
                  <a:pt x="455" y="894"/>
                </a:lnTo>
                <a:lnTo>
                  <a:pt x="454" y="899"/>
                </a:lnTo>
                <a:lnTo>
                  <a:pt x="454" y="904"/>
                </a:lnTo>
                <a:lnTo>
                  <a:pt x="454" y="908"/>
                </a:lnTo>
                <a:lnTo>
                  <a:pt x="455" y="913"/>
                </a:lnTo>
                <a:lnTo>
                  <a:pt x="458" y="925"/>
                </a:lnTo>
                <a:lnTo>
                  <a:pt x="465" y="935"/>
                </a:lnTo>
                <a:lnTo>
                  <a:pt x="480" y="959"/>
                </a:lnTo>
                <a:lnTo>
                  <a:pt x="500" y="982"/>
                </a:lnTo>
                <a:lnTo>
                  <a:pt x="509" y="994"/>
                </a:lnTo>
                <a:lnTo>
                  <a:pt x="518" y="1005"/>
                </a:lnTo>
                <a:lnTo>
                  <a:pt x="524" y="1017"/>
                </a:lnTo>
                <a:lnTo>
                  <a:pt x="531" y="1029"/>
                </a:lnTo>
                <a:lnTo>
                  <a:pt x="511" y="1022"/>
                </a:lnTo>
                <a:lnTo>
                  <a:pt x="492" y="1015"/>
                </a:lnTo>
                <a:lnTo>
                  <a:pt x="474" y="1007"/>
                </a:lnTo>
                <a:lnTo>
                  <a:pt x="455" y="998"/>
                </a:lnTo>
                <a:lnTo>
                  <a:pt x="437" y="990"/>
                </a:lnTo>
                <a:lnTo>
                  <a:pt x="418" y="982"/>
                </a:lnTo>
                <a:lnTo>
                  <a:pt x="398" y="977"/>
                </a:lnTo>
                <a:lnTo>
                  <a:pt x="377" y="973"/>
                </a:lnTo>
                <a:lnTo>
                  <a:pt x="359" y="979"/>
                </a:lnTo>
                <a:lnTo>
                  <a:pt x="340" y="987"/>
                </a:lnTo>
                <a:lnTo>
                  <a:pt x="321" y="995"/>
                </a:lnTo>
                <a:lnTo>
                  <a:pt x="302" y="1002"/>
                </a:lnTo>
                <a:lnTo>
                  <a:pt x="298" y="1028"/>
                </a:lnTo>
                <a:lnTo>
                  <a:pt x="295" y="1054"/>
                </a:lnTo>
                <a:lnTo>
                  <a:pt x="291" y="1080"/>
                </a:lnTo>
                <a:lnTo>
                  <a:pt x="289" y="1106"/>
                </a:lnTo>
                <a:lnTo>
                  <a:pt x="272" y="1112"/>
                </a:lnTo>
                <a:lnTo>
                  <a:pt x="254" y="1117"/>
                </a:lnTo>
                <a:lnTo>
                  <a:pt x="236" y="1121"/>
                </a:lnTo>
                <a:lnTo>
                  <a:pt x="217" y="1124"/>
                </a:lnTo>
                <a:lnTo>
                  <a:pt x="178" y="1128"/>
                </a:lnTo>
                <a:lnTo>
                  <a:pt x="141" y="1130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43" name="Freeform 116"/>
          <p:cNvSpPr>
            <a:spLocks/>
          </p:cNvSpPr>
          <p:nvPr/>
        </p:nvSpPr>
        <p:spPr bwMode="auto">
          <a:xfrm>
            <a:off x="1225550" y="3343275"/>
            <a:ext cx="428625" cy="414338"/>
          </a:xfrm>
          <a:custGeom>
            <a:avLst/>
            <a:gdLst>
              <a:gd name="T0" fmla="*/ 2147483647 w 1084"/>
              <a:gd name="T1" fmla="*/ 2147483647 h 1045"/>
              <a:gd name="T2" fmla="*/ 2147483647 w 1084"/>
              <a:gd name="T3" fmla="*/ 2147483647 h 1045"/>
              <a:gd name="T4" fmla="*/ 2147483647 w 1084"/>
              <a:gd name="T5" fmla="*/ 2147483647 h 1045"/>
              <a:gd name="T6" fmla="*/ 2147483647 w 1084"/>
              <a:gd name="T7" fmla="*/ 2147483647 h 1045"/>
              <a:gd name="T8" fmla="*/ 2147483647 w 1084"/>
              <a:gd name="T9" fmla="*/ 2147483647 h 1045"/>
              <a:gd name="T10" fmla="*/ 2147483647 w 1084"/>
              <a:gd name="T11" fmla="*/ 2147483647 h 1045"/>
              <a:gd name="T12" fmla="*/ 2147483647 w 1084"/>
              <a:gd name="T13" fmla="*/ 2147483647 h 1045"/>
              <a:gd name="T14" fmla="*/ 2147483647 w 1084"/>
              <a:gd name="T15" fmla="*/ 2147483647 h 1045"/>
              <a:gd name="T16" fmla="*/ 2147483647 w 1084"/>
              <a:gd name="T17" fmla="*/ 2147483647 h 1045"/>
              <a:gd name="T18" fmla="*/ 2147483647 w 1084"/>
              <a:gd name="T19" fmla="*/ 2147483647 h 1045"/>
              <a:gd name="T20" fmla="*/ 2147483647 w 1084"/>
              <a:gd name="T21" fmla="*/ 2147483647 h 1045"/>
              <a:gd name="T22" fmla="*/ 2147483647 w 1084"/>
              <a:gd name="T23" fmla="*/ 2147483647 h 1045"/>
              <a:gd name="T24" fmla="*/ 2147483647 w 1084"/>
              <a:gd name="T25" fmla="*/ 2147483647 h 1045"/>
              <a:gd name="T26" fmla="*/ 2147483647 w 1084"/>
              <a:gd name="T27" fmla="*/ 2147483647 h 1045"/>
              <a:gd name="T28" fmla="*/ 2147483647 w 1084"/>
              <a:gd name="T29" fmla="*/ 2147483647 h 1045"/>
              <a:gd name="T30" fmla="*/ 2147483647 w 1084"/>
              <a:gd name="T31" fmla="*/ 2147483647 h 1045"/>
              <a:gd name="T32" fmla="*/ 2147483647 w 1084"/>
              <a:gd name="T33" fmla="*/ 2147483647 h 1045"/>
              <a:gd name="T34" fmla="*/ 2147483647 w 1084"/>
              <a:gd name="T35" fmla="*/ 2147483647 h 1045"/>
              <a:gd name="T36" fmla="*/ 0 w 1084"/>
              <a:gd name="T37" fmla="*/ 2147483647 h 1045"/>
              <a:gd name="T38" fmla="*/ 2147483647 w 1084"/>
              <a:gd name="T39" fmla="*/ 2147483647 h 1045"/>
              <a:gd name="T40" fmla="*/ 2147483647 w 1084"/>
              <a:gd name="T41" fmla="*/ 2147483647 h 1045"/>
              <a:gd name="T42" fmla="*/ 2147483647 w 1084"/>
              <a:gd name="T43" fmla="*/ 2147483647 h 1045"/>
              <a:gd name="T44" fmla="*/ 2147483647 w 1084"/>
              <a:gd name="T45" fmla="*/ 2147483647 h 1045"/>
              <a:gd name="T46" fmla="*/ 2147483647 w 1084"/>
              <a:gd name="T47" fmla="*/ 2147483647 h 1045"/>
              <a:gd name="T48" fmla="*/ 2147483647 w 1084"/>
              <a:gd name="T49" fmla="*/ 2147483647 h 1045"/>
              <a:gd name="T50" fmla="*/ 2147483647 w 1084"/>
              <a:gd name="T51" fmla="*/ 2147483647 h 1045"/>
              <a:gd name="T52" fmla="*/ 2147483647 w 1084"/>
              <a:gd name="T53" fmla="*/ 2147483647 h 1045"/>
              <a:gd name="T54" fmla="*/ 2147483647 w 1084"/>
              <a:gd name="T55" fmla="*/ 2147483647 h 1045"/>
              <a:gd name="T56" fmla="*/ 2147483647 w 1084"/>
              <a:gd name="T57" fmla="*/ 2147483647 h 1045"/>
              <a:gd name="T58" fmla="*/ 2147483647 w 1084"/>
              <a:gd name="T59" fmla="*/ 2147483647 h 1045"/>
              <a:gd name="T60" fmla="*/ 2147483647 w 1084"/>
              <a:gd name="T61" fmla="*/ 2147483647 h 1045"/>
              <a:gd name="T62" fmla="*/ 2147483647 w 1084"/>
              <a:gd name="T63" fmla="*/ 2147483647 h 1045"/>
              <a:gd name="T64" fmla="*/ 2147483647 w 1084"/>
              <a:gd name="T65" fmla="*/ 2147483647 h 1045"/>
              <a:gd name="T66" fmla="*/ 2147483647 w 1084"/>
              <a:gd name="T67" fmla="*/ 2147483647 h 1045"/>
              <a:gd name="T68" fmla="*/ 2147483647 w 1084"/>
              <a:gd name="T69" fmla="*/ 2147483647 h 1045"/>
              <a:gd name="T70" fmla="*/ 2147483647 w 1084"/>
              <a:gd name="T71" fmla="*/ 2147483647 h 1045"/>
              <a:gd name="T72" fmla="*/ 2147483647 w 1084"/>
              <a:gd name="T73" fmla="*/ 2147483647 h 1045"/>
              <a:gd name="T74" fmla="*/ 2147483647 w 1084"/>
              <a:gd name="T75" fmla="*/ 2147483647 h 1045"/>
              <a:gd name="T76" fmla="*/ 2147483647 w 1084"/>
              <a:gd name="T77" fmla="*/ 2147483647 h 1045"/>
              <a:gd name="T78" fmla="*/ 2147483647 w 1084"/>
              <a:gd name="T79" fmla="*/ 2147483647 h 1045"/>
              <a:gd name="T80" fmla="*/ 2147483647 w 1084"/>
              <a:gd name="T81" fmla="*/ 2147483647 h 1045"/>
              <a:gd name="T82" fmla="*/ 2147483647 w 1084"/>
              <a:gd name="T83" fmla="*/ 2147483647 h 1045"/>
              <a:gd name="T84" fmla="*/ 2147483647 w 1084"/>
              <a:gd name="T85" fmla="*/ 2147483647 h 1045"/>
              <a:gd name="T86" fmla="*/ 2147483647 w 1084"/>
              <a:gd name="T87" fmla="*/ 2147483647 h 1045"/>
              <a:gd name="T88" fmla="*/ 2147483647 w 1084"/>
              <a:gd name="T89" fmla="*/ 2147483647 h 1045"/>
              <a:gd name="T90" fmla="*/ 2147483647 w 1084"/>
              <a:gd name="T91" fmla="*/ 2147483647 h 1045"/>
              <a:gd name="T92" fmla="*/ 2147483647 w 1084"/>
              <a:gd name="T93" fmla="*/ 2147483647 h 1045"/>
              <a:gd name="T94" fmla="*/ 2147483647 w 1084"/>
              <a:gd name="T95" fmla="*/ 2147483647 h 1045"/>
              <a:gd name="T96" fmla="*/ 2147483647 w 1084"/>
              <a:gd name="T97" fmla="*/ 2147483647 h 1045"/>
              <a:gd name="T98" fmla="*/ 2147483647 w 1084"/>
              <a:gd name="T99" fmla="*/ 2147483647 h 1045"/>
              <a:gd name="T100" fmla="*/ 2147483647 w 1084"/>
              <a:gd name="T101" fmla="*/ 2147483647 h 1045"/>
              <a:gd name="T102" fmla="*/ 2147483647 w 1084"/>
              <a:gd name="T103" fmla="*/ 2147483647 h 1045"/>
              <a:gd name="T104" fmla="*/ 2147483647 w 1084"/>
              <a:gd name="T105" fmla="*/ 2147483647 h 1045"/>
              <a:gd name="T106" fmla="*/ 2147483647 w 1084"/>
              <a:gd name="T107" fmla="*/ 2147483647 h 1045"/>
              <a:gd name="T108" fmla="*/ 2147483647 w 1084"/>
              <a:gd name="T109" fmla="*/ 2147483647 h 1045"/>
              <a:gd name="T110" fmla="*/ 2147483647 w 1084"/>
              <a:gd name="T111" fmla="*/ 2147483647 h 1045"/>
              <a:gd name="T112" fmla="*/ 2147483647 w 1084"/>
              <a:gd name="T113" fmla="*/ 2147483647 h 1045"/>
              <a:gd name="T114" fmla="*/ 2147483647 w 1084"/>
              <a:gd name="T115" fmla="*/ 2147483647 h 1045"/>
              <a:gd name="T116" fmla="*/ 2147483647 w 1084"/>
              <a:gd name="T117" fmla="*/ 2147483647 h 104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084"/>
              <a:gd name="T178" fmla="*/ 0 h 1045"/>
              <a:gd name="T179" fmla="*/ 1084 w 1084"/>
              <a:gd name="T180" fmla="*/ 1045 h 1045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084" h="1045">
                <a:moveTo>
                  <a:pt x="733" y="1045"/>
                </a:moveTo>
                <a:lnTo>
                  <a:pt x="733" y="1022"/>
                </a:lnTo>
                <a:lnTo>
                  <a:pt x="731" y="1002"/>
                </a:lnTo>
                <a:lnTo>
                  <a:pt x="729" y="985"/>
                </a:lnTo>
                <a:lnTo>
                  <a:pt x="726" y="972"/>
                </a:lnTo>
                <a:lnTo>
                  <a:pt x="722" y="962"/>
                </a:lnTo>
                <a:lnTo>
                  <a:pt x="717" y="954"/>
                </a:lnTo>
                <a:lnTo>
                  <a:pt x="710" y="947"/>
                </a:lnTo>
                <a:lnTo>
                  <a:pt x="701" y="944"/>
                </a:lnTo>
                <a:lnTo>
                  <a:pt x="692" y="941"/>
                </a:lnTo>
                <a:lnTo>
                  <a:pt x="682" y="940"/>
                </a:lnTo>
                <a:lnTo>
                  <a:pt x="669" y="940"/>
                </a:lnTo>
                <a:lnTo>
                  <a:pt x="655" y="940"/>
                </a:lnTo>
                <a:lnTo>
                  <a:pt x="621" y="942"/>
                </a:lnTo>
                <a:lnTo>
                  <a:pt x="579" y="945"/>
                </a:lnTo>
                <a:lnTo>
                  <a:pt x="540" y="937"/>
                </a:lnTo>
                <a:lnTo>
                  <a:pt x="517" y="931"/>
                </a:lnTo>
                <a:lnTo>
                  <a:pt x="497" y="923"/>
                </a:lnTo>
                <a:lnTo>
                  <a:pt x="471" y="912"/>
                </a:lnTo>
                <a:lnTo>
                  <a:pt x="448" y="925"/>
                </a:lnTo>
                <a:lnTo>
                  <a:pt x="426" y="938"/>
                </a:lnTo>
                <a:lnTo>
                  <a:pt x="402" y="953"/>
                </a:lnTo>
                <a:lnTo>
                  <a:pt x="379" y="967"/>
                </a:lnTo>
                <a:lnTo>
                  <a:pt x="376" y="941"/>
                </a:lnTo>
                <a:lnTo>
                  <a:pt x="373" y="923"/>
                </a:lnTo>
                <a:lnTo>
                  <a:pt x="368" y="905"/>
                </a:lnTo>
                <a:lnTo>
                  <a:pt x="359" y="877"/>
                </a:lnTo>
                <a:lnTo>
                  <a:pt x="346" y="877"/>
                </a:lnTo>
                <a:lnTo>
                  <a:pt x="333" y="877"/>
                </a:lnTo>
                <a:lnTo>
                  <a:pt x="321" y="877"/>
                </a:lnTo>
                <a:lnTo>
                  <a:pt x="310" y="877"/>
                </a:lnTo>
                <a:lnTo>
                  <a:pt x="307" y="895"/>
                </a:lnTo>
                <a:lnTo>
                  <a:pt x="305" y="915"/>
                </a:lnTo>
                <a:lnTo>
                  <a:pt x="303" y="934"/>
                </a:lnTo>
                <a:lnTo>
                  <a:pt x="302" y="954"/>
                </a:lnTo>
                <a:lnTo>
                  <a:pt x="285" y="945"/>
                </a:lnTo>
                <a:lnTo>
                  <a:pt x="260" y="933"/>
                </a:lnTo>
                <a:lnTo>
                  <a:pt x="232" y="920"/>
                </a:lnTo>
                <a:lnTo>
                  <a:pt x="202" y="910"/>
                </a:lnTo>
                <a:lnTo>
                  <a:pt x="186" y="905"/>
                </a:lnTo>
                <a:lnTo>
                  <a:pt x="172" y="902"/>
                </a:lnTo>
                <a:lnTo>
                  <a:pt x="158" y="901"/>
                </a:lnTo>
                <a:lnTo>
                  <a:pt x="146" y="902"/>
                </a:lnTo>
                <a:lnTo>
                  <a:pt x="139" y="903"/>
                </a:lnTo>
                <a:lnTo>
                  <a:pt x="134" y="905"/>
                </a:lnTo>
                <a:lnTo>
                  <a:pt x="129" y="907"/>
                </a:lnTo>
                <a:lnTo>
                  <a:pt x="124" y="910"/>
                </a:lnTo>
                <a:lnTo>
                  <a:pt x="120" y="914"/>
                </a:lnTo>
                <a:lnTo>
                  <a:pt x="117" y="918"/>
                </a:lnTo>
                <a:lnTo>
                  <a:pt x="113" y="923"/>
                </a:lnTo>
                <a:lnTo>
                  <a:pt x="112" y="929"/>
                </a:lnTo>
                <a:lnTo>
                  <a:pt x="99" y="928"/>
                </a:lnTo>
                <a:lnTo>
                  <a:pt x="86" y="927"/>
                </a:lnTo>
                <a:lnTo>
                  <a:pt x="73" y="925"/>
                </a:lnTo>
                <a:lnTo>
                  <a:pt x="60" y="923"/>
                </a:lnTo>
                <a:lnTo>
                  <a:pt x="56" y="914"/>
                </a:lnTo>
                <a:lnTo>
                  <a:pt x="52" y="906"/>
                </a:lnTo>
                <a:lnTo>
                  <a:pt x="48" y="897"/>
                </a:lnTo>
                <a:lnTo>
                  <a:pt x="43" y="889"/>
                </a:lnTo>
                <a:lnTo>
                  <a:pt x="34" y="873"/>
                </a:lnTo>
                <a:lnTo>
                  <a:pt x="27" y="858"/>
                </a:lnTo>
                <a:lnTo>
                  <a:pt x="33" y="858"/>
                </a:lnTo>
                <a:lnTo>
                  <a:pt x="40" y="858"/>
                </a:lnTo>
                <a:lnTo>
                  <a:pt x="39" y="821"/>
                </a:lnTo>
                <a:lnTo>
                  <a:pt x="39" y="786"/>
                </a:lnTo>
                <a:lnTo>
                  <a:pt x="38" y="750"/>
                </a:lnTo>
                <a:lnTo>
                  <a:pt x="38" y="713"/>
                </a:lnTo>
                <a:lnTo>
                  <a:pt x="25" y="705"/>
                </a:lnTo>
                <a:lnTo>
                  <a:pt x="14" y="696"/>
                </a:lnTo>
                <a:lnTo>
                  <a:pt x="11" y="691"/>
                </a:lnTo>
                <a:lnTo>
                  <a:pt x="7" y="687"/>
                </a:lnTo>
                <a:lnTo>
                  <a:pt x="4" y="682"/>
                </a:lnTo>
                <a:lnTo>
                  <a:pt x="1" y="677"/>
                </a:lnTo>
                <a:lnTo>
                  <a:pt x="0" y="672"/>
                </a:lnTo>
                <a:lnTo>
                  <a:pt x="0" y="665"/>
                </a:lnTo>
                <a:lnTo>
                  <a:pt x="0" y="660"/>
                </a:lnTo>
                <a:lnTo>
                  <a:pt x="1" y="653"/>
                </a:lnTo>
                <a:lnTo>
                  <a:pt x="5" y="640"/>
                </a:lnTo>
                <a:lnTo>
                  <a:pt x="12" y="625"/>
                </a:lnTo>
                <a:lnTo>
                  <a:pt x="29" y="612"/>
                </a:lnTo>
                <a:lnTo>
                  <a:pt x="43" y="603"/>
                </a:lnTo>
                <a:lnTo>
                  <a:pt x="51" y="599"/>
                </a:lnTo>
                <a:lnTo>
                  <a:pt x="57" y="598"/>
                </a:lnTo>
                <a:lnTo>
                  <a:pt x="65" y="595"/>
                </a:lnTo>
                <a:lnTo>
                  <a:pt x="72" y="595"/>
                </a:lnTo>
                <a:lnTo>
                  <a:pt x="78" y="595"/>
                </a:lnTo>
                <a:lnTo>
                  <a:pt x="86" y="596"/>
                </a:lnTo>
                <a:lnTo>
                  <a:pt x="94" y="598"/>
                </a:lnTo>
                <a:lnTo>
                  <a:pt x="100" y="600"/>
                </a:lnTo>
                <a:lnTo>
                  <a:pt x="117" y="608"/>
                </a:lnTo>
                <a:lnTo>
                  <a:pt x="137" y="617"/>
                </a:lnTo>
                <a:lnTo>
                  <a:pt x="152" y="617"/>
                </a:lnTo>
                <a:lnTo>
                  <a:pt x="165" y="613"/>
                </a:lnTo>
                <a:lnTo>
                  <a:pt x="178" y="609"/>
                </a:lnTo>
                <a:lnTo>
                  <a:pt x="189" y="603"/>
                </a:lnTo>
                <a:lnTo>
                  <a:pt x="197" y="595"/>
                </a:lnTo>
                <a:lnTo>
                  <a:pt x="204" y="586"/>
                </a:lnTo>
                <a:lnTo>
                  <a:pt x="210" y="575"/>
                </a:lnTo>
                <a:lnTo>
                  <a:pt x="213" y="565"/>
                </a:lnTo>
                <a:lnTo>
                  <a:pt x="217" y="553"/>
                </a:lnTo>
                <a:lnTo>
                  <a:pt x="219" y="540"/>
                </a:lnTo>
                <a:lnTo>
                  <a:pt x="220" y="527"/>
                </a:lnTo>
                <a:lnTo>
                  <a:pt x="220" y="514"/>
                </a:lnTo>
                <a:lnTo>
                  <a:pt x="219" y="501"/>
                </a:lnTo>
                <a:lnTo>
                  <a:pt x="216" y="488"/>
                </a:lnTo>
                <a:lnTo>
                  <a:pt x="213" y="475"/>
                </a:lnTo>
                <a:lnTo>
                  <a:pt x="210" y="462"/>
                </a:lnTo>
                <a:lnTo>
                  <a:pt x="202" y="451"/>
                </a:lnTo>
                <a:lnTo>
                  <a:pt x="198" y="443"/>
                </a:lnTo>
                <a:lnTo>
                  <a:pt x="197" y="436"/>
                </a:lnTo>
                <a:lnTo>
                  <a:pt x="198" y="427"/>
                </a:lnTo>
                <a:lnTo>
                  <a:pt x="213" y="414"/>
                </a:lnTo>
                <a:lnTo>
                  <a:pt x="228" y="401"/>
                </a:lnTo>
                <a:lnTo>
                  <a:pt x="242" y="389"/>
                </a:lnTo>
                <a:lnTo>
                  <a:pt x="254" y="376"/>
                </a:lnTo>
                <a:lnTo>
                  <a:pt x="264" y="363"/>
                </a:lnTo>
                <a:lnTo>
                  <a:pt x="275" y="350"/>
                </a:lnTo>
                <a:lnTo>
                  <a:pt x="282" y="337"/>
                </a:lnTo>
                <a:lnTo>
                  <a:pt x="289" y="324"/>
                </a:lnTo>
                <a:lnTo>
                  <a:pt x="293" y="310"/>
                </a:lnTo>
                <a:lnTo>
                  <a:pt x="297" y="296"/>
                </a:lnTo>
                <a:lnTo>
                  <a:pt x="298" y="280"/>
                </a:lnTo>
                <a:lnTo>
                  <a:pt x="297" y="264"/>
                </a:lnTo>
                <a:lnTo>
                  <a:pt x="294" y="249"/>
                </a:lnTo>
                <a:lnTo>
                  <a:pt x="290" y="232"/>
                </a:lnTo>
                <a:lnTo>
                  <a:pt x="284" y="214"/>
                </a:lnTo>
                <a:lnTo>
                  <a:pt x="275" y="194"/>
                </a:lnTo>
                <a:lnTo>
                  <a:pt x="275" y="180"/>
                </a:lnTo>
                <a:lnTo>
                  <a:pt x="275" y="166"/>
                </a:lnTo>
                <a:lnTo>
                  <a:pt x="275" y="153"/>
                </a:lnTo>
                <a:lnTo>
                  <a:pt x="275" y="138"/>
                </a:lnTo>
                <a:lnTo>
                  <a:pt x="294" y="128"/>
                </a:lnTo>
                <a:lnTo>
                  <a:pt x="314" y="116"/>
                </a:lnTo>
                <a:lnTo>
                  <a:pt x="333" y="107"/>
                </a:lnTo>
                <a:lnTo>
                  <a:pt x="354" y="97"/>
                </a:lnTo>
                <a:lnTo>
                  <a:pt x="357" y="72"/>
                </a:lnTo>
                <a:lnTo>
                  <a:pt x="359" y="49"/>
                </a:lnTo>
                <a:lnTo>
                  <a:pt x="360" y="25"/>
                </a:lnTo>
                <a:lnTo>
                  <a:pt x="359" y="0"/>
                </a:lnTo>
                <a:lnTo>
                  <a:pt x="397" y="3"/>
                </a:lnTo>
                <a:lnTo>
                  <a:pt x="437" y="6"/>
                </a:lnTo>
                <a:lnTo>
                  <a:pt x="457" y="7"/>
                </a:lnTo>
                <a:lnTo>
                  <a:pt x="476" y="7"/>
                </a:lnTo>
                <a:lnTo>
                  <a:pt x="496" y="4"/>
                </a:lnTo>
                <a:lnTo>
                  <a:pt x="514" y="0"/>
                </a:lnTo>
                <a:lnTo>
                  <a:pt x="517" y="9"/>
                </a:lnTo>
                <a:lnTo>
                  <a:pt x="522" y="17"/>
                </a:lnTo>
                <a:lnTo>
                  <a:pt x="528" y="26"/>
                </a:lnTo>
                <a:lnTo>
                  <a:pt x="537" y="34"/>
                </a:lnTo>
                <a:lnTo>
                  <a:pt x="557" y="50"/>
                </a:lnTo>
                <a:lnTo>
                  <a:pt x="580" y="65"/>
                </a:lnTo>
                <a:lnTo>
                  <a:pt x="605" y="80"/>
                </a:lnTo>
                <a:lnTo>
                  <a:pt x="627" y="95"/>
                </a:lnTo>
                <a:lnTo>
                  <a:pt x="639" y="103"/>
                </a:lnTo>
                <a:lnTo>
                  <a:pt x="648" y="111"/>
                </a:lnTo>
                <a:lnTo>
                  <a:pt x="657" y="119"/>
                </a:lnTo>
                <a:lnTo>
                  <a:pt x="664" y="127"/>
                </a:lnTo>
                <a:lnTo>
                  <a:pt x="666" y="143"/>
                </a:lnTo>
                <a:lnTo>
                  <a:pt x="669" y="157"/>
                </a:lnTo>
                <a:lnTo>
                  <a:pt x="671" y="168"/>
                </a:lnTo>
                <a:lnTo>
                  <a:pt x="675" y="179"/>
                </a:lnTo>
                <a:lnTo>
                  <a:pt x="679" y="188"/>
                </a:lnTo>
                <a:lnTo>
                  <a:pt x="684" y="196"/>
                </a:lnTo>
                <a:lnTo>
                  <a:pt x="690" y="202"/>
                </a:lnTo>
                <a:lnTo>
                  <a:pt x="695" y="207"/>
                </a:lnTo>
                <a:lnTo>
                  <a:pt x="703" y="211"/>
                </a:lnTo>
                <a:lnTo>
                  <a:pt x="710" y="216"/>
                </a:lnTo>
                <a:lnTo>
                  <a:pt x="720" y="220"/>
                </a:lnTo>
                <a:lnTo>
                  <a:pt x="730" y="223"/>
                </a:lnTo>
                <a:lnTo>
                  <a:pt x="753" y="231"/>
                </a:lnTo>
                <a:lnTo>
                  <a:pt x="785" y="241"/>
                </a:lnTo>
                <a:lnTo>
                  <a:pt x="789" y="255"/>
                </a:lnTo>
                <a:lnTo>
                  <a:pt x="794" y="270"/>
                </a:lnTo>
                <a:lnTo>
                  <a:pt x="803" y="271"/>
                </a:lnTo>
                <a:lnTo>
                  <a:pt x="812" y="274"/>
                </a:lnTo>
                <a:lnTo>
                  <a:pt x="820" y="277"/>
                </a:lnTo>
                <a:lnTo>
                  <a:pt x="828" y="280"/>
                </a:lnTo>
                <a:lnTo>
                  <a:pt x="842" y="289"/>
                </a:lnTo>
                <a:lnTo>
                  <a:pt x="855" y="301"/>
                </a:lnTo>
                <a:lnTo>
                  <a:pt x="881" y="324"/>
                </a:lnTo>
                <a:lnTo>
                  <a:pt x="906" y="350"/>
                </a:lnTo>
                <a:lnTo>
                  <a:pt x="906" y="361"/>
                </a:lnTo>
                <a:lnTo>
                  <a:pt x="903" y="371"/>
                </a:lnTo>
                <a:lnTo>
                  <a:pt x="900" y="380"/>
                </a:lnTo>
                <a:lnTo>
                  <a:pt x="896" y="391"/>
                </a:lnTo>
                <a:lnTo>
                  <a:pt x="887" y="408"/>
                </a:lnTo>
                <a:lnTo>
                  <a:pt x="876" y="426"/>
                </a:lnTo>
                <a:lnTo>
                  <a:pt x="865" y="443"/>
                </a:lnTo>
                <a:lnTo>
                  <a:pt x="855" y="458"/>
                </a:lnTo>
                <a:lnTo>
                  <a:pt x="852" y="467"/>
                </a:lnTo>
                <a:lnTo>
                  <a:pt x="848" y="477"/>
                </a:lnTo>
                <a:lnTo>
                  <a:pt x="847" y="486"/>
                </a:lnTo>
                <a:lnTo>
                  <a:pt x="846" y="495"/>
                </a:lnTo>
                <a:lnTo>
                  <a:pt x="870" y="516"/>
                </a:lnTo>
                <a:lnTo>
                  <a:pt x="891" y="534"/>
                </a:lnTo>
                <a:lnTo>
                  <a:pt x="896" y="536"/>
                </a:lnTo>
                <a:lnTo>
                  <a:pt x="902" y="538"/>
                </a:lnTo>
                <a:lnTo>
                  <a:pt x="908" y="539"/>
                </a:lnTo>
                <a:lnTo>
                  <a:pt x="913" y="539"/>
                </a:lnTo>
                <a:lnTo>
                  <a:pt x="921" y="538"/>
                </a:lnTo>
                <a:lnTo>
                  <a:pt x="929" y="536"/>
                </a:lnTo>
                <a:lnTo>
                  <a:pt x="937" y="532"/>
                </a:lnTo>
                <a:lnTo>
                  <a:pt x="946" y="527"/>
                </a:lnTo>
                <a:lnTo>
                  <a:pt x="954" y="534"/>
                </a:lnTo>
                <a:lnTo>
                  <a:pt x="962" y="543"/>
                </a:lnTo>
                <a:lnTo>
                  <a:pt x="955" y="553"/>
                </a:lnTo>
                <a:lnTo>
                  <a:pt x="951" y="561"/>
                </a:lnTo>
                <a:lnTo>
                  <a:pt x="949" y="571"/>
                </a:lnTo>
                <a:lnTo>
                  <a:pt x="949" y="584"/>
                </a:lnTo>
                <a:lnTo>
                  <a:pt x="971" y="605"/>
                </a:lnTo>
                <a:lnTo>
                  <a:pt x="995" y="626"/>
                </a:lnTo>
                <a:lnTo>
                  <a:pt x="1020" y="647"/>
                </a:lnTo>
                <a:lnTo>
                  <a:pt x="1042" y="670"/>
                </a:lnTo>
                <a:lnTo>
                  <a:pt x="1053" y="682"/>
                </a:lnTo>
                <a:lnTo>
                  <a:pt x="1062" y="695"/>
                </a:lnTo>
                <a:lnTo>
                  <a:pt x="1070" y="708"/>
                </a:lnTo>
                <a:lnTo>
                  <a:pt x="1076" y="722"/>
                </a:lnTo>
                <a:lnTo>
                  <a:pt x="1081" y="737"/>
                </a:lnTo>
                <a:lnTo>
                  <a:pt x="1084" y="752"/>
                </a:lnTo>
                <a:lnTo>
                  <a:pt x="1084" y="768"/>
                </a:lnTo>
                <a:lnTo>
                  <a:pt x="1083" y="785"/>
                </a:lnTo>
                <a:lnTo>
                  <a:pt x="1042" y="810"/>
                </a:lnTo>
                <a:lnTo>
                  <a:pt x="1002" y="834"/>
                </a:lnTo>
                <a:lnTo>
                  <a:pt x="982" y="846"/>
                </a:lnTo>
                <a:lnTo>
                  <a:pt x="963" y="859"/>
                </a:lnTo>
                <a:lnTo>
                  <a:pt x="943" y="872"/>
                </a:lnTo>
                <a:lnTo>
                  <a:pt x="925" y="886"/>
                </a:lnTo>
                <a:lnTo>
                  <a:pt x="912" y="892"/>
                </a:lnTo>
                <a:lnTo>
                  <a:pt x="900" y="897"/>
                </a:lnTo>
                <a:lnTo>
                  <a:pt x="889" y="902"/>
                </a:lnTo>
                <a:lnTo>
                  <a:pt x="877" y="908"/>
                </a:lnTo>
                <a:lnTo>
                  <a:pt x="873" y="931"/>
                </a:lnTo>
                <a:lnTo>
                  <a:pt x="868" y="954"/>
                </a:lnTo>
                <a:lnTo>
                  <a:pt x="865" y="977"/>
                </a:lnTo>
                <a:lnTo>
                  <a:pt x="861" y="1001"/>
                </a:lnTo>
                <a:lnTo>
                  <a:pt x="822" y="1016"/>
                </a:lnTo>
                <a:lnTo>
                  <a:pt x="796" y="1026"/>
                </a:lnTo>
                <a:lnTo>
                  <a:pt x="770" y="1035"/>
                </a:lnTo>
                <a:lnTo>
                  <a:pt x="733" y="1045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44" name="Freeform 117"/>
          <p:cNvSpPr>
            <a:spLocks/>
          </p:cNvSpPr>
          <p:nvPr/>
        </p:nvSpPr>
        <p:spPr bwMode="auto">
          <a:xfrm>
            <a:off x="2419350" y="2951163"/>
            <a:ext cx="566738" cy="525462"/>
          </a:xfrm>
          <a:custGeom>
            <a:avLst/>
            <a:gdLst>
              <a:gd name="T0" fmla="*/ 2147483647 w 1429"/>
              <a:gd name="T1" fmla="*/ 2147483647 h 1327"/>
              <a:gd name="T2" fmla="*/ 2147483647 w 1429"/>
              <a:gd name="T3" fmla="*/ 2147483647 h 1327"/>
              <a:gd name="T4" fmla="*/ 2147483647 w 1429"/>
              <a:gd name="T5" fmla="*/ 2147483647 h 1327"/>
              <a:gd name="T6" fmla="*/ 2147483647 w 1429"/>
              <a:gd name="T7" fmla="*/ 2147483647 h 1327"/>
              <a:gd name="T8" fmla="*/ 2147483647 w 1429"/>
              <a:gd name="T9" fmla="*/ 2147483647 h 1327"/>
              <a:gd name="T10" fmla="*/ 2147483647 w 1429"/>
              <a:gd name="T11" fmla="*/ 2147483647 h 1327"/>
              <a:gd name="T12" fmla="*/ 2147483647 w 1429"/>
              <a:gd name="T13" fmla="*/ 2147483647 h 1327"/>
              <a:gd name="T14" fmla="*/ 2147483647 w 1429"/>
              <a:gd name="T15" fmla="*/ 2147483647 h 1327"/>
              <a:gd name="T16" fmla="*/ 2147483647 w 1429"/>
              <a:gd name="T17" fmla="*/ 2147483647 h 1327"/>
              <a:gd name="T18" fmla="*/ 2147483647 w 1429"/>
              <a:gd name="T19" fmla="*/ 2147483647 h 1327"/>
              <a:gd name="T20" fmla="*/ 2147483647 w 1429"/>
              <a:gd name="T21" fmla="*/ 2147483647 h 1327"/>
              <a:gd name="T22" fmla="*/ 2147483647 w 1429"/>
              <a:gd name="T23" fmla="*/ 2147483647 h 1327"/>
              <a:gd name="T24" fmla="*/ 2147483647 w 1429"/>
              <a:gd name="T25" fmla="*/ 2147483647 h 1327"/>
              <a:gd name="T26" fmla="*/ 2147483647 w 1429"/>
              <a:gd name="T27" fmla="*/ 2147483647 h 1327"/>
              <a:gd name="T28" fmla="*/ 2147483647 w 1429"/>
              <a:gd name="T29" fmla="*/ 2147483647 h 1327"/>
              <a:gd name="T30" fmla="*/ 2147483647 w 1429"/>
              <a:gd name="T31" fmla="*/ 2147483647 h 1327"/>
              <a:gd name="T32" fmla="*/ 2147483647 w 1429"/>
              <a:gd name="T33" fmla="*/ 2147483647 h 1327"/>
              <a:gd name="T34" fmla="*/ 2147483647 w 1429"/>
              <a:gd name="T35" fmla="*/ 2147483647 h 1327"/>
              <a:gd name="T36" fmla="*/ 2147483647 w 1429"/>
              <a:gd name="T37" fmla="*/ 2147483647 h 1327"/>
              <a:gd name="T38" fmla="*/ 2147483647 w 1429"/>
              <a:gd name="T39" fmla="*/ 2147483647 h 1327"/>
              <a:gd name="T40" fmla="*/ 2147483647 w 1429"/>
              <a:gd name="T41" fmla="*/ 2147483647 h 1327"/>
              <a:gd name="T42" fmla="*/ 2147483647 w 1429"/>
              <a:gd name="T43" fmla="*/ 2147483647 h 1327"/>
              <a:gd name="T44" fmla="*/ 2147483647 w 1429"/>
              <a:gd name="T45" fmla="*/ 2147483647 h 1327"/>
              <a:gd name="T46" fmla="*/ 2147483647 w 1429"/>
              <a:gd name="T47" fmla="*/ 2147483647 h 1327"/>
              <a:gd name="T48" fmla="*/ 2147483647 w 1429"/>
              <a:gd name="T49" fmla="*/ 2147483647 h 1327"/>
              <a:gd name="T50" fmla="*/ 2147483647 w 1429"/>
              <a:gd name="T51" fmla="*/ 2147483647 h 1327"/>
              <a:gd name="T52" fmla="*/ 2147483647 w 1429"/>
              <a:gd name="T53" fmla="*/ 2147483647 h 1327"/>
              <a:gd name="T54" fmla="*/ 2147483647 w 1429"/>
              <a:gd name="T55" fmla="*/ 2147483647 h 1327"/>
              <a:gd name="T56" fmla="*/ 2147483647 w 1429"/>
              <a:gd name="T57" fmla="*/ 2147483647 h 1327"/>
              <a:gd name="T58" fmla="*/ 2147483647 w 1429"/>
              <a:gd name="T59" fmla="*/ 2147483647 h 1327"/>
              <a:gd name="T60" fmla="*/ 2147483647 w 1429"/>
              <a:gd name="T61" fmla="*/ 2147483647 h 1327"/>
              <a:gd name="T62" fmla="*/ 2147483647 w 1429"/>
              <a:gd name="T63" fmla="*/ 2147483647 h 1327"/>
              <a:gd name="T64" fmla="*/ 2147483647 w 1429"/>
              <a:gd name="T65" fmla="*/ 2147483647 h 1327"/>
              <a:gd name="T66" fmla="*/ 2147483647 w 1429"/>
              <a:gd name="T67" fmla="*/ 2147483647 h 1327"/>
              <a:gd name="T68" fmla="*/ 2147483647 w 1429"/>
              <a:gd name="T69" fmla="*/ 2147483647 h 1327"/>
              <a:gd name="T70" fmla="*/ 2147483647 w 1429"/>
              <a:gd name="T71" fmla="*/ 2147483647 h 1327"/>
              <a:gd name="T72" fmla="*/ 2147483647 w 1429"/>
              <a:gd name="T73" fmla="*/ 2147483647 h 1327"/>
              <a:gd name="T74" fmla="*/ 2147483647 w 1429"/>
              <a:gd name="T75" fmla="*/ 2147483647 h 1327"/>
              <a:gd name="T76" fmla="*/ 2147483647 w 1429"/>
              <a:gd name="T77" fmla="*/ 2147483647 h 1327"/>
              <a:gd name="T78" fmla="*/ 2147483647 w 1429"/>
              <a:gd name="T79" fmla="*/ 2147483647 h 1327"/>
              <a:gd name="T80" fmla="*/ 2147483647 w 1429"/>
              <a:gd name="T81" fmla="*/ 2147483647 h 1327"/>
              <a:gd name="T82" fmla="*/ 2147483647 w 1429"/>
              <a:gd name="T83" fmla="*/ 2147483647 h 1327"/>
              <a:gd name="T84" fmla="*/ 2147483647 w 1429"/>
              <a:gd name="T85" fmla="*/ 2147483647 h 1327"/>
              <a:gd name="T86" fmla="*/ 2147483647 w 1429"/>
              <a:gd name="T87" fmla="*/ 2147483647 h 1327"/>
              <a:gd name="T88" fmla="*/ 2147483647 w 1429"/>
              <a:gd name="T89" fmla="*/ 2147483647 h 1327"/>
              <a:gd name="T90" fmla="*/ 2147483647 w 1429"/>
              <a:gd name="T91" fmla="*/ 2147483647 h 1327"/>
              <a:gd name="T92" fmla="*/ 2147483647 w 1429"/>
              <a:gd name="T93" fmla="*/ 2147483647 h 1327"/>
              <a:gd name="T94" fmla="*/ 2147483647 w 1429"/>
              <a:gd name="T95" fmla="*/ 2147483647 h 1327"/>
              <a:gd name="T96" fmla="*/ 2147483647 w 1429"/>
              <a:gd name="T97" fmla="*/ 2147483647 h 1327"/>
              <a:gd name="T98" fmla="*/ 2147483647 w 1429"/>
              <a:gd name="T99" fmla="*/ 2147483647 h 1327"/>
              <a:gd name="T100" fmla="*/ 2147483647 w 1429"/>
              <a:gd name="T101" fmla="*/ 2147483647 h 1327"/>
              <a:gd name="T102" fmla="*/ 2147483647 w 1429"/>
              <a:gd name="T103" fmla="*/ 2147483647 h 1327"/>
              <a:gd name="T104" fmla="*/ 2147483647 w 1429"/>
              <a:gd name="T105" fmla="*/ 2147483647 h 1327"/>
              <a:gd name="T106" fmla="*/ 2147483647 w 1429"/>
              <a:gd name="T107" fmla="*/ 2147483647 h 1327"/>
              <a:gd name="T108" fmla="*/ 2147483647 w 1429"/>
              <a:gd name="T109" fmla="*/ 2147483647 h 1327"/>
              <a:gd name="T110" fmla="*/ 2147483647 w 1429"/>
              <a:gd name="T111" fmla="*/ 2147483647 h 1327"/>
              <a:gd name="T112" fmla="*/ 2147483647 w 1429"/>
              <a:gd name="T113" fmla="*/ 2147483647 h 1327"/>
              <a:gd name="T114" fmla="*/ 2147483647 w 1429"/>
              <a:gd name="T115" fmla="*/ 2147483647 h 1327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429"/>
              <a:gd name="T175" fmla="*/ 0 h 1327"/>
              <a:gd name="T176" fmla="*/ 1429 w 1429"/>
              <a:gd name="T177" fmla="*/ 1327 h 1327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429" h="1327">
                <a:moveTo>
                  <a:pt x="302" y="1327"/>
                </a:moveTo>
                <a:lnTo>
                  <a:pt x="298" y="1302"/>
                </a:lnTo>
                <a:lnTo>
                  <a:pt x="294" y="1282"/>
                </a:lnTo>
                <a:lnTo>
                  <a:pt x="290" y="1267"/>
                </a:lnTo>
                <a:lnTo>
                  <a:pt x="284" y="1254"/>
                </a:lnTo>
                <a:lnTo>
                  <a:pt x="276" y="1242"/>
                </a:lnTo>
                <a:lnTo>
                  <a:pt x="265" y="1230"/>
                </a:lnTo>
                <a:lnTo>
                  <a:pt x="251" y="1219"/>
                </a:lnTo>
                <a:lnTo>
                  <a:pt x="233" y="1203"/>
                </a:lnTo>
                <a:lnTo>
                  <a:pt x="228" y="1194"/>
                </a:lnTo>
                <a:lnTo>
                  <a:pt x="222" y="1186"/>
                </a:lnTo>
                <a:lnTo>
                  <a:pt x="217" y="1180"/>
                </a:lnTo>
                <a:lnTo>
                  <a:pt x="209" y="1173"/>
                </a:lnTo>
                <a:lnTo>
                  <a:pt x="202" y="1169"/>
                </a:lnTo>
                <a:lnTo>
                  <a:pt x="194" y="1165"/>
                </a:lnTo>
                <a:lnTo>
                  <a:pt x="185" y="1163"/>
                </a:lnTo>
                <a:lnTo>
                  <a:pt x="176" y="1160"/>
                </a:lnTo>
                <a:lnTo>
                  <a:pt x="137" y="1155"/>
                </a:lnTo>
                <a:lnTo>
                  <a:pt x="96" y="1154"/>
                </a:lnTo>
                <a:lnTo>
                  <a:pt x="92" y="1139"/>
                </a:lnTo>
                <a:lnTo>
                  <a:pt x="87" y="1126"/>
                </a:lnTo>
                <a:lnTo>
                  <a:pt x="82" y="1113"/>
                </a:lnTo>
                <a:lnTo>
                  <a:pt x="75" y="1102"/>
                </a:lnTo>
                <a:lnTo>
                  <a:pt x="61" y="1078"/>
                </a:lnTo>
                <a:lnTo>
                  <a:pt x="46" y="1055"/>
                </a:lnTo>
                <a:lnTo>
                  <a:pt x="31" y="1031"/>
                </a:lnTo>
                <a:lnTo>
                  <a:pt x="18" y="1007"/>
                </a:lnTo>
                <a:lnTo>
                  <a:pt x="12" y="994"/>
                </a:lnTo>
                <a:lnTo>
                  <a:pt x="8" y="979"/>
                </a:lnTo>
                <a:lnTo>
                  <a:pt x="3" y="965"/>
                </a:lnTo>
                <a:lnTo>
                  <a:pt x="0" y="949"/>
                </a:lnTo>
                <a:lnTo>
                  <a:pt x="12" y="949"/>
                </a:lnTo>
                <a:lnTo>
                  <a:pt x="23" y="949"/>
                </a:lnTo>
                <a:lnTo>
                  <a:pt x="35" y="949"/>
                </a:lnTo>
                <a:lnTo>
                  <a:pt x="47" y="949"/>
                </a:lnTo>
                <a:lnTo>
                  <a:pt x="53" y="935"/>
                </a:lnTo>
                <a:lnTo>
                  <a:pt x="61" y="921"/>
                </a:lnTo>
                <a:lnTo>
                  <a:pt x="75" y="919"/>
                </a:lnTo>
                <a:lnTo>
                  <a:pt x="88" y="918"/>
                </a:lnTo>
                <a:lnTo>
                  <a:pt x="103" y="917"/>
                </a:lnTo>
                <a:lnTo>
                  <a:pt x="117" y="916"/>
                </a:lnTo>
                <a:lnTo>
                  <a:pt x="130" y="892"/>
                </a:lnTo>
                <a:lnTo>
                  <a:pt x="142" y="869"/>
                </a:lnTo>
                <a:lnTo>
                  <a:pt x="154" y="845"/>
                </a:lnTo>
                <a:lnTo>
                  <a:pt x="163" y="821"/>
                </a:lnTo>
                <a:lnTo>
                  <a:pt x="181" y="771"/>
                </a:lnTo>
                <a:lnTo>
                  <a:pt x="198" y="720"/>
                </a:lnTo>
                <a:lnTo>
                  <a:pt x="208" y="711"/>
                </a:lnTo>
                <a:lnTo>
                  <a:pt x="217" y="702"/>
                </a:lnTo>
                <a:lnTo>
                  <a:pt x="225" y="694"/>
                </a:lnTo>
                <a:lnTo>
                  <a:pt x="230" y="687"/>
                </a:lnTo>
                <a:lnTo>
                  <a:pt x="236" y="679"/>
                </a:lnTo>
                <a:lnTo>
                  <a:pt x="239" y="671"/>
                </a:lnTo>
                <a:lnTo>
                  <a:pt x="242" y="664"/>
                </a:lnTo>
                <a:lnTo>
                  <a:pt x="245" y="657"/>
                </a:lnTo>
                <a:lnTo>
                  <a:pt x="246" y="640"/>
                </a:lnTo>
                <a:lnTo>
                  <a:pt x="247" y="622"/>
                </a:lnTo>
                <a:lnTo>
                  <a:pt x="247" y="599"/>
                </a:lnTo>
                <a:lnTo>
                  <a:pt x="249" y="573"/>
                </a:lnTo>
                <a:lnTo>
                  <a:pt x="256" y="563"/>
                </a:lnTo>
                <a:lnTo>
                  <a:pt x="263" y="553"/>
                </a:lnTo>
                <a:lnTo>
                  <a:pt x="269" y="541"/>
                </a:lnTo>
                <a:lnTo>
                  <a:pt x="275" y="529"/>
                </a:lnTo>
                <a:lnTo>
                  <a:pt x="282" y="504"/>
                </a:lnTo>
                <a:lnTo>
                  <a:pt x="289" y="481"/>
                </a:lnTo>
                <a:lnTo>
                  <a:pt x="298" y="476"/>
                </a:lnTo>
                <a:lnTo>
                  <a:pt x="306" y="473"/>
                </a:lnTo>
                <a:lnTo>
                  <a:pt x="317" y="473"/>
                </a:lnTo>
                <a:lnTo>
                  <a:pt x="337" y="473"/>
                </a:lnTo>
                <a:lnTo>
                  <a:pt x="356" y="499"/>
                </a:lnTo>
                <a:lnTo>
                  <a:pt x="373" y="521"/>
                </a:lnTo>
                <a:lnTo>
                  <a:pt x="383" y="532"/>
                </a:lnTo>
                <a:lnTo>
                  <a:pt x="393" y="541"/>
                </a:lnTo>
                <a:lnTo>
                  <a:pt x="406" y="550"/>
                </a:lnTo>
                <a:lnTo>
                  <a:pt x="419" y="559"/>
                </a:lnTo>
                <a:lnTo>
                  <a:pt x="427" y="554"/>
                </a:lnTo>
                <a:lnTo>
                  <a:pt x="431" y="550"/>
                </a:lnTo>
                <a:lnTo>
                  <a:pt x="435" y="542"/>
                </a:lnTo>
                <a:lnTo>
                  <a:pt x="441" y="530"/>
                </a:lnTo>
                <a:lnTo>
                  <a:pt x="454" y="532"/>
                </a:lnTo>
                <a:lnTo>
                  <a:pt x="467" y="533"/>
                </a:lnTo>
                <a:lnTo>
                  <a:pt x="480" y="537"/>
                </a:lnTo>
                <a:lnTo>
                  <a:pt x="494" y="541"/>
                </a:lnTo>
                <a:lnTo>
                  <a:pt x="522" y="551"/>
                </a:lnTo>
                <a:lnTo>
                  <a:pt x="550" y="564"/>
                </a:lnTo>
                <a:lnTo>
                  <a:pt x="578" y="579"/>
                </a:lnTo>
                <a:lnTo>
                  <a:pt x="606" y="593"/>
                </a:lnTo>
                <a:lnTo>
                  <a:pt x="634" y="606"/>
                </a:lnTo>
                <a:lnTo>
                  <a:pt x="660" y="615"/>
                </a:lnTo>
                <a:lnTo>
                  <a:pt x="662" y="601"/>
                </a:lnTo>
                <a:lnTo>
                  <a:pt x="666" y="586"/>
                </a:lnTo>
                <a:lnTo>
                  <a:pt x="669" y="572"/>
                </a:lnTo>
                <a:lnTo>
                  <a:pt x="673" y="558"/>
                </a:lnTo>
                <a:lnTo>
                  <a:pt x="683" y="553"/>
                </a:lnTo>
                <a:lnTo>
                  <a:pt x="690" y="546"/>
                </a:lnTo>
                <a:lnTo>
                  <a:pt x="695" y="541"/>
                </a:lnTo>
                <a:lnTo>
                  <a:pt x="697" y="534"/>
                </a:lnTo>
                <a:lnTo>
                  <a:pt x="699" y="528"/>
                </a:lnTo>
                <a:lnTo>
                  <a:pt x="699" y="520"/>
                </a:lnTo>
                <a:lnTo>
                  <a:pt x="697" y="514"/>
                </a:lnTo>
                <a:lnTo>
                  <a:pt x="695" y="507"/>
                </a:lnTo>
                <a:lnTo>
                  <a:pt x="691" y="501"/>
                </a:lnTo>
                <a:lnTo>
                  <a:pt x="687" y="493"/>
                </a:lnTo>
                <a:lnTo>
                  <a:pt x="682" y="486"/>
                </a:lnTo>
                <a:lnTo>
                  <a:pt x="675" y="481"/>
                </a:lnTo>
                <a:lnTo>
                  <a:pt x="662" y="469"/>
                </a:lnTo>
                <a:lnTo>
                  <a:pt x="651" y="459"/>
                </a:lnTo>
                <a:lnTo>
                  <a:pt x="649" y="450"/>
                </a:lnTo>
                <a:lnTo>
                  <a:pt x="649" y="439"/>
                </a:lnTo>
                <a:lnTo>
                  <a:pt x="651" y="430"/>
                </a:lnTo>
                <a:lnTo>
                  <a:pt x="652" y="420"/>
                </a:lnTo>
                <a:lnTo>
                  <a:pt x="658" y="400"/>
                </a:lnTo>
                <a:lnTo>
                  <a:pt x="666" y="381"/>
                </a:lnTo>
                <a:lnTo>
                  <a:pt x="683" y="342"/>
                </a:lnTo>
                <a:lnTo>
                  <a:pt x="699" y="302"/>
                </a:lnTo>
                <a:lnTo>
                  <a:pt x="714" y="299"/>
                </a:lnTo>
                <a:lnTo>
                  <a:pt x="723" y="298"/>
                </a:lnTo>
                <a:lnTo>
                  <a:pt x="730" y="294"/>
                </a:lnTo>
                <a:lnTo>
                  <a:pt x="739" y="289"/>
                </a:lnTo>
                <a:lnTo>
                  <a:pt x="740" y="236"/>
                </a:lnTo>
                <a:lnTo>
                  <a:pt x="743" y="191"/>
                </a:lnTo>
                <a:lnTo>
                  <a:pt x="744" y="169"/>
                </a:lnTo>
                <a:lnTo>
                  <a:pt x="749" y="145"/>
                </a:lnTo>
                <a:lnTo>
                  <a:pt x="756" y="121"/>
                </a:lnTo>
                <a:lnTo>
                  <a:pt x="768" y="93"/>
                </a:lnTo>
                <a:lnTo>
                  <a:pt x="781" y="89"/>
                </a:lnTo>
                <a:lnTo>
                  <a:pt x="794" y="86"/>
                </a:lnTo>
                <a:lnTo>
                  <a:pt x="807" y="80"/>
                </a:lnTo>
                <a:lnTo>
                  <a:pt x="821" y="76"/>
                </a:lnTo>
                <a:lnTo>
                  <a:pt x="821" y="67"/>
                </a:lnTo>
                <a:lnTo>
                  <a:pt x="818" y="60"/>
                </a:lnTo>
                <a:lnTo>
                  <a:pt x="814" y="50"/>
                </a:lnTo>
                <a:lnTo>
                  <a:pt x="809" y="43"/>
                </a:lnTo>
                <a:lnTo>
                  <a:pt x="800" y="27"/>
                </a:lnTo>
                <a:lnTo>
                  <a:pt x="792" y="11"/>
                </a:lnTo>
                <a:lnTo>
                  <a:pt x="816" y="8"/>
                </a:lnTo>
                <a:lnTo>
                  <a:pt x="842" y="6"/>
                </a:lnTo>
                <a:lnTo>
                  <a:pt x="870" y="6"/>
                </a:lnTo>
                <a:lnTo>
                  <a:pt x="900" y="9"/>
                </a:lnTo>
                <a:lnTo>
                  <a:pt x="929" y="11"/>
                </a:lnTo>
                <a:lnTo>
                  <a:pt x="958" y="17"/>
                </a:lnTo>
                <a:lnTo>
                  <a:pt x="984" y="22"/>
                </a:lnTo>
                <a:lnTo>
                  <a:pt x="1006" y="28"/>
                </a:lnTo>
                <a:lnTo>
                  <a:pt x="1012" y="24"/>
                </a:lnTo>
                <a:lnTo>
                  <a:pt x="1019" y="21"/>
                </a:lnTo>
                <a:lnTo>
                  <a:pt x="1025" y="18"/>
                </a:lnTo>
                <a:lnTo>
                  <a:pt x="1032" y="17"/>
                </a:lnTo>
                <a:lnTo>
                  <a:pt x="1046" y="14"/>
                </a:lnTo>
                <a:lnTo>
                  <a:pt x="1059" y="11"/>
                </a:lnTo>
                <a:lnTo>
                  <a:pt x="1073" y="10"/>
                </a:lnTo>
                <a:lnTo>
                  <a:pt x="1088" y="9"/>
                </a:lnTo>
                <a:lnTo>
                  <a:pt x="1101" y="5"/>
                </a:lnTo>
                <a:lnTo>
                  <a:pt x="1116" y="0"/>
                </a:lnTo>
                <a:lnTo>
                  <a:pt x="1121" y="10"/>
                </a:lnTo>
                <a:lnTo>
                  <a:pt x="1128" y="21"/>
                </a:lnTo>
                <a:lnTo>
                  <a:pt x="1133" y="32"/>
                </a:lnTo>
                <a:lnTo>
                  <a:pt x="1141" y="44"/>
                </a:lnTo>
                <a:lnTo>
                  <a:pt x="1166" y="56"/>
                </a:lnTo>
                <a:lnTo>
                  <a:pt x="1188" y="67"/>
                </a:lnTo>
                <a:lnTo>
                  <a:pt x="1209" y="79"/>
                </a:lnTo>
                <a:lnTo>
                  <a:pt x="1227" y="92"/>
                </a:lnTo>
                <a:lnTo>
                  <a:pt x="1242" y="108"/>
                </a:lnTo>
                <a:lnTo>
                  <a:pt x="1258" y="125"/>
                </a:lnTo>
                <a:lnTo>
                  <a:pt x="1274" y="144"/>
                </a:lnTo>
                <a:lnTo>
                  <a:pt x="1289" y="168"/>
                </a:lnTo>
                <a:lnTo>
                  <a:pt x="1356" y="168"/>
                </a:lnTo>
                <a:lnTo>
                  <a:pt x="1392" y="168"/>
                </a:lnTo>
                <a:lnTo>
                  <a:pt x="1402" y="168"/>
                </a:lnTo>
                <a:lnTo>
                  <a:pt x="1410" y="166"/>
                </a:lnTo>
                <a:lnTo>
                  <a:pt x="1417" y="164"/>
                </a:lnTo>
                <a:lnTo>
                  <a:pt x="1423" y="161"/>
                </a:lnTo>
                <a:lnTo>
                  <a:pt x="1425" y="171"/>
                </a:lnTo>
                <a:lnTo>
                  <a:pt x="1426" y="183"/>
                </a:lnTo>
                <a:lnTo>
                  <a:pt x="1427" y="194"/>
                </a:lnTo>
                <a:lnTo>
                  <a:pt x="1429" y="205"/>
                </a:lnTo>
                <a:lnTo>
                  <a:pt x="1413" y="212"/>
                </a:lnTo>
                <a:lnTo>
                  <a:pt x="1397" y="220"/>
                </a:lnTo>
                <a:lnTo>
                  <a:pt x="1384" y="229"/>
                </a:lnTo>
                <a:lnTo>
                  <a:pt x="1374" y="239"/>
                </a:lnTo>
                <a:lnTo>
                  <a:pt x="1363" y="251"/>
                </a:lnTo>
                <a:lnTo>
                  <a:pt x="1353" y="264"/>
                </a:lnTo>
                <a:lnTo>
                  <a:pt x="1344" y="278"/>
                </a:lnTo>
                <a:lnTo>
                  <a:pt x="1335" y="294"/>
                </a:lnTo>
                <a:lnTo>
                  <a:pt x="1339" y="313"/>
                </a:lnTo>
                <a:lnTo>
                  <a:pt x="1341" y="326"/>
                </a:lnTo>
                <a:lnTo>
                  <a:pt x="1341" y="338"/>
                </a:lnTo>
                <a:lnTo>
                  <a:pt x="1340" y="354"/>
                </a:lnTo>
                <a:lnTo>
                  <a:pt x="1304" y="385"/>
                </a:lnTo>
                <a:lnTo>
                  <a:pt x="1265" y="417"/>
                </a:lnTo>
                <a:lnTo>
                  <a:pt x="1226" y="449"/>
                </a:lnTo>
                <a:lnTo>
                  <a:pt x="1185" y="480"/>
                </a:lnTo>
                <a:lnTo>
                  <a:pt x="1145" y="511"/>
                </a:lnTo>
                <a:lnTo>
                  <a:pt x="1103" y="540"/>
                </a:lnTo>
                <a:lnTo>
                  <a:pt x="1063" y="568"/>
                </a:lnTo>
                <a:lnTo>
                  <a:pt x="1024" y="594"/>
                </a:lnTo>
                <a:lnTo>
                  <a:pt x="1015" y="618"/>
                </a:lnTo>
                <a:lnTo>
                  <a:pt x="1010" y="636"/>
                </a:lnTo>
                <a:lnTo>
                  <a:pt x="1007" y="651"/>
                </a:lnTo>
                <a:lnTo>
                  <a:pt x="1007" y="666"/>
                </a:lnTo>
                <a:lnTo>
                  <a:pt x="1010" y="680"/>
                </a:lnTo>
                <a:lnTo>
                  <a:pt x="1015" y="696"/>
                </a:lnTo>
                <a:lnTo>
                  <a:pt x="1024" y="714"/>
                </a:lnTo>
                <a:lnTo>
                  <a:pt x="1034" y="739"/>
                </a:lnTo>
                <a:lnTo>
                  <a:pt x="1037" y="750"/>
                </a:lnTo>
                <a:lnTo>
                  <a:pt x="1038" y="762"/>
                </a:lnTo>
                <a:lnTo>
                  <a:pt x="1040" y="775"/>
                </a:lnTo>
                <a:lnTo>
                  <a:pt x="1041" y="788"/>
                </a:lnTo>
                <a:lnTo>
                  <a:pt x="1029" y="800"/>
                </a:lnTo>
                <a:lnTo>
                  <a:pt x="1019" y="811"/>
                </a:lnTo>
                <a:lnTo>
                  <a:pt x="1008" y="823"/>
                </a:lnTo>
                <a:lnTo>
                  <a:pt x="998" y="836"/>
                </a:lnTo>
                <a:lnTo>
                  <a:pt x="994" y="853"/>
                </a:lnTo>
                <a:lnTo>
                  <a:pt x="990" y="867"/>
                </a:lnTo>
                <a:lnTo>
                  <a:pt x="987" y="882"/>
                </a:lnTo>
                <a:lnTo>
                  <a:pt x="986" y="895"/>
                </a:lnTo>
                <a:lnTo>
                  <a:pt x="984" y="917"/>
                </a:lnTo>
                <a:lnTo>
                  <a:pt x="981" y="936"/>
                </a:lnTo>
                <a:lnTo>
                  <a:pt x="978" y="944"/>
                </a:lnTo>
                <a:lnTo>
                  <a:pt x="976" y="953"/>
                </a:lnTo>
                <a:lnTo>
                  <a:pt x="971" y="960"/>
                </a:lnTo>
                <a:lnTo>
                  <a:pt x="964" y="968"/>
                </a:lnTo>
                <a:lnTo>
                  <a:pt x="955" y="975"/>
                </a:lnTo>
                <a:lnTo>
                  <a:pt x="945" y="982"/>
                </a:lnTo>
                <a:lnTo>
                  <a:pt x="930" y="988"/>
                </a:lnTo>
                <a:lnTo>
                  <a:pt x="913" y="996"/>
                </a:lnTo>
                <a:lnTo>
                  <a:pt x="895" y="991"/>
                </a:lnTo>
                <a:lnTo>
                  <a:pt x="879" y="988"/>
                </a:lnTo>
                <a:lnTo>
                  <a:pt x="865" y="986"/>
                </a:lnTo>
                <a:lnTo>
                  <a:pt x="853" y="986"/>
                </a:lnTo>
                <a:lnTo>
                  <a:pt x="844" y="987"/>
                </a:lnTo>
                <a:lnTo>
                  <a:pt x="837" y="990"/>
                </a:lnTo>
                <a:lnTo>
                  <a:pt x="829" y="994"/>
                </a:lnTo>
                <a:lnTo>
                  <a:pt x="824" y="999"/>
                </a:lnTo>
                <a:lnTo>
                  <a:pt x="820" y="1005"/>
                </a:lnTo>
                <a:lnTo>
                  <a:pt x="816" y="1013"/>
                </a:lnTo>
                <a:lnTo>
                  <a:pt x="813" y="1022"/>
                </a:lnTo>
                <a:lnTo>
                  <a:pt x="811" y="1033"/>
                </a:lnTo>
                <a:lnTo>
                  <a:pt x="807" y="1059"/>
                </a:lnTo>
                <a:lnTo>
                  <a:pt x="803" y="1090"/>
                </a:lnTo>
                <a:lnTo>
                  <a:pt x="782" y="1102"/>
                </a:lnTo>
                <a:lnTo>
                  <a:pt x="766" y="1109"/>
                </a:lnTo>
                <a:lnTo>
                  <a:pt x="759" y="1112"/>
                </a:lnTo>
                <a:lnTo>
                  <a:pt x="753" y="1115"/>
                </a:lnTo>
                <a:lnTo>
                  <a:pt x="747" y="1116"/>
                </a:lnTo>
                <a:lnTo>
                  <a:pt x="742" y="1116"/>
                </a:lnTo>
                <a:lnTo>
                  <a:pt x="736" y="1115"/>
                </a:lnTo>
                <a:lnTo>
                  <a:pt x="732" y="1112"/>
                </a:lnTo>
                <a:lnTo>
                  <a:pt x="727" y="1108"/>
                </a:lnTo>
                <a:lnTo>
                  <a:pt x="722" y="1104"/>
                </a:lnTo>
                <a:lnTo>
                  <a:pt x="712" y="1090"/>
                </a:lnTo>
                <a:lnTo>
                  <a:pt x="700" y="1069"/>
                </a:lnTo>
                <a:lnTo>
                  <a:pt x="692" y="1069"/>
                </a:lnTo>
                <a:lnTo>
                  <a:pt x="684" y="1070"/>
                </a:lnTo>
                <a:lnTo>
                  <a:pt x="677" y="1073"/>
                </a:lnTo>
                <a:lnTo>
                  <a:pt x="670" y="1076"/>
                </a:lnTo>
                <a:lnTo>
                  <a:pt x="657" y="1082"/>
                </a:lnTo>
                <a:lnTo>
                  <a:pt x="645" y="1091"/>
                </a:lnTo>
                <a:lnTo>
                  <a:pt x="635" y="1102"/>
                </a:lnTo>
                <a:lnTo>
                  <a:pt x="626" y="1112"/>
                </a:lnTo>
                <a:lnTo>
                  <a:pt x="617" y="1125"/>
                </a:lnTo>
                <a:lnTo>
                  <a:pt x="608" y="1137"/>
                </a:lnTo>
                <a:lnTo>
                  <a:pt x="598" y="1150"/>
                </a:lnTo>
                <a:lnTo>
                  <a:pt x="589" y="1161"/>
                </a:lnTo>
                <a:lnTo>
                  <a:pt x="579" y="1172"/>
                </a:lnTo>
                <a:lnTo>
                  <a:pt x="567" y="1181"/>
                </a:lnTo>
                <a:lnTo>
                  <a:pt x="561" y="1185"/>
                </a:lnTo>
                <a:lnTo>
                  <a:pt x="554" y="1189"/>
                </a:lnTo>
                <a:lnTo>
                  <a:pt x="546" y="1191"/>
                </a:lnTo>
                <a:lnTo>
                  <a:pt x="540" y="1193"/>
                </a:lnTo>
                <a:lnTo>
                  <a:pt x="532" y="1194"/>
                </a:lnTo>
                <a:lnTo>
                  <a:pt x="523" y="1195"/>
                </a:lnTo>
                <a:lnTo>
                  <a:pt x="514" y="1195"/>
                </a:lnTo>
                <a:lnTo>
                  <a:pt x="504" y="1194"/>
                </a:lnTo>
                <a:lnTo>
                  <a:pt x="498" y="1186"/>
                </a:lnTo>
                <a:lnTo>
                  <a:pt x="494" y="1178"/>
                </a:lnTo>
                <a:lnTo>
                  <a:pt x="475" y="1178"/>
                </a:lnTo>
                <a:lnTo>
                  <a:pt x="458" y="1178"/>
                </a:lnTo>
                <a:lnTo>
                  <a:pt x="450" y="1191"/>
                </a:lnTo>
                <a:lnTo>
                  <a:pt x="444" y="1206"/>
                </a:lnTo>
                <a:lnTo>
                  <a:pt x="438" y="1226"/>
                </a:lnTo>
                <a:lnTo>
                  <a:pt x="429" y="1265"/>
                </a:lnTo>
                <a:lnTo>
                  <a:pt x="415" y="1284"/>
                </a:lnTo>
                <a:lnTo>
                  <a:pt x="409" y="1294"/>
                </a:lnTo>
                <a:lnTo>
                  <a:pt x="403" y="1303"/>
                </a:lnTo>
                <a:lnTo>
                  <a:pt x="401" y="1315"/>
                </a:lnTo>
                <a:lnTo>
                  <a:pt x="394" y="1310"/>
                </a:lnTo>
                <a:lnTo>
                  <a:pt x="390" y="1303"/>
                </a:lnTo>
                <a:lnTo>
                  <a:pt x="388" y="1315"/>
                </a:lnTo>
                <a:lnTo>
                  <a:pt x="385" y="1327"/>
                </a:lnTo>
                <a:lnTo>
                  <a:pt x="363" y="1327"/>
                </a:lnTo>
                <a:lnTo>
                  <a:pt x="342" y="1327"/>
                </a:lnTo>
                <a:lnTo>
                  <a:pt x="323" y="1327"/>
                </a:lnTo>
                <a:lnTo>
                  <a:pt x="302" y="1327"/>
                </a:lnTo>
              </a:path>
            </a:pathLst>
          </a:custGeom>
          <a:solidFill>
            <a:srgbClr val="00FF00"/>
          </a:solidFill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45" name="Freeform 118"/>
          <p:cNvSpPr>
            <a:spLocks/>
          </p:cNvSpPr>
          <p:nvPr/>
        </p:nvSpPr>
        <p:spPr bwMode="auto">
          <a:xfrm>
            <a:off x="1795463" y="3244850"/>
            <a:ext cx="292100" cy="230188"/>
          </a:xfrm>
          <a:custGeom>
            <a:avLst/>
            <a:gdLst>
              <a:gd name="T0" fmla="*/ 2147483647 w 739"/>
              <a:gd name="T1" fmla="*/ 2147483647 h 581"/>
              <a:gd name="T2" fmla="*/ 2147483647 w 739"/>
              <a:gd name="T3" fmla="*/ 2147483647 h 581"/>
              <a:gd name="T4" fmla="*/ 2147483647 w 739"/>
              <a:gd name="T5" fmla="*/ 2147483647 h 581"/>
              <a:gd name="T6" fmla="*/ 2147483647 w 739"/>
              <a:gd name="T7" fmla="*/ 2147483647 h 581"/>
              <a:gd name="T8" fmla="*/ 2147483647 w 739"/>
              <a:gd name="T9" fmla="*/ 2147483647 h 581"/>
              <a:gd name="T10" fmla="*/ 2147483647 w 739"/>
              <a:gd name="T11" fmla="*/ 2147483647 h 581"/>
              <a:gd name="T12" fmla="*/ 0 w 739"/>
              <a:gd name="T13" fmla="*/ 2147483647 h 581"/>
              <a:gd name="T14" fmla="*/ 2147483647 w 739"/>
              <a:gd name="T15" fmla="*/ 2147483647 h 581"/>
              <a:gd name="T16" fmla="*/ 2147483647 w 739"/>
              <a:gd name="T17" fmla="*/ 2147483647 h 581"/>
              <a:gd name="T18" fmla="*/ 2147483647 w 739"/>
              <a:gd name="T19" fmla="*/ 2147483647 h 581"/>
              <a:gd name="T20" fmla="*/ 2147483647 w 739"/>
              <a:gd name="T21" fmla="*/ 2147483647 h 581"/>
              <a:gd name="T22" fmla="*/ 2147483647 w 739"/>
              <a:gd name="T23" fmla="*/ 2147483647 h 581"/>
              <a:gd name="T24" fmla="*/ 2147483647 w 739"/>
              <a:gd name="T25" fmla="*/ 2147483647 h 581"/>
              <a:gd name="T26" fmla="*/ 2147483647 w 739"/>
              <a:gd name="T27" fmla="*/ 2147483647 h 581"/>
              <a:gd name="T28" fmla="*/ 2147483647 w 739"/>
              <a:gd name="T29" fmla="*/ 2147483647 h 581"/>
              <a:gd name="T30" fmla="*/ 2147483647 w 739"/>
              <a:gd name="T31" fmla="*/ 2147483647 h 581"/>
              <a:gd name="T32" fmla="*/ 2147483647 w 739"/>
              <a:gd name="T33" fmla="*/ 2147483647 h 581"/>
              <a:gd name="T34" fmla="*/ 2147483647 w 739"/>
              <a:gd name="T35" fmla="*/ 2147483647 h 581"/>
              <a:gd name="T36" fmla="*/ 2147483647 w 739"/>
              <a:gd name="T37" fmla="*/ 0 h 581"/>
              <a:gd name="T38" fmla="*/ 2147483647 w 739"/>
              <a:gd name="T39" fmla="*/ 2147483647 h 581"/>
              <a:gd name="T40" fmla="*/ 2147483647 w 739"/>
              <a:gd name="T41" fmla="*/ 2147483647 h 581"/>
              <a:gd name="T42" fmla="*/ 2147483647 w 739"/>
              <a:gd name="T43" fmla="*/ 2147483647 h 581"/>
              <a:gd name="T44" fmla="*/ 2147483647 w 739"/>
              <a:gd name="T45" fmla="*/ 2147483647 h 581"/>
              <a:gd name="T46" fmla="*/ 2147483647 w 739"/>
              <a:gd name="T47" fmla="*/ 2147483647 h 581"/>
              <a:gd name="T48" fmla="*/ 2147483647 w 739"/>
              <a:gd name="T49" fmla="*/ 2147483647 h 581"/>
              <a:gd name="T50" fmla="*/ 2147483647 w 739"/>
              <a:gd name="T51" fmla="*/ 2147483647 h 581"/>
              <a:gd name="T52" fmla="*/ 2147483647 w 739"/>
              <a:gd name="T53" fmla="*/ 2147483647 h 581"/>
              <a:gd name="T54" fmla="*/ 2147483647 w 739"/>
              <a:gd name="T55" fmla="*/ 2147483647 h 581"/>
              <a:gd name="T56" fmla="*/ 2147483647 w 739"/>
              <a:gd name="T57" fmla="*/ 2147483647 h 581"/>
              <a:gd name="T58" fmla="*/ 2147483647 w 739"/>
              <a:gd name="T59" fmla="*/ 2147483647 h 581"/>
              <a:gd name="T60" fmla="*/ 2147483647 w 739"/>
              <a:gd name="T61" fmla="*/ 2147483647 h 581"/>
              <a:gd name="T62" fmla="*/ 2147483647 w 739"/>
              <a:gd name="T63" fmla="*/ 2147483647 h 581"/>
              <a:gd name="T64" fmla="*/ 2147483647 w 739"/>
              <a:gd name="T65" fmla="*/ 2147483647 h 581"/>
              <a:gd name="T66" fmla="*/ 2147483647 w 739"/>
              <a:gd name="T67" fmla="*/ 2147483647 h 581"/>
              <a:gd name="T68" fmla="*/ 2147483647 w 739"/>
              <a:gd name="T69" fmla="*/ 2147483647 h 581"/>
              <a:gd name="T70" fmla="*/ 2147483647 w 739"/>
              <a:gd name="T71" fmla="*/ 2147483647 h 581"/>
              <a:gd name="T72" fmla="*/ 2147483647 w 739"/>
              <a:gd name="T73" fmla="*/ 2147483647 h 581"/>
              <a:gd name="T74" fmla="*/ 2147483647 w 739"/>
              <a:gd name="T75" fmla="*/ 2147483647 h 581"/>
              <a:gd name="T76" fmla="*/ 2147483647 w 739"/>
              <a:gd name="T77" fmla="*/ 2147483647 h 581"/>
              <a:gd name="T78" fmla="*/ 2147483647 w 739"/>
              <a:gd name="T79" fmla="*/ 2147483647 h 581"/>
              <a:gd name="T80" fmla="*/ 2147483647 w 739"/>
              <a:gd name="T81" fmla="*/ 2147483647 h 581"/>
              <a:gd name="T82" fmla="*/ 2147483647 w 739"/>
              <a:gd name="T83" fmla="*/ 2147483647 h 581"/>
              <a:gd name="T84" fmla="*/ 2147483647 w 739"/>
              <a:gd name="T85" fmla="*/ 2147483647 h 581"/>
              <a:gd name="T86" fmla="*/ 2147483647 w 739"/>
              <a:gd name="T87" fmla="*/ 2147483647 h 581"/>
              <a:gd name="T88" fmla="*/ 2147483647 w 739"/>
              <a:gd name="T89" fmla="*/ 2147483647 h 581"/>
              <a:gd name="T90" fmla="*/ 2147483647 w 739"/>
              <a:gd name="T91" fmla="*/ 2147483647 h 581"/>
              <a:gd name="T92" fmla="*/ 2147483647 w 739"/>
              <a:gd name="T93" fmla="*/ 2147483647 h 581"/>
              <a:gd name="T94" fmla="*/ 2147483647 w 739"/>
              <a:gd name="T95" fmla="*/ 2147483647 h 581"/>
              <a:gd name="T96" fmla="*/ 2147483647 w 739"/>
              <a:gd name="T97" fmla="*/ 2147483647 h 581"/>
              <a:gd name="T98" fmla="*/ 2147483647 w 739"/>
              <a:gd name="T99" fmla="*/ 2147483647 h 581"/>
              <a:gd name="T100" fmla="*/ 2147483647 w 739"/>
              <a:gd name="T101" fmla="*/ 2147483647 h 581"/>
              <a:gd name="T102" fmla="*/ 2147483647 w 739"/>
              <a:gd name="T103" fmla="*/ 2147483647 h 581"/>
              <a:gd name="T104" fmla="*/ 2147483647 w 739"/>
              <a:gd name="T105" fmla="*/ 2147483647 h 58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739"/>
              <a:gd name="T160" fmla="*/ 0 h 581"/>
              <a:gd name="T161" fmla="*/ 739 w 739"/>
              <a:gd name="T162" fmla="*/ 581 h 581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739" h="581">
                <a:moveTo>
                  <a:pt x="212" y="581"/>
                </a:moveTo>
                <a:lnTo>
                  <a:pt x="206" y="575"/>
                </a:lnTo>
                <a:lnTo>
                  <a:pt x="201" y="568"/>
                </a:lnTo>
                <a:lnTo>
                  <a:pt x="194" y="563"/>
                </a:lnTo>
                <a:lnTo>
                  <a:pt x="186" y="559"/>
                </a:lnTo>
                <a:lnTo>
                  <a:pt x="172" y="553"/>
                </a:lnTo>
                <a:lnTo>
                  <a:pt x="157" y="548"/>
                </a:lnTo>
                <a:lnTo>
                  <a:pt x="124" y="540"/>
                </a:lnTo>
                <a:lnTo>
                  <a:pt x="90" y="536"/>
                </a:lnTo>
                <a:lnTo>
                  <a:pt x="75" y="532"/>
                </a:lnTo>
                <a:lnTo>
                  <a:pt x="59" y="528"/>
                </a:lnTo>
                <a:lnTo>
                  <a:pt x="46" y="523"/>
                </a:lnTo>
                <a:lnTo>
                  <a:pt x="33" y="516"/>
                </a:lnTo>
                <a:lnTo>
                  <a:pt x="26" y="512"/>
                </a:lnTo>
                <a:lnTo>
                  <a:pt x="21" y="507"/>
                </a:lnTo>
                <a:lnTo>
                  <a:pt x="16" y="501"/>
                </a:lnTo>
                <a:lnTo>
                  <a:pt x="12" y="494"/>
                </a:lnTo>
                <a:lnTo>
                  <a:pt x="8" y="488"/>
                </a:lnTo>
                <a:lnTo>
                  <a:pt x="6" y="479"/>
                </a:lnTo>
                <a:lnTo>
                  <a:pt x="3" y="470"/>
                </a:lnTo>
                <a:lnTo>
                  <a:pt x="0" y="459"/>
                </a:lnTo>
                <a:lnTo>
                  <a:pt x="10" y="455"/>
                </a:lnTo>
                <a:lnTo>
                  <a:pt x="23" y="445"/>
                </a:lnTo>
                <a:lnTo>
                  <a:pt x="38" y="431"/>
                </a:lnTo>
                <a:lnTo>
                  <a:pt x="54" y="415"/>
                </a:lnTo>
                <a:lnTo>
                  <a:pt x="69" y="399"/>
                </a:lnTo>
                <a:lnTo>
                  <a:pt x="82" y="384"/>
                </a:lnTo>
                <a:lnTo>
                  <a:pt x="93" y="372"/>
                </a:lnTo>
                <a:lnTo>
                  <a:pt x="97" y="364"/>
                </a:lnTo>
                <a:lnTo>
                  <a:pt x="103" y="364"/>
                </a:lnTo>
                <a:lnTo>
                  <a:pt x="110" y="364"/>
                </a:lnTo>
                <a:lnTo>
                  <a:pt x="115" y="349"/>
                </a:lnTo>
                <a:lnTo>
                  <a:pt x="120" y="332"/>
                </a:lnTo>
                <a:lnTo>
                  <a:pt x="123" y="313"/>
                </a:lnTo>
                <a:lnTo>
                  <a:pt x="125" y="295"/>
                </a:lnTo>
                <a:lnTo>
                  <a:pt x="128" y="255"/>
                </a:lnTo>
                <a:lnTo>
                  <a:pt x="128" y="213"/>
                </a:lnTo>
                <a:lnTo>
                  <a:pt x="127" y="170"/>
                </a:lnTo>
                <a:lnTo>
                  <a:pt x="125" y="130"/>
                </a:lnTo>
                <a:lnTo>
                  <a:pt x="124" y="91"/>
                </a:lnTo>
                <a:lnTo>
                  <a:pt x="124" y="56"/>
                </a:lnTo>
                <a:lnTo>
                  <a:pt x="142" y="57"/>
                </a:lnTo>
                <a:lnTo>
                  <a:pt x="162" y="61"/>
                </a:lnTo>
                <a:lnTo>
                  <a:pt x="181" y="68"/>
                </a:lnTo>
                <a:lnTo>
                  <a:pt x="201" y="73"/>
                </a:lnTo>
                <a:lnTo>
                  <a:pt x="220" y="78"/>
                </a:lnTo>
                <a:lnTo>
                  <a:pt x="240" y="81"/>
                </a:lnTo>
                <a:lnTo>
                  <a:pt x="249" y="81"/>
                </a:lnTo>
                <a:lnTo>
                  <a:pt x="259" y="79"/>
                </a:lnTo>
                <a:lnTo>
                  <a:pt x="268" y="78"/>
                </a:lnTo>
                <a:lnTo>
                  <a:pt x="278" y="75"/>
                </a:lnTo>
                <a:lnTo>
                  <a:pt x="280" y="51"/>
                </a:lnTo>
                <a:lnTo>
                  <a:pt x="284" y="30"/>
                </a:lnTo>
                <a:lnTo>
                  <a:pt x="288" y="22"/>
                </a:lnTo>
                <a:lnTo>
                  <a:pt x="293" y="14"/>
                </a:lnTo>
                <a:lnTo>
                  <a:pt x="300" y="6"/>
                </a:lnTo>
                <a:lnTo>
                  <a:pt x="309" y="0"/>
                </a:lnTo>
                <a:lnTo>
                  <a:pt x="318" y="4"/>
                </a:lnTo>
                <a:lnTo>
                  <a:pt x="326" y="8"/>
                </a:lnTo>
                <a:lnTo>
                  <a:pt x="333" y="13"/>
                </a:lnTo>
                <a:lnTo>
                  <a:pt x="341" y="18"/>
                </a:lnTo>
                <a:lnTo>
                  <a:pt x="348" y="25"/>
                </a:lnTo>
                <a:lnTo>
                  <a:pt x="354" y="32"/>
                </a:lnTo>
                <a:lnTo>
                  <a:pt x="359" y="40"/>
                </a:lnTo>
                <a:lnTo>
                  <a:pt x="365" y="48"/>
                </a:lnTo>
                <a:lnTo>
                  <a:pt x="375" y="65"/>
                </a:lnTo>
                <a:lnTo>
                  <a:pt x="384" y="83"/>
                </a:lnTo>
                <a:lnTo>
                  <a:pt x="392" y="101"/>
                </a:lnTo>
                <a:lnTo>
                  <a:pt x="399" y="120"/>
                </a:lnTo>
                <a:lnTo>
                  <a:pt x="410" y="114"/>
                </a:lnTo>
                <a:lnTo>
                  <a:pt x="422" y="112"/>
                </a:lnTo>
                <a:lnTo>
                  <a:pt x="432" y="110"/>
                </a:lnTo>
                <a:lnTo>
                  <a:pt x="441" y="110"/>
                </a:lnTo>
                <a:lnTo>
                  <a:pt x="451" y="110"/>
                </a:lnTo>
                <a:lnTo>
                  <a:pt x="460" y="113"/>
                </a:lnTo>
                <a:lnTo>
                  <a:pt x="467" y="116"/>
                </a:lnTo>
                <a:lnTo>
                  <a:pt x="474" y="120"/>
                </a:lnTo>
                <a:lnTo>
                  <a:pt x="488" y="129"/>
                </a:lnTo>
                <a:lnTo>
                  <a:pt x="501" y="140"/>
                </a:lnTo>
                <a:lnTo>
                  <a:pt x="513" y="153"/>
                </a:lnTo>
                <a:lnTo>
                  <a:pt x="523" y="168"/>
                </a:lnTo>
                <a:lnTo>
                  <a:pt x="534" y="182"/>
                </a:lnTo>
                <a:lnTo>
                  <a:pt x="546" y="194"/>
                </a:lnTo>
                <a:lnTo>
                  <a:pt x="556" y="205"/>
                </a:lnTo>
                <a:lnTo>
                  <a:pt x="568" y="213"/>
                </a:lnTo>
                <a:lnTo>
                  <a:pt x="574" y="217"/>
                </a:lnTo>
                <a:lnTo>
                  <a:pt x="581" y="218"/>
                </a:lnTo>
                <a:lnTo>
                  <a:pt x="587" y="220"/>
                </a:lnTo>
                <a:lnTo>
                  <a:pt x="595" y="220"/>
                </a:lnTo>
                <a:lnTo>
                  <a:pt x="603" y="218"/>
                </a:lnTo>
                <a:lnTo>
                  <a:pt x="612" y="216"/>
                </a:lnTo>
                <a:lnTo>
                  <a:pt x="620" y="212"/>
                </a:lnTo>
                <a:lnTo>
                  <a:pt x="630" y="205"/>
                </a:lnTo>
                <a:lnTo>
                  <a:pt x="641" y="205"/>
                </a:lnTo>
                <a:lnTo>
                  <a:pt x="652" y="207"/>
                </a:lnTo>
                <a:lnTo>
                  <a:pt x="664" y="207"/>
                </a:lnTo>
                <a:lnTo>
                  <a:pt x="676" y="208"/>
                </a:lnTo>
                <a:lnTo>
                  <a:pt x="682" y="222"/>
                </a:lnTo>
                <a:lnTo>
                  <a:pt x="687" y="238"/>
                </a:lnTo>
                <a:lnTo>
                  <a:pt x="691" y="254"/>
                </a:lnTo>
                <a:lnTo>
                  <a:pt x="695" y="269"/>
                </a:lnTo>
                <a:lnTo>
                  <a:pt x="700" y="300"/>
                </a:lnTo>
                <a:lnTo>
                  <a:pt x="704" y="333"/>
                </a:lnTo>
                <a:lnTo>
                  <a:pt x="716" y="342"/>
                </a:lnTo>
                <a:lnTo>
                  <a:pt x="724" y="350"/>
                </a:lnTo>
                <a:lnTo>
                  <a:pt x="730" y="356"/>
                </a:lnTo>
                <a:lnTo>
                  <a:pt x="734" y="364"/>
                </a:lnTo>
                <a:lnTo>
                  <a:pt x="737" y="372"/>
                </a:lnTo>
                <a:lnTo>
                  <a:pt x="738" y="381"/>
                </a:lnTo>
                <a:lnTo>
                  <a:pt x="739" y="393"/>
                </a:lnTo>
                <a:lnTo>
                  <a:pt x="739" y="408"/>
                </a:lnTo>
                <a:lnTo>
                  <a:pt x="722" y="414"/>
                </a:lnTo>
                <a:lnTo>
                  <a:pt x="708" y="419"/>
                </a:lnTo>
                <a:lnTo>
                  <a:pt x="704" y="431"/>
                </a:lnTo>
                <a:lnTo>
                  <a:pt x="700" y="442"/>
                </a:lnTo>
                <a:lnTo>
                  <a:pt x="698" y="454"/>
                </a:lnTo>
                <a:lnTo>
                  <a:pt x="695" y="466"/>
                </a:lnTo>
                <a:lnTo>
                  <a:pt x="680" y="467"/>
                </a:lnTo>
                <a:lnTo>
                  <a:pt x="664" y="468"/>
                </a:lnTo>
                <a:lnTo>
                  <a:pt x="650" y="470"/>
                </a:lnTo>
                <a:lnTo>
                  <a:pt x="635" y="471"/>
                </a:lnTo>
                <a:lnTo>
                  <a:pt x="629" y="484"/>
                </a:lnTo>
                <a:lnTo>
                  <a:pt x="624" y="490"/>
                </a:lnTo>
                <a:lnTo>
                  <a:pt x="617" y="496"/>
                </a:lnTo>
                <a:lnTo>
                  <a:pt x="607" y="501"/>
                </a:lnTo>
                <a:lnTo>
                  <a:pt x="574" y="473"/>
                </a:lnTo>
                <a:lnTo>
                  <a:pt x="555" y="455"/>
                </a:lnTo>
                <a:lnTo>
                  <a:pt x="539" y="440"/>
                </a:lnTo>
                <a:lnTo>
                  <a:pt x="522" y="419"/>
                </a:lnTo>
                <a:lnTo>
                  <a:pt x="508" y="419"/>
                </a:lnTo>
                <a:lnTo>
                  <a:pt x="495" y="418"/>
                </a:lnTo>
                <a:lnTo>
                  <a:pt x="483" y="416"/>
                </a:lnTo>
                <a:lnTo>
                  <a:pt x="473" y="414"/>
                </a:lnTo>
                <a:lnTo>
                  <a:pt x="454" y="408"/>
                </a:lnTo>
                <a:lnTo>
                  <a:pt x="439" y="403"/>
                </a:lnTo>
                <a:lnTo>
                  <a:pt x="430" y="402"/>
                </a:lnTo>
                <a:lnTo>
                  <a:pt x="422" y="401"/>
                </a:lnTo>
                <a:lnTo>
                  <a:pt x="413" y="401"/>
                </a:lnTo>
                <a:lnTo>
                  <a:pt x="404" y="401"/>
                </a:lnTo>
                <a:lnTo>
                  <a:pt x="393" y="403"/>
                </a:lnTo>
                <a:lnTo>
                  <a:pt x="382" y="406"/>
                </a:lnTo>
                <a:lnTo>
                  <a:pt x="369" y="411"/>
                </a:lnTo>
                <a:lnTo>
                  <a:pt x="354" y="418"/>
                </a:lnTo>
                <a:lnTo>
                  <a:pt x="336" y="411"/>
                </a:lnTo>
                <a:lnTo>
                  <a:pt x="318" y="406"/>
                </a:lnTo>
                <a:lnTo>
                  <a:pt x="300" y="402"/>
                </a:lnTo>
                <a:lnTo>
                  <a:pt x="280" y="401"/>
                </a:lnTo>
                <a:lnTo>
                  <a:pt x="274" y="407"/>
                </a:lnTo>
                <a:lnTo>
                  <a:pt x="267" y="416"/>
                </a:lnTo>
                <a:lnTo>
                  <a:pt x="263" y="425"/>
                </a:lnTo>
                <a:lnTo>
                  <a:pt x="258" y="436"/>
                </a:lnTo>
                <a:lnTo>
                  <a:pt x="252" y="457"/>
                </a:lnTo>
                <a:lnTo>
                  <a:pt x="248" y="481"/>
                </a:lnTo>
                <a:lnTo>
                  <a:pt x="245" y="505"/>
                </a:lnTo>
                <a:lnTo>
                  <a:pt x="244" y="528"/>
                </a:lnTo>
                <a:lnTo>
                  <a:pt x="244" y="552"/>
                </a:lnTo>
                <a:lnTo>
                  <a:pt x="242" y="571"/>
                </a:lnTo>
                <a:lnTo>
                  <a:pt x="227" y="575"/>
                </a:lnTo>
                <a:lnTo>
                  <a:pt x="212" y="581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46" name="Freeform 119"/>
          <p:cNvSpPr>
            <a:spLocks/>
          </p:cNvSpPr>
          <p:nvPr/>
        </p:nvSpPr>
        <p:spPr bwMode="auto">
          <a:xfrm>
            <a:off x="1589088" y="3135313"/>
            <a:ext cx="250825" cy="285750"/>
          </a:xfrm>
          <a:custGeom>
            <a:avLst/>
            <a:gdLst>
              <a:gd name="T0" fmla="*/ 2147483647 w 631"/>
              <a:gd name="T1" fmla="*/ 2147483647 h 722"/>
              <a:gd name="T2" fmla="*/ 2147483647 w 631"/>
              <a:gd name="T3" fmla="*/ 2147483647 h 722"/>
              <a:gd name="T4" fmla="*/ 2147483647 w 631"/>
              <a:gd name="T5" fmla="*/ 2147483647 h 722"/>
              <a:gd name="T6" fmla="*/ 2147483647 w 631"/>
              <a:gd name="T7" fmla="*/ 2147483647 h 722"/>
              <a:gd name="T8" fmla="*/ 2147483647 w 631"/>
              <a:gd name="T9" fmla="*/ 2147483647 h 722"/>
              <a:gd name="T10" fmla="*/ 2147483647 w 631"/>
              <a:gd name="T11" fmla="*/ 2147483647 h 722"/>
              <a:gd name="T12" fmla="*/ 2147483647 w 631"/>
              <a:gd name="T13" fmla="*/ 2147483647 h 722"/>
              <a:gd name="T14" fmla="*/ 2147483647 w 631"/>
              <a:gd name="T15" fmla="*/ 2147483647 h 722"/>
              <a:gd name="T16" fmla="*/ 2147483647 w 631"/>
              <a:gd name="T17" fmla="*/ 2147483647 h 722"/>
              <a:gd name="T18" fmla="*/ 2147483647 w 631"/>
              <a:gd name="T19" fmla="*/ 2147483647 h 722"/>
              <a:gd name="T20" fmla="*/ 2147483647 w 631"/>
              <a:gd name="T21" fmla="*/ 2147483647 h 722"/>
              <a:gd name="T22" fmla="*/ 2147483647 w 631"/>
              <a:gd name="T23" fmla="*/ 2147483647 h 722"/>
              <a:gd name="T24" fmla="*/ 2147483647 w 631"/>
              <a:gd name="T25" fmla="*/ 2147483647 h 722"/>
              <a:gd name="T26" fmla="*/ 2147483647 w 631"/>
              <a:gd name="T27" fmla="*/ 2147483647 h 722"/>
              <a:gd name="T28" fmla="*/ 2147483647 w 631"/>
              <a:gd name="T29" fmla="*/ 2147483647 h 722"/>
              <a:gd name="T30" fmla="*/ 2147483647 w 631"/>
              <a:gd name="T31" fmla="*/ 2147483647 h 722"/>
              <a:gd name="T32" fmla="*/ 2147483647 w 631"/>
              <a:gd name="T33" fmla="*/ 2147483647 h 722"/>
              <a:gd name="T34" fmla="*/ 2147483647 w 631"/>
              <a:gd name="T35" fmla="*/ 2147483647 h 722"/>
              <a:gd name="T36" fmla="*/ 2147483647 w 631"/>
              <a:gd name="T37" fmla="*/ 2147483647 h 722"/>
              <a:gd name="T38" fmla="*/ 2147483647 w 631"/>
              <a:gd name="T39" fmla="*/ 2147483647 h 722"/>
              <a:gd name="T40" fmla="*/ 2147483647 w 631"/>
              <a:gd name="T41" fmla="*/ 2147483647 h 722"/>
              <a:gd name="T42" fmla="*/ 2147483647 w 631"/>
              <a:gd name="T43" fmla="*/ 0 h 722"/>
              <a:gd name="T44" fmla="*/ 2147483647 w 631"/>
              <a:gd name="T45" fmla="*/ 2147483647 h 722"/>
              <a:gd name="T46" fmla="*/ 2147483647 w 631"/>
              <a:gd name="T47" fmla="*/ 2147483647 h 722"/>
              <a:gd name="T48" fmla="*/ 2147483647 w 631"/>
              <a:gd name="T49" fmla="*/ 2147483647 h 722"/>
              <a:gd name="T50" fmla="*/ 2147483647 w 631"/>
              <a:gd name="T51" fmla="*/ 2147483647 h 722"/>
              <a:gd name="T52" fmla="*/ 2147483647 w 631"/>
              <a:gd name="T53" fmla="*/ 2147483647 h 722"/>
              <a:gd name="T54" fmla="*/ 2147483647 w 631"/>
              <a:gd name="T55" fmla="*/ 2147483647 h 722"/>
              <a:gd name="T56" fmla="*/ 2147483647 w 631"/>
              <a:gd name="T57" fmla="*/ 2147483647 h 722"/>
              <a:gd name="T58" fmla="*/ 2147483647 w 631"/>
              <a:gd name="T59" fmla="*/ 2147483647 h 722"/>
              <a:gd name="T60" fmla="*/ 2147483647 w 631"/>
              <a:gd name="T61" fmla="*/ 2147483647 h 722"/>
              <a:gd name="T62" fmla="*/ 2147483647 w 631"/>
              <a:gd name="T63" fmla="*/ 2147483647 h 722"/>
              <a:gd name="T64" fmla="*/ 2147483647 w 631"/>
              <a:gd name="T65" fmla="*/ 2147483647 h 722"/>
              <a:gd name="T66" fmla="*/ 2147483647 w 631"/>
              <a:gd name="T67" fmla="*/ 2147483647 h 722"/>
              <a:gd name="T68" fmla="*/ 2147483647 w 631"/>
              <a:gd name="T69" fmla="*/ 2147483647 h 722"/>
              <a:gd name="T70" fmla="*/ 2147483647 w 631"/>
              <a:gd name="T71" fmla="*/ 2147483647 h 722"/>
              <a:gd name="T72" fmla="*/ 2147483647 w 631"/>
              <a:gd name="T73" fmla="*/ 2147483647 h 722"/>
              <a:gd name="T74" fmla="*/ 2147483647 w 631"/>
              <a:gd name="T75" fmla="*/ 2147483647 h 722"/>
              <a:gd name="T76" fmla="*/ 2147483647 w 631"/>
              <a:gd name="T77" fmla="*/ 2147483647 h 722"/>
              <a:gd name="T78" fmla="*/ 2147483647 w 631"/>
              <a:gd name="T79" fmla="*/ 2147483647 h 722"/>
              <a:gd name="T80" fmla="*/ 2147483647 w 631"/>
              <a:gd name="T81" fmla="*/ 2147483647 h 722"/>
              <a:gd name="T82" fmla="*/ 2147483647 w 631"/>
              <a:gd name="T83" fmla="*/ 2147483647 h 722"/>
              <a:gd name="T84" fmla="*/ 2147483647 w 631"/>
              <a:gd name="T85" fmla="*/ 2147483647 h 722"/>
              <a:gd name="T86" fmla="*/ 2147483647 w 631"/>
              <a:gd name="T87" fmla="*/ 2147483647 h 722"/>
              <a:gd name="T88" fmla="*/ 2147483647 w 631"/>
              <a:gd name="T89" fmla="*/ 2147483647 h 722"/>
              <a:gd name="T90" fmla="*/ 2147483647 w 631"/>
              <a:gd name="T91" fmla="*/ 2147483647 h 722"/>
              <a:gd name="T92" fmla="*/ 2147483647 w 631"/>
              <a:gd name="T93" fmla="*/ 2147483647 h 722"/>
              <a:gd name="T94" fmla="*/ 2147483647 w 631"/>
              <a:gd name="T95" fmla="*/ 2147483647 h 722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631"/>
              <a:gd name="T145" fmla="*/ 0 h 722"/>
              <a:gd name="T146" fmla="*/ 631 w 631"/>
              <a:gd name="T147" fmla="*/ 722 h 722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631" h="722">
                <a:moveTo>
                  <a:pt x="495" y="722"/>
                </a:moveTo>
                <a:lnTo>
                  <a:pt x="488" y="710"/>
                </a:lnTo>
                <a:lnTo>
                  <a:pt x="482" y="700"/>
                </a:lnTo>
                <a:lnTo>
                  <a:pt x="475" y="692"/>
                </a:lnTo>
                <a:lnTo>
                  <a:pt x="469" y="686"/>
                </a:lnTo>
                <a:lnTo>
                  <a:pt x="461" y="681"/>
                </a:lnTo>
                <a:lnTo>
                  <a:pt x="454" y="677"/>
                </a:lnTo>
                <a:lnTo>
                  <a:pt x="447" y="674"/>
                </a:lnTo>
                <a:lnTo>
                  <a:pt x="439" y="673"/>
                </a:lnTo>
                <a:lnTo>
                  <a:pt x="401" y="671"/>
                </a:lnTo>
                <a:lnTo>
                  <a:pt x="353" y="673"/>
                </a:lnTo>
                <a:lnTo>
                  <a:pt x="341" y="661"/>
                </a:lnTo>
                <a:lnTo>
                  <a:pt x="329" y="651"/>
                </a:lnTo>
                <a:lnTo>
                  <a:pt x="314" y="640"/>
                </a:lnTo>
                <a:lnTo>
                  <a:pt x="300" y="631"/>
                </a:lnTo>
                <a:lnTo>
                  <a:pt x="267" y="615"/>
                </a:lnTo>
                <a:lnTo>
                  <a:pt x="237" y="601"/>
                </a:lnTo>
                <a:lnTo>
                  <a:pt x="227" y="586"/>
                </a:lnTo>
                <a:lnTo>
                  <a:pt x="218" y="571"/>
                </a:lnTo>
                <a:lnTo>
                  <a:pt x="208" y="556"/>
                </a:lnTo>
                <a:lnTo>
                  <a:pt x="201" y="541"/>
                </a:lnTo>
                <a:lnTo>
                  <a:pt x="185" y="537"/>
                </a:lnTo>
                <a:lnTo>
                  <a:pt x="169" y="533"/>
                </a:lnTo>
                <a:lnTo>
                  <a:pt x="154" y="531"/>
                </a:lnTo>
                <a:lnTo>
                  <a:pt x="138" y="528"/>
                </a:lnTo>
                <a:lnTo>
                  <a:pt x="117" y="498"/>
                </a:lnTo>
                <a:lnTo>
                  <a:pt x="94" y="470"/>
                </a:lnTo>
                <a:lnTo>
                  <a:pt x="82" y="454"/>
                </a:lnTo>
                <a:lnTo>
                  <a:pt x="73" y="440"/>
                </a:lnTo>
                <a:lnTo>
                  <a:pt x="64" y="424"/>
                </a:lnTo>
                <a:lnTo>
                  <a:pt x="58" y="409"/>
                </a:lnTo>
                <a:lnTo>
                  <a:pt x="43" y="409"/>
                </a:lnTo>
                <a:lnTo>
                  <a:pt x="29" y="409"/>
                </a:lnTo>
                <a:lnTo>
                  <a:pt x="15" y="409"/>
                </a:lnTo>
                <a:lnTo>
                  <a:pt x="0" y="409"/>
                </a:lnTo>
                <a:lnTo>
                  <a:pt x="3" y="401"/>
                </a:lnTo>
                <a:lnTo>
                  <a:pt x="6" y="393"/>
                </a:lnTo>
                <a:lnTo>
                  <a:pt x="24" y="380"/>
                </a:lnTo>
                <a:lnTo>
                  <a:pt x="37" y="367"/>
                </a:lnTo>
                <a:lnTo>
                  <a:pt x="47" y="354"/>
                </a:lnTo>
                <a:lnTo>
                  <a:pt x="55" y="341"/>
                </a:lnTo>
                <a:lnTo>
                  <a:pt x="60" y="327"/>
                </a:lnTo>
                <a:lnTo>
                  <a:pt x="63" y="312"/>
                </a:lnTo>
                <a:lnTo>
                  <a:pt x="64" y="298"/>
                </a:lnTo>
                <a:lnTo>
                  <a:pt x="63" y="284"/>
                </a:lnTo>
                <a:lnTo>
                  <a:pt x="59" y="254"/>
                </a:lnTo>
                <a:lnTo>
                  <a:pt x="54" y="223"/>
                </a:lnTo>
                <a:lnTo>
                  <a:pt x="51" y="206"/>
                </a:lnTo>
                <a:lnTo>
                  <a:pt x="50" y="189"/>
                </a:lnTo>
                <a:lnTo>
                  <a:pt x="48" y="171"/>
                </a:lnTo>
                <a:lnTo>
                  <a:pt x="50" y="154"/>
                </a:lnTo>
                <a:lnTo>
                  <a:pt x="56" y="146"/>
                </a:lnTo>
                <a:lnTo>
                  <a:pt x="61" y="137"/>
                </a:lnTo>
                <a:lnTo>
                  <a:pt x="64" y="125"/>
                </a:lnTo>
                <a:lnTo>
                  <a:pt x="67" y="112"/>
                </a:lnTo>
                <a:lnTo>
                  <a:pt x="69" y="85"/>
                </a:lnTo>
                <a:lnTo>
                  <a:pt x="73" y="56"/>
                </a:lnTo>
                <a:lnTo>
                  <a:pt x="76" y="43"/>
                </a:lnTo>
                <a:lnTo>
                  <a:pt x="78" y="31"/>
                </a:lnTo>
                <a:lnTo>
                  <a:pt x="84" y="20"/>
                </a:lnTo>
                <a:lnTo>
                  <a:pt x="90" y="12"/>
                </a:lnTo>
                <a:lnTo>
                  <a:pt x="95" y="8"/>
                </a:lnTo>
                <a:lnTo>
                  <a:pt x="99" y="5"/>
                </a:lnTo>
                <a:lnTo>
                  <a:pt x="104" y="3"/>
                </a:lnTo>
                <a:lnTo>
                  <a:pt x="111" y="1"/>
                </a:lnTo>
                <a:lnTo>
                  <a:pt x="117" y="0"/>
                </a:lnTo>
                <a:lnTo>
                  <a:pt x="125" y="0"/>
                </a:lnTo>
                <a:lnTo>
                  <a:pt x="133" y="1"/>
                </a:lnTo>
                <a:lnTo>
                  <a:pt x="142" y="3"/>
                </a:lnTo>
                <a:lnTo>
                  <a:pt x="145" y="13"/>
                </a:lnTo>
                <a:lnTo>
                  <a:pt x="147" y="22"/>
                </a:lnTo>
                <a:lnTo>
                  <a:pt x="151" y="31"/>
                </a:lnTo>
                <a:lnTo>
                  <a:pt x="155" y="40"/>
                </a:lnTo>
                <a:lnTo>
                  <a:pt x="160" y="48"/>
                </a:lnTo>
                <a:lnTo>
                  <a:pt x="167" y="56"/>
                </a:lnTo>
                <a:lnTo>
                  <a:pt x="173" y="63"/>
                </a:lnTo>
                <a:lnTo>
                  <a:pt x="180" y="69"/>
                </a:lnTo>
                <a:lnTo>
                  <a:pt x="188" y="76"/>
                </a:lnTo>
                <a:lnTo>
                  <a:pt x="195" y="81"/>
                </a:lnTo>
                <a:lnTo>
                  <a:pt x="203" y="86"/>
                </a:lnTo>
                <a:lnTo>
                  <a:pt x="212" y="91"/>
                </a:lnTo>
                <a:lnTo>
                  <a:pt x="231" y="98"/>
                </a:lnTo>
                <a:lnTo>
                  <a:pt x="250" y="103"/>
                </a:lnTo>
                <a:lnTo>
                  <a:pt x="262" y="94"/>
                </a:lnTo>
                <a:lnTo>
                  <a:pt x="272" y="86"/>
                </a:lnTo>
                <a:lnTo>
                  <a:pt x="277" y="83"/>
                </a:lnTo>
                <a:lnTo>
                  <a:pt x="284" y="82"/>
                </a:lnTo>
                <a:lnTo>
                  <a:pt x="290" y="81"/>
                </a:lnTo>
                <a:lnTo>
                  <a:pt x="298" y="79"/>
                </a:lnTo>
                <a:lnTo>
                  <a:pt x="305" y="91"/>
                </a:lnTo>
                <a:lnTo>
                  <a:pt x="310" y="104"/>
                </a:lnTo>
                <a:lnTo>
                  <a:pt x="315" y="120"/>
                </a:lnTo>
                <a:lnTo>
                  <a:pt x="319" y="137"/>
                </a:lnTo>
                <a:lnTo>
                  <a:pt x="328" y="173"/>
                </a:lnTo>
                <a:lnTo>
                  <a:pt x="339" y="210"/>
                </a:lnTo>
                <a:lnTo>
                  <a:pt x="345" y="228"/>
                </a:lnTo>
                <a:lnTo>
                  <a:pt x="352" y="243"/>
                </a:lnTo>
                <a:lnTo>
                  <a:pt x="359" y="258"/>
                </a:lnTo>
                <a:lnTo>
                  <a:pt x="368" y="271"/>
                </a:lnTo>
                <a:lnTo>
                  <a:pt x="374" y="276"/>
                </a:lnTo>
                <a:lnTo>
                  <a:pt x="380" y="280"/>
                </a:lnTo>
                <a:lnTo>
                  <a:pt x="385" y="282"/>
                </a:lnTo>
                <a:lnTo>
                  <a:pt x="392" y="285"/>
                </a:lnTo>
                <a:lnTo>
                  <a:pt x="400" y="288"/>
                </a:lnTo>
                <a:lnTo>
                  <a:pt x="408" y="288"/>
                </a:lnTo>
                <a:lnTo>
                  <a:pt x="415" y="288"/>
                </a:lnTo>
                <a:lnTo>
                  <a:pt x="423" y="286"/>
                </a:lnTo>
                <a:lnTo>
                  <a:pt x="426" y="263"/>
                </a:lnTo>
                <a:lnTo>
                  <a:pt x="428" y="250"/>
                </a:lnTo>
                <a:lnTo>
                  <a:pt x="431" y="242"/>
                </a:lnTo>
                <a:lnTo>
                  <a:pt x="435" y="234"/>
                </a:lnTo>
                <a:lnTo>
                  <a:pt x="447" y="234"/>
                </a:lnTo>
                <a:lnTo>
                  <a:pt x="458" y="234"/>
                </a:lnTo>
                <a:lnTo>
                  <a:pt x="474" y="251"/>
                </a:lnTo>
                <a:lnTo>
                  <a:pt x="489" y="267"/>
                </a:lnTo>
                <a:lnTo>
                  <a:pt x="497" y="273"/>
                </a:lnTo>
                <a:lnTo>
                  <a:pt x="506" y="280"/>
                </a:lnTo>
                <a:lnTo>
                  <a:pt x="517" y="285"/>
                </a:lnTo>
                <a:lnTo>
                  <a:pt x="527" y="292"/>
                </a:lnTo>
                <a:lnTo>
                  <a:pt x="530" y="307"/>
                </a:lnTo>
                <a:lnTo>
                  <a:pt x="535" y="324"/>
                </a:lnTo>
                <a:lnTo>
                  <a:pt x="558" y="331"/>
                </a:lnTo>
                <a:lnTo>
                  <a:pt x="581" y="336"/>
                </a:lnTo>
                <a:lnTo>
                  <a:pt x="592" y="337"/>
                </a:lnTo>
                <a:lnTo>
                  <a:pt x="604" y="337"/>
                </a:lnTo>
                <a:lnTo>
                  <a:pt x="616" y="338"/>
                </a:lnTo>
                <a:lnTo>
                  <a:pt x="629" y="337"/>
                </a:lnTo>
                <a:lnTo>
                  <a:pt x="629" y="398"/>
                </a:lnTo>
                <a:lnTo>
                  <a:pt x="627" y="445"/>
                </a:lnTo>
                <a:lnTo>
                  <a:pt x="629" y="483"/>
                </a:lnTo>
                <a:lnTo>
                  <a:pt x="629" y="511"/>
                </a:lnTo>
                <a:lnTo>
                  <a:pt x="630" y="536"/>
                </a:lnTo>
                <a:lnTo>
                  <a:pt x="630" y="557"/>
                </a:lnTo>
                <a:lnTo>
                  <a:pt x="631" y="578"/>
                </a:lnTo>
                <a:lnTo>
                  <a:pt x="631" y="601"/>
                </a:lnTo>
                <a:lnTo>
                  <a:pt x="622" y="617"/>
                </a:lnTo>
                <a:lnTo>
                  <a:pt x="608" y="635"/>
                </a:lnTo>
                <a:lnTo>
                  <a:pt x="591" y="654"/>
                </a:lnTo>
                <a:lnTo>
                  <a:pt x="571" y="673"/>
                </a:lnTo>
                <a:lnTo>
                  <a:pt x="551" y="691"/>
                </a:lnTo>
                <a:lnTo>
                  <a:pt x="531" y="707"/>
                </a:lnTo>
                <a:lnTo>
                  <a:pt x="521" y="712"/>
                </a:lnTo>
                <a:lnTo>
                  <a:pt x="512" y="717"/>
                </a:lnTo>
                <a:lnTo>
                  <a:pt x="502" y="721"/>
                </a:lnTo>
                <a:lnTo>
                  <a:pt x="495" y="722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47" name="Freeform 120"/>
          <p:cNvSpPr>
            <a:spLocks/>
          </p:cNvSpPr>
          <p:nvPr/>
        </p:nvSpPr>
        <p:spPr bwMode="auto">
          <a:xfrm>
            <a:off x="2255838" y="3095625"/>
            <a:ext cx="265112" cy="296863"/>
          </a:xfrm>
          <a:custGeom>
            <a:avLst/>
            <a:gdLst>
              <a:gd name="T0" fmla="*/ 2147483647 w 666"/>
              <a:gd name="T1" fmla="*/ 2147483647 h 748"/>
              <a:gd name="T2" fmla="*/ 2147483647 w 666"/>
              <a:gd name="T3" fmla="*/ 2147483647 h 748"/>
              <a:gd name="T4" fmla="*/ 2147483647 w 666"/>
              <a:gd name="T5" fmla="*/ 2147483647 h 748"/>
              <a:gd name="T6" fmla="*/ 2147483647 w 666"/>
              <a:gd name="T7" fmla="*/ 2147483647 h 748"/>
              <a:gd name="T8" fmla="*/ 2147483647 w 666"/>
              <a:gd name="T9" fmla="*/ 2147483647 h 748"/>
              <a:gd name="T10" fmla="*/ 2147483647 w 666"/>
              <a:gd name="T11" fmla="*/ 2147483647 h 748"/>
              <a:gd name="T12" fmla="*/ 2147483647 w 666"/>
              <a:gd name="T13" fmla="*/ 2147483647 h 748"/>
              <a:gd name="T14" fmla="*/ 2147483647 w 666"/>
              <a:gd name="T15" fmla="*/ 2147483647 h 748"/>
              <a:gd name="T16" fmla="*/ 2147483647 w 666"/>
              <a:gd name="T17" fmla="*/ 2147483647 h 748"/>
              <a:gd name="T18" fmla="*/ 2147483647 w 666"/>
              <a:gd name="T19" fmla="*/ 2147483647 h 748"/>
              <a:gd name="T20" fmla="*/ 2147483647 w 666"/>
              <a:gd name="T21" fmla="*/ 2147483647 h 748"/>
              <a:gd name="T22" fmla="*/ 2147483647 w 666"/>
              <a:gd name="T23" fmla="*/ 2147483647 h 748"/>
              <a:gd name="T24" fmla="*/ 2147483647 w 666"/>
              <a:gd name="T25" fmla="*/ 2147483647 h 748"/>
              <a:gd name="T26" fmla="*/ 2147483647 w 666"/>
              <a:gd name="T27" fmla="*/ 2147483647 h 748"/>
              <a:gd name="T28" fmla="*/ 0 w 666"/>
              <a:gd name="T29" fmla="*/ 2147483647 h 748"/>
              <a:gd name="T30" fmla="*/ 2147483647 w 666"/>
              <a:gd name="T31" fmla="*/ 2147483647 h 748"/>
              <a:gd name="T32" fmla="*/ 2147483647 w 666"/>
              <a:gd name="T33" fmla="*/ 2147483647 h 748"/>
              <a:gd name="T34" fmla="*/ 2147483647 w 666"/>
              <a:gd name="T35" fmla="*/ 2147483647 h 748"/>
              <a:gd name="T36" fmla="*/ 2147483647 w 666"/>
              <a:gd name="T37" fmla="*/ 2147483647 h 748"/>
              <a:gd name="T38" fmla="*/ 2147483647 w 666"/>
              <a:gd name="T39" fmla="*/ 2147483647 h 748"/>
              <a:gd name="T40" fmla="*/ 2147483647 w 666"/>
              <a:gd name="T41" fmla="*/ 2147483647 h 748"/>
              <a:gd name="T42" fmla="*/ 2147483647 w 666"/>
              <a:gd name="T43" fmla="*/ 2147483647 h 748"/>
              <a:gd name="T44" fmla="*/ 2147483647 w 666"/>
              <a:gd name="T45" fmla="*/ 2147483647 h 748"/>
              <a:gd name="T46" fmla="*/ 2147483647 w 666"/>
              <a:gd name="T47" fmla="*/ 2147483647 h 748"/>
              <a:gd name="T48" fmla="*/ 2147483647 w 666"/>
              <a:gd name="T49" fmla="*/ 2147483647 h 748"/>
              <a:gd name="T50" fmla="*/ 2147483647 w 666"/>
              <a:gd name="T51" fmla="*/ 2147483647 h 748"/>
              <a:gd name="T52" fmla="*/ 2147483647 w 666"/>
              <a:gd name="T53" fmla="*/ 2147483647 h 748"/>
              <a:gd name="T54" fmla="*/ 2147483647 w 666"/>
              <a:gd name="T55" fmla="*/ 2147483647 h 748"/>
              <a:gd name="T56" fmla="*/ 2147483647 w 666"/>
              <a:gd name="T57" fmla="*/ 2147483647 h 748"/>
              <a:gd name="T58" fmla="*/ 2147483647 w 666"/>
              <a:gd name="T59" fmla="*/ 2147483647 h 748"/>
              <a:gd name="T60" fmla="*/ 2147483647 w 666"/>
              <a:gd name="T61" fmla="*/ 2147483647 h 748"/>
              <a:gd name="T62" fmla="*/ 2147483647 w 666"/>
              <a:gd name="T63" fmla="*/ 2147483647 h 748"/>
              <a:gd name="T64" fmla="*/ 2147483647 w 666"/>
              <a:gd name="T65" fmla="*/ 2147483647 h 748"/>
              <a:gd name="T66" fmla="*/ 2147483647 w 666"/>
              <a:gd name="T67" fmla="*/ 2147483647 h 748"/>
              <a:gd name="T68" fmla="*/ 2147483647 w 666"/>
              <a:gd name="T69" fmla="*/ 2147483647 h 748"/>
              <a:gd name="T70" fmla="*/ 2147483647 w 666"/>
              <a:gd name="T71" fmla="*/ 2147483647 h 748"/>
              <a:gd name="T72" fmla="*/ 2147483647 w 666"/>
              <a:gd name="T73" fmla="*/ 2147483647 h 748"/>
              <a:gd name="T74" fmla="*/ 2147483647 w 666"/>
              <a:gd name="T75" fmla="*/ 2147483647 h 748"/>
              <a:gd name="T76" fmla="*/ 2147483647 w 666"/>
              <a:gd name="T77" fmla="*/ 2147483647 h 748"/>
              <a:gd name="T78" fmla="*/ 2147483647 w 666"/>
              <a:gd name="T79" fmla="*/ 2147483647 h 748"/>
              <a:gd name="T80" fmla="*/ 2147483647 w 666"/>
              <a:gd name="T81" fmla="*/ 2147483647 h 748"/>
              <a:gd name="T82" fmla="*/ 2147483647 w 666"/>
              <a:gd name="T83" fmla="*/ 2147483647 h 748"/>
              <a:gd name="T84" fmla="*/ 2147483647 w 666"/>
              <a:gd name="T85" fmla="*/ 2147483647 h 748"/>
              <a:gd name="T86" fmla="*/ 2147483647 w 666"/>
              <a:gd name="T87" fmla="*/ 2147483647 h 748"/>
              <a:gd name="T88" fmla="*/ 2147483647 w 666"/>
              <a:gd name="T89" fmla="*/ 2147483647 h 748"/>
              <a:gd name="T90" fmla="*/ 2147483647 w 666"/>
              <a:gd name="T91" fmla="*/ 2147483647 h 748"/>
              <a:gd name="T92" fmla="*/ 2147483647 w 666"/>
              <a:gd name="T93" fmla="*/ 2147483647 h 748"/>
              <a:gd name="T94" fmla="*/ 2147483647 w 666"/>
              <a:gd name="T95" fmla="*/ 2147483647 h 748"/>
              <a:gd name="T96" fmla="*/ 2147483647 w 666"/>
              <a:gd name="T97" fmla="*/ 2147483647 h 748"/>
              <a:gd name="T98" fmla="*/ 2147483647 w 666"/>
              <a:gd name="T99" fmla="*/ 2147483647 h 748"/>
              <a:gd name="T100" fmla="*/ 2147483647 w 666"/>
              <a:gd name="T101" fmla="*/ 2147483647 h 748"/>
              <a:gd name="T102" fmla="*/ 2147483647 w 666"/>
              <a:gd name="T103" fmla="*/ 2147483647 h 748"/>
              <a:gd name="T104" fmla="*/ 2147483647 w 666"/>
              <a:gd name="T105" fmla="*/ 2147483647 h 748"/>
              <a:gd name="T106" fmla="*/ 2147483647 w 666"/>
              <a:gd name="T107" fmla="*/ 2147483647 h 748"/>
              <a:gd name="T108" fmla="*/ 2147483647 w 666"/>
              <a:gd name="T109" fmla="*/ 2147483647 h 74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666"/>
              <a:gd name="T166" fmla="*/ 0 h 748"/>
              <a:gd name="T167" fmla="*/ 666 w 666"/>
              <a:gd name="T168" fmla="*/ 748 h 748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666" h="748">
                <a:moveTo>
                  <a:pt x="237" y="748"/>
                </a:moveTo>
                <a:lnTo>
                  <a:pt x="224" y="740"/>
                </a:lnTo>
                <a:lnTo>
                  <a:pt x="216" y="735"/>
                </a:lnTo>
                <a:lnTo>
                  <a:pt x="210" y="728"/>
                </a:lnTo>
                <a:lnTo>
                  <a:pt x="204" y="718"/>
                </a:lnTo>
                <a:lnTo>
                  <a:pt x="233" y="710"/>
                </a:lnTo>
                <a:lnTo>
                  <a:pt x="262" y="705"/>
                </a:lnTo>
                <a:lnTo>
                  <a:pt x="292" y="698"/>
                </a:lnTo>
                <a:lnTo>
                  <a:pt x="322" y="693"/>
                </a:lnTo>
                <a:lnTo>
                  <a:pt x="322" y="681"/>
                </a:lnTo>
                <a:lnTo>
                  <a:pt x="322" y="671"/>
                </a:lnTo>
                <a:lnTo>
                  <a:pt x="322" y="660"/>
                </a:lnTo>
                <a:lnTo>
                  <a:pt x="322" y="650"/>
                </a:lnTo>
                <a:lnTo>
                  <a:pt x="302" y="649"/>
                </a:lnTo>
                <a:lnTo>
                  <a:pt x="290" y="649"/>
                </a:lnTo>
                <a:lnTo>
                  <a:pt x="280" y="650"/>
                </a:lnTo>
                <a:lnTo>
                  <a:pt x="268" y="654"/>
                </a:lnTo>
                <a:lnTo>
                  <a:pt x="270" y="601"/>
                </a:lnTo>
                <a:lnTo>
                  <a:pt x="272" y="572"/>
                </a:lnTo>
                <a:lnTo>
                  <a:pt x="271" y="568"/>
                </a:lnTo>
                <a:lnTo>
                  <a:pt x="268" y="564"/>
                </a:lnTo>
                <a:lnTo>
                  <a:pt x="264" y="562"/>
                </a:lnTo>
                <a:lnTo>
                  <a:pt x="258" y="559"/>
                </a:lnTo>
                <a:lnTo>
                  <a:pt x="240" y="555"/>
                </a:lnTo>
                <a:lnTo>
                  <a:pt x="212" y="552"/>
                </a:lnTo>
                <a:lnTo>
                  <a:pt x="206" y="560"/>
                </a:lnTo>
                <a:lnTo>
                  <a:pt x="202" y="568"/>
                </a:lnTo>
                <a:lnTo>
                  <a:pt x="198" y="575"/>
                </a:lnTo>
                <a:lnTo>
                  <a:pt x="197" y="581"/>
                </a:lnTo>
                <a:lnTo>
                  <a:pt x="194" y="595"/>
                </a:lnTo>
                <a:lnTo>
                  <a:pt x="193" y="614"/>
                </a:lnTo>
                <a:lnTo>
                  <a:pt x="181" y="612"/>
                </a:lnTo>
                <a:lnTo>
                  <a:pt x="169" y="611"/>
                </a:lnTo>
                <a:lnTo>
                  <a:pt x="158" y="610"/>
                </a:lnTo>
                <a:lnTo>
                  <a:pt x="146" y="607"/>
                </a:lnTo>
                <a:lnTo>
                  <a:pt x="141" y="594"/>
                </a:lnTo>
                <a:lnTo>
                  <a:pt x="136" y="581"/>
                </a:lnTo>
                <a:lnTo>
                  <a:pt x="124" y="581"/>
                </a:lnTo>
                <a:lnTo>
                  <a:pt x="112" y="581"/>
                </a:lnTo>
                <a:lnTo>
                  <a:pt x="104" y="586"/>
                </a:lnTo>
                <a:lnTo>
                  <a:pt x="99" y="594"/>
                </a:lnTo>
                <a:lnTo>
                  <a:pt x="74" y="589"/>
                </a:lnTo>
                <a:lnTo>
                  <a:pt x="56" y="582"/>
                </a:lnTo>
                <a:lnTo>
                  <a:pt x="34" y="573"/>
                </a:lnTo>
                <a:lnTo>
                  <a:pt x="0" y="556"/>
                </a:lnTo>
                <a:lnTo>
                  <a:pt x="7" y="539"/>
                </a:lnTo>
                <a:lnTo>
                  <a:pt x="12" y="525"/>
                </a:lnTo>
                <a:lnTo>
                  <a:pt x="30" y="523"/>
                </a:lnTo>
                <a:lnTo>
                  <a:pt x="51" y="521"/>
                </a:lnTo>
                <a:lnTo>
                  <a:pt x="54" y="517"/>
                </a:lnTo>
                <a:lnTo>
                  <a:pt x="55" y="513"/>
                </a:lnTo>
                <a:lnTo>
                  <a:pt x="56" y="506"/>
                </a:lnTo>
                <a:lnTo>
                  <a:pt x="59" y="494"/>
                </a:lnTo>
                <a:lnTo>
                  <a:pt x="63" y="447"/>
                </a:lnTo>
                <a:lnTo>
                  <a:pt x="69" y="357"/>
                </a:lnTo>
                <a:lnTo>
                  <a:pt x="86" y="364"/>
                </a:lnTo>
                <a:lnTo>
                  <a:pt x="102" y="369"/>
                </a:lnTo>
                <a:lnTo>
                  <a:pt x="109" y="370"/>
                </a:lnTo>
                <a:lnTo>
                  <a:pt x="117" y="372"/>
                </a:lnTo>
                <a:lnTo>
                  <a:pt x="126" y="372"/>
                </a:lnTo>
                <a:lnTo>
                  <a:pt x="136" y="372"/>
                </a:lnTo>
                <a:lnTo>
                  <a:pt x="147" y="326"/>
                </a:lnTo>
                <a:lnTo>
                  <a:pt x="159" y="279"/>
                </a:lnTo>
                <a:lnTo>
                  <a:pt x="167" y="257"/>
                </a:lnTo>
                <a:lnTo>
                  <a:pt x="175" y="235"/>
                </a:lnTo>
                <a:lnTo>
                  <a:pt x="184" y="214"/>
                </a:lnTo>
                <a:lnTo>
                  <a:pt x="197" y="195"/>
                </a:lnTo>
                <a:lnTo>
                  <a:pt x="212" y="195"/>
                </a:lnTo>
                <a:lnTo>
                  <a:pt x="224" y="196"/>
                </a:lnTo>
                <a:lnTo>
                  <a:pt x="236" y="199"/>
                </a:lnTo>
                <a:lnTo>
                  <a:pt x="250" y="206"/>
                </a:lnTo>
                <a:lnTo>
                  <a:pt x="270" y="205"/>
                </a:lnTo>
                <a:lnTo>
                  <a:pt x="286" y="201"/>
                </a:lnTo>
                <a:lnTo>
                  <a:pt x="302" y="197"/>
                </a:lnTo>
                <a:lnTo>
                  <a:pt x="316" y="189"/>
                </a:lnTo>
                <a:lnTo>
                  <a:pt x="328" y="182"/>
                </a:lnTo>
                <a:lnTo>
                  <a:pt x="338" y="173"/>
                </a:lnTo>
                <a:lnTo>
                  <a:pt x="349" y="161"/>
                </a:lnTo>
                <a:lnTo>
                  <a:pt x="357" y="149"/>
                </a:lnTo>
                <a:lnTo>
                  <a:pt x="363" y="136"/>
                </a:lnTo>
                <a:lnTo>
                  <a:pt x="370" y="123"/>
                </a:lnTo>
                <a:lnTo>
                  <a:pt x="374" y="109"/>
                </a:lnTo>
                <a:lnTo>
                  <a:pt x="379" y="93"/>
                </a:lnTo>
                <a:lnTo>
                  <a:pt x="384" y="63"/>
                </a:lnTo>
                <a:lnTo>
                  <a:pt x="389" y="32"/>
                </a:lnTo>
                <a:lnTo>
                  <a:pt x="409" y="22"/>
                </a:lnTo>
                <a:lnTo>
                  <a:pt x="428" y="11"/>
                </a:lnTo>
                <a:lnTo>
                  <a:pt x="439" y="7"/>
                </a:lnTo>
                <a:lnTo>
                  <a:pt x="449" y="3"/>
                </a:lnTo>
                <a:lnTo>
                  <a:pt x="461" y="1"/>
                </a:lnTo>
                <a:lnTo>
                  <a:pt x="474" y="0"/>
                </a:lnTo>
                <a:lnTo>
                  <a:pt x="491" y="16"/>
                </a:lnTo>
                <a:lnTo>
                  <a:pt x="506" y="33"/>
                </a:lnTo>
                <a:lnTo>
                  <a:pt x="513" y="42"/>
                </a:lnTo>
                <a:lnTo>
                  <a:pt x="518" y="53"/>
                </a:lnTo>
                <a:lnTo>
                  <a:pt x="522" y="63"/>
                </a:lnTo>
                <a:lnTo>
                  <a:pt x="526" y="75"/>
                </a:lnTo>
                <a:lnTo>
                  <a:pt x="543" y="75"/>
                </a:lnTo>
                <a:lnTo>
                  <a:pt x="561" y="76"/>
                </a:lnTo>
                <a:lnTo>
                  <a:pt x="578" y="78"/>
                </a:lnTo>
                <a:lnTo>
                  <a:pt x="596" y="79"/>
                </a:lnTo>
                <a:lnTo>
                  <a:pt x="604" y="92"/>
                </a:lnTo>
                <a:lnTo>
                  <a:pt x="610" y="101"/>
                </a:lnTo>
                <a:lnTo>
                  <a:pt x="617" y="109"/>
                </a:lnTo>
                <a:lnTo>
                  <a:pt x="625" y="115"/>
                </a:lnTo>
                <a:lnTo>
                  <a:pt x="643" y="126"/>
                </a:lnTo>
                <a:lnTo>
                  <a:pt x="666" y="139"/>
                </a:lnTo>
                <a:lnTo>
                  <a:pt x="665" y="149"/>
                </a:lnTo>
                <a:lnTo>
                  <a:pt x="664" y="160"/>
                </a:lnTo>
                <a:lnTo>
                  <a:pt x="661" y="170"/>
                </a:lnTo>
                <a:lnTo>
                  <a:pt x="657" y="179"/>
                </a:lnTo>
                <a:lnTo>
                  <a:pt x="648" y="197"/>
                </a:lnTo>
                <a:lnTo>
                  <a:pt x="636" y="216"/>
                </a:lnTo>
                <a:lnTo>
                  <a:pt x="639" y="236"/>
                </a:lnTo>
                <a:lnTo>
                  <a:pt x="640" y="257"/>
                </a:lnTo>
                <a:lnTo>
                  <a:pt x="642" y="278"/>
                </a:lnTo>
                <a:lnTo>
                  <a:pt x="643" y="300"/>
                </a:lnTo>
                <a:lnTo>
                  <a:pt x="629" y="316"/>
                </a:lnTo>
                <a:lnTo>
                  <a:pt x="614" y="331"/>
                </a:lnTo>
                <a:lnTo>
                  <a:pt x="600" y="348"/>
                </a:lnTo>
                <a:lnTo>
                  <a:pt x="586" y="364"/>
                </a:lnTo>
                <a:lnTo>
                  <a:pt x="582" y="382"/>
                </a:lnTo>
                <a:lnTo>
                  <a:pt x="577" y="404"/>
                </a:lnTo>
                <a:lnTo>
                  <a:pt x="570" y="428"/>
                </a:lnTo>
                <a:lnTo>
                  <a:pt x="562" y="451"/>
                </a:lnTo>
                <a:lnTo>
                  <a:pt x="553" y="476"/>
                </a:lnTo>
                <a:lnTo>
                  <a:pt x="544" y="498"/>
                </a:lnTo>
                <a:lnTo>
                  <a:pt x="535" y="519"/>
                </a:lnTo>
                <a:lnTo>
                  <a:pt x="526" y="537"/>
                </a:lnTo>
                <a:lnTo>
                  <a:pt x="510" y="537"/>
                </a:lnTo>
                <a:lnTo>
                  <a:pt x="497" y="536"/>
                </a:lnTo>
                <a:lnTo>
                  <a:pt x="485" y="536"/>
                </a:lnTo>
                <a:lnTo>
                  <a:pt x="476" y="538"/>
                </a:lnTo>
                <a:lnTo>
                  <a:pt x="472" y="539"/>
                </a:lnTo>
                <a:lnTo>
                  <a:pt x="469" y="542"/>
                </a:lnTo>
                <a:lnTo>
                  <a:pt x="466" y="545"/>
                </a:lnTo>
                <a:lnTo>
                  <a:pt x="462" y="549"/>
                </a:lnTo>
                <a:lnTo>
                  <a:pt x="456" y="559"/>
                </a:lnTo>
                <a:lnTo>
                  <a:pt x="449" y="575"/>
                </a:lnTo>
                <a:lnTo>
                  <a:pt x="433" y="569"/>
                </a:lnTo>
                <a:lnTo>
                  <a:pt x="424" y="567"/>
                </a:lnTo>
                <a:lnTo>
                  <a:pt x="417" y="567"/>
                </a:lnTo>
                <a:lnTo>
                  <a:pt x="406" y="567"/>
                </a:lnTo>
                <a:lnTo>
                  <a:pt x="406" y="602"/>
                </a:lnTo>
                <a:lnTo>
                  <a:pt x="409" y="633"/>
                </a:lnTo>
                <a:lnTo>
                  <a:pt x="411" y="647"/>
                </a:lnTo>
                <a:lnTo>
                  <a:pt x="414" y="663"/>
                </a:lnTo>
                <a:lnTo>
                  <a:pt x="418" y="680"/>
                </a:lnTo>
                <a:lnTo>
                  <a:pt x="423" y="698"/>
                </a:lnTo>
                <a:lnTo>
                  <a:pt x="417" y="701"/>
                </a:lnTo>
                <a:lnTo>
                  <a:pt x="410" y="703"/>
                </a:lnTo>
                <a:lnTo>
                  <a:pt x="410" y="710"/>
                </a:lnTo>
                <a:lnTo>
                  <a:pt x="410" y="718"/>
                </a:lnTo>
                <a:lnTo>
                  <a:pt x="383" y="724"/>
                </a:lnTo>
                <a:lnTo>
                  <a:pt x="359" y="732"/>
                </a:lnTo>
                <a:lnTo>
                  <a:pt x="336" y="738"/>
                </a:lnTo>
                <a:lnTo>
                  <a:pt x="310" y="744"/>
                </a:lnTo>
                <a:lnTo>
                  <a:pt x="301" y="741"/>
                </a:lnTo>
                <a:lnTo>
                  <a:pt x="290" y="740"/>
                </a:lnTo>
                <a:lnTo>
                  <a:pt x="281" y="738"/>
                </a:lnTo>
                <a:lnTo>
                  <a:pt x="273" y="738"/>
                </a:lnTo>
                <a:lnTo>
                  <a:pt x="264" y="740"/>
                </a:lnTo>
                <a:lnTo>
                  <a:pt x="255" y="742"/>
                </a:lnTo>
                <a:lnTo>
                  <a:pt x="246" y="745"/>
                </a:lnTo>
                <a:lnTo>
                  <a:pt x="237" y="748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48" name="Freeform 121"/>
          <p:cNvSpPr>
            <a:spLocks/>
          </p:cNvSpPr>
          <p:nvPr/>
        </p:nvSpPr>
        <p:spPr bwMode="auto">
          <a:xfrm>
            <a:off x="1717675" y="2889250"/>
            <a:ext cx="479425" cy="290513"/>
          </a:xfrm>
          <a:custGeom>
            <a:avLst/>
            <a:gdLst>
              <a:gd name="T0" fmla="*/ 2147483647 w 1207"/>
              <a:gd name="T1" fmla="*/ 2147483647 h 732"/>
              <a:gd name="T2" fmla="*/ 2147483647 w 1207"/>
              <a:gd name="T3" fmla="*/ 2147483647 h 732"/>
              <a:gd name="T4" fmla="*/ 2147483647 w 1207"/>
              <a:gd name="T5" fmla="*/ 2147483647 h 732"/>
              <a:gd name="T6" fmla="*/ 2147483647 w 1207"/>
              <a:gd name="T7" fmla="*/ 2147483647 h 732"/>
              <a:gd name="T8" fmla="*/ 2147483647 w 1207"/>
              <a:gd name="T9" fmla="*/ 2147483647 h 732"/>
              <a:gd name="T10" fmla="*/ 2147483647 w 1207"/>
              <a:gd name="T11" fmla="*/ 2147483647 h 732"/>
              <a:gd name="T12" fmla="*/ 2147483647 w 1207"/>
              <a:gd name="T13" fmla="*/ 2147483647 h 732"/>
              <a:gd name="T14" fmla="*/ 2147483647 w 1207"/>
              <a:gd name="T15" fmla="*/ 2147483647 h 732"/>
              <a:gd name="T16" fmla="*/ 0 w 1207"/>
              <a:gd name="T17" fmla="*/ 2147483647 h 732"/>
              <a:gd name="T18" fmla="*/ 2147483647 w 1207"/>
              <a:gd name="T19" fmla="*/ 2147483647 h 732"/>
              <a:gd name="T20" fmla="*/ 2147483647 w 1207"/>
              <a:gd name="T21" fmla="*/ 2147483647 h 732"/>
              <a:gd name="T22" fmla="*/ 2147483647 w 1207"/>
              <a:gd name="T23" fmla="*/ 2147483647 h 732"/>
              <a:gd name="T24" fmla="*/ 2147483647 w 1207"/>
              <a:gd name="T25" fmla="*/ 2147483647 h 732"/>
              <a:gd name="T26" fmla="*/ 2147483647 w 1207"/>
              <a:gd name="T27" fmla="*/ 2147483647 h 732"/>
              <a:gd name="T28" fmla="*/ 2147483647 w 1207"/>
              <a:gd name="T29" fmla="*/ 2147483647 h 732"/>
              <a:gd name="T30" fmla="*/ 2147483647 w 1207"/>
              <a:gd name="T31" fmla="*/ 2147483647 h 732"/>
              <a:gd name="T32" fmla="*/ 2147483647 w 1207"/>
              <a:gd name="T33" fmla="*/ 2147483647 h 732"/>
              <a:gd name="T34" fmla="*/ 2147483647 w 1207"/>
              <a:gd name="T35" fmla="*/ 2147483647 h 732"/>
              <a:gd name="T36" fmla="*/ 2147483647 w 1207"/>
              <a:gd name="T37" fmla="*/ 2147483647 h 732"/>
              <a:gd name="T38" fmla="*/ 2147483647 w 1207"/>
              <a:gd name="T39" fmla="*/ 2147483647 h 732"/>
              <a:gd name="T40" fmla="*/ 2147483647 w 1207"/>
              <a:gd name="T41" fmla="*/ 2147483647 h 732"/>
              <a:gd name="T42" fmla="*/ 2147483647 w 1207"/>
              <a:gd name="T43" fmla="*/ 2147483647 h 732"/>
              <a:gd name="T44" fmla="*/ 2147483647 w 1207"/>
              <a:gd name="T45" fmla="*/ 2147483647 h 732"/>
              <a:gd name="T46" fmla="*/ 2147483647 w 1207"/>
              <a:gd name="T47" fmla="*/ 2147483647 h 732"/>
              <a:gd name="T48" fmla="*/ 2147483647 w 1207"/>
              <a:gd name="T49" fmla="*/ 0 h 732"/>
              <a:gd name="T50" fmla="*/ 2147483647 w 1207"/>
              <a:gd name="T51" fmla="*/ 2147483647 h 732"/>
              <a:gd name="T52" fmla="*/ 2147483647 w 1207"/>
              <a:gd name="T53" fmla="*/ 2147483647 h 732"/>
              <a:gd name="T54" fmla="*/ 2147483647 w 1207"/>
              <a:gd name="T55" fmla="*/ 2147483647 h 732"/>
              <a:gd name="T56" fmla="*/ 2147483647 w 1207"/>
              <a:gd name="T57" fmla="*/ 2147483647 h 732"/>
              <a:gd name="T58" fmla="*/ 2147483647 w 1207"/>
              <a:gd name="T59" fmla="*/ 2147483647 h 732"/>
              <a:gd name="T60" fmla="*/ 2147483647 w 1207"/>
              <a:gd name="T61" fmla="*/ 2147483647 h 732"/>
              <a:gd name="T62" fmla="*/ 2147483647 w 1207"/>
              <a:gd name="T63" fmla="*/ 2147483647 h 732"/>
              <a:gd name="T64" fmla="*/ 2147483647 w 1207"/>
              <a:gd name="T65" fmla="*/ 2147483647 h 732"/>
              <a:gd name="T66" fmla="*/ 2147483647 w 1207"/>
              <a:gd name="T67" fmla="*/ 2147483647 h 732"/>
              <a:gd name="T68" fmla="*/ 2147483647 w 1207"/>
              <a:gd name="T69" fmla="*/ 2147483647 h 732"/>
              <a:gd name="T70" fmla="*/ 2147483647 w 1207"/>
              <a:gd name="T71" fmla="*/ 2147483647 h 732"/>
              <a:gd name="T72" fmla="*/ 2147483647 w 1207"/>
              <a:gd name="T73" fmla="*/ 2147483647 h 732"/>
              <a:gd name="T74" fmla="*/ 2147483647 w 1207"/>
              <a:gd name="T75" fmla="*/ 2147483647 h 732"/>
              <a:gd name="T76" fmla="*/ 2147483647 w 1207"/>
              <a:gd name="T77" fmla="*/ 2147483647 h 732"/>
              <a:gd name="T78" fmla="*/ 2147483647 w 1207"/>
              <a:gd name="T79" fmla="*/ 2147483647 h 732"/>
              <a:gd name="T80" fmla="*/ 2147483647 w 1207"/>
              <a:gd name="T81" fmla="*/ 2147483647 h 732"/>
              <a:gd name="T82" fmla="*/ 2147483647 w 1207"/>
              <a:gd name="T83" fmla="*/ 2147483647 h 732"/>
              <a:gd name="T84" fmla="*/ 2147483647 w 1207"/>
              <a:gd name="T85" fmla="*/ 2147483647 h 732"/>
              <a:gd name="T86" fmla="*/ 2147483647 w 1207"/>
              <a:gd name="T87" fmla="*/ 2147483647 h 732"/>
              <a:gd name="T88" fmla="*/ 2147483647 w 1207"/>
              <a:gd name="T89" fmla="*/ 2147483647 h 732"/>
              <a:gd name="T90" fmla="*/ 2147483647 w 1207"/>
              <a:gd name="T91" fmla="*/ 2147483647 h 732"/>
              <a:gd name="T92" fmla="*/ 2147483647 w 1207"/>
              <a:gd name="T93" fmla="*/ 2147483647 h 732"/>
              <a:gd name="T94" fmla="*/ 2147483647 w 1207"/>
              <a:gd name="T95" fmla="*/ 2147483647 h 732"/>
              <a:gd name="T96" fmla="*/ 2147483647 w 1207"/>
              <a:gd name="T97" fmla="*/ 2147483647 h 732"/>
              <a:gd name="T98" fmla="*/ 2147483647 w 1207"/>
              <a:gd name="T99" fmla="*/ 2147483647 h 732"/>
              <a:gd name="T100" fmla="*/ 2147483647 w 1207"/>
              <a:gd name="T101" fmla="*/ 2147483647 h 732"/>
              <a:gd name="T102" fmla="*/ 2147483647 w 1207"/>
              <a:gd name="T103" fmla="*/ 2147483647 h 732"/>
              <a:gd name="T104" fmla="*/ 2147483647 w 1207"/>
              <a:gd name="T105" fmla="*/ 2147483647 h 732"/>
              <a:gd name="T106" fmla="*/ 2147483647 w 1207"/>
              <a:gd name="T107" fmla="*/ 2147483647 h 732"/>
              <a:gd name="T108" fmla="*/ 2147483647 w 1207"/>
              <a:gd name="T109" fmla="*/ 2147483647 h 732"/>
              <a:gd name="T110" fmla="*/ 2147483647 w 1207"/>
              <a:gd name="T111" fmla="*/ 2147483647 h 732"/>
              <a:gd name="T112" fmla="*/ 2147483647 w 1207"/>
              <a:gd name="T113" fmla="*/ 2147483647 h 732"/>
              <a:gd name="T114" fmla="*/ 2147483647 w 1207"/>
              <a:gd name="T115" fmla="*/ 2147483647 h 732"/>
              <a:gd name="T116" fmla="*/ 2147483647 w 1207"/>
              <a:gd name="T117" fmla="*/ 2147483647 h 73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207"/>
              <a:gd name="T178" fmla="*/ 0 h 732"/>
              <a:gd name="T179" fmla="*/ 1207 w 1207"/>
              <a:gd name="T180" fmla="*/ 732 h 732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207" h="732">
                <a:moveTo>
                  <a:pt x="252" y="732"/>
                </a:moveTo>
                <a:lnTo>
                  <a:pt x="243" y="718"/>
                </a:lnTo>
                <a:lnTo>
                  <a:pt x="234" y="703"/>
                </a:lnTo>
                <a:lnTo>
                  <a:pt x="226" y="689"/>
                </a:lnTo>
                <a:lnTo>
                  <a:pt x="217" y="675"/>
                </a:lnTo>
                <a:lnTo>
                  <a:pt x="216" y="644"/>
                </a:lnTo>
                <a:lnTo>
                  <a:pt x="213" y="616"/>
                </a:lnTo>
                <a:lnTo>
                  <a:pt x="210" y="603"/>
                </a:lnTo>
                <a:lnTo>
                  <a:pt x="208" y="592"/>
                </a:lnTo>
                <a:lnTo>
                  <a:pt x="204" y="578"/>
                </a:lnTo>
                <a:lnTo>
                  <a:pt x="200" y="568"/>
                </a:lnTo>
                <a:lnTo>
                  <a:pt x="196" y="556"/>
                </a:lnTo>
                <a:lnTo>
                  <a:pt x="191" y="545"/>
                </a:lnTo>
                <a:lnTo>
                  <a:pt x="184" y="534"/>
                </a:lnTo>
                <a:lnTo>
                  <a:pt x="178" y="523"/>
                </a:lnTo>
                <a:lnTo>
                  <a:pt x="162" y="502"/>
                </a:lnTo>
                <a:lnTo>
                  <a:pt x="144" y="478"/>
                </a:lnTo>
                <a:lnTo>
                  <a:pt x="119" y="480"/>
                </a:lnTo>
                <a:lnTo>
                  <a:pt x="101" y="481"/>
                </a:lnTo>
                <a:lnTo>
                  <a:pt x="87" y="482"/>
                </a:lnTo>
                <a:lnTo>
                  <a:pt x="75" y="481"/>
                </a:lnTo>
                <a:lnTo>
                  <a:pt x="56" y="455"/>
                </a:lnTo>
                <a:lnTo>
                  <a:pt x="44" y="441"/>
                </a:lnTo>
                <a:lnTo>
                  <a:pt x="35" y="431"/>
                </a:lnTo>
                <a:lnTo>
                  <a:pt x="24" y="422"/>
                </a:lnTo>
                <a:lnTo>
                  <a:pt x="39" y="417"/>
                </a:lnTo>
                <a:lnTo>
                  <a:pt x="53" y="412"/>
                </a:lnTo>
                <a:lnTo>
                  <a:pt x="52" y="396"/>
                </a:lnTo>
                <a:lnTo>
                  <a:pt x="50" y="381"/>
                </a:lnTo>
                <a:lnTo>
                  <a:pt x="49" y="366"/>
                </a:lnTo>
                <a:lnTo>
                  <a:pt x="48" y="352"/>
                </a:lnTo>
                <a:lnTo>
                  <a:pt x="35" y="346"/>
                </a:lnTo>
                <a:lnTo>
                  <a:pt x="23" y="340"/>
                </a:lnTo>
                <a:lnTo>
                  <a:pt x="11" y="334"/>
                </a:lnTo>
                <a:lnTo>
                  <a:pt x="0" y="329"/>
                </a:lnTo>
                <a:lnTo>
                  <a:pt x="0" y="316"/>
                </a:lnTo>
                <a:lnTo>
                  <a:pt x="0" y="303"/>
                </a:lnTo>
                <a:lnTo>
                  <a:pt x="0" y="290"/>
                </a:lnTo>
                <a:lnTo>
                  <a:pt x="1" y="277"/>
                </a:lnTo>
                <a:lnTo>
                  <a:pt x="32" y="271"/>
                </a:lnTo>
                <a:lnTo>
                  <a:pt x="50" y="266"/>
                </a:lnTo>
                <a:lnTo>
                  <a:pt x="66" y="261"/>
                </a:lnTo>
                <a:lnTo>
                  <a:pt x="85" y="253"/>
                </a:lnTo>
                <a:lnTo>
                  <a:pt x="98" y="240"/>
                </a:lnTo>
                <a:lnTo>
                  <a:pt x="110" y="230"/>
                </a:lnTo>
                <a:lnTo>
                  <a:pt x="123" y="221"/>
                </a:lnTo>
                <a:lnTo>
                  <a:pt x="137" y="213"/>
                </a:lnTo>
                <a:lnTo>
                  <a:pt x="150" y="208"/>
                </a:lnTo>
                <a:lnTo>
                  <a:pt x="165" y="203"/>
                </a:lnTo>
                <a:lnTo>
                  <a:pt x="179" y="200"/>
                </a:lnTo>
                <a:lnTo>
                  <a:pt x="195" y="197"/>
                </a:lnTo>
                <a:lnTo>
                  <a:pt x="225" y="195"/>
                </a:lnTo>
                <a:lnTo>
                  <a:pt x="256" y="193"/>
                </a:lnTo>
                <a:lnTo>
                  <a:pt x="288" y="191"/>
                </a:lnTo>
                <a:lnTo>
                  <a:pt x="322" y="188"/>
                </a:lnTo>
                <a:lnTo>
                  <a:pt x="324" y="169"/>
                </a:lnTo>
                <a:lnTo>
                  <a:pt x="324" y="153"/>
                </a:lnTo>
                <a:lnTo>
                  <a:pt x="326" y="141"/>
                </a:lnTo>
                <a:lnTo>
                  <a:pt x="329" y="132"/>
                </a:lnTo>
                <a:lnTo>
                  <a:pt x="331" y="126"/>
                </a:lnTo>
                <a:lnTo>
                  <a:pt x="337" y="122"/>
                </a:lnTo>
                <a:lnTo>
                  <a:pt x="340" y="118"/>
                </a:lnTo>
                <a:lnTo>
                  <a:pt x="347" y="117"/>
                </a:lnTo>
                <a:lnTo>
                  <a:pt x="360" y="114"/>
                </a:lnTo>
                <a:lnTo>
                  <a:pt x="376" y="110"/>
                </a:lnTo>
                <a:lnTo>
                  <a:pt x="385" y="106"/>
                </a:lnTo>
                <a:lnTo>
                  <a:pt x="394" y="101"/>
                </a:lnTo>
                <a:lnTo>
                  <a:pt x="404" y="95"/>
                </a:lnTo>
                <a:lnTo>
                  <a:pt x="415" y="84"/>
                </a:lnTo>
                <a:lnTo>
                  <a:pt x="416" y="71"/>
                </a:lnTo>
                <a:lnTo>
                  <a:pt x="418" y="59"/>
                </a:lnTo>
                <a:lnTo>
                  <a:pt x="438" y="62"/>
                </a:lnTo>
                <a:lnTo>
                  <a:pt x="456" y="66"/>
                </a:lnTo>
                <a:lnTo>
                  <a:pt x="473" y="71"/>
                </a:lnTo>
                <a:lnTo>
                  <a:pt x="490" y="76"/>
                </a:lnTo>
                <a:lnTo>
                  <a:pt x="508" y="80"/>
                </a:lnTo>
                <a:lnTo>
                  <a:pt x="526" y="84"/>
                </a:lnTo>
                <a:lnTo>
                  <a:pt x="546" y="87"/>
                </a:lnTo>
                <a:lnTo>
                  <a:pt x="567" y="87"/>
                </a:lnTo>
                <a:lnTo>
                  <a:pt x="579" y="70"/>
                </a:lnTo>
                <a:lnTo>
                  <a:pt x="588" y="57"/>
                </a:lnTo>
                <a:lnTo>
                  <a:pt x="597" y="46"/>
                </a:lnTo>
                <a:lnTo>
                  <a:pt x="606" y="40"/>
                </a:lnTo>
                <a:lnTo>
                  <a:pt x="616" y="33"/>
                </a:lnTo>
                <a:lnTo>
                  <a:pt x="629" y="28"/>
                </a:lnTo>
                <a:lnTo>
                  <a:pt x="645" y="23"/>
                </a:lnTo>
                <a:lnTo>
                  <a:pt x="664" y="18"/>
                </a:lnTo>
                <a:lnTo>
                  <a:pt x="675" y="24"/>
                </a:lnTo>
                <a:lnTo>
                  <a:pt x="684" y="30"/>
                </a:lnTo>
                <a:lnTo>
                  <a:pt x="693" y="35"/>
                </a:lnTo>
                <a:lnTo>
                  <a:pt x="703" y="39"/>
                </a:lnTo>
                <a:lnTo>
                  <a:pt x="723" y="44"/>
                </a:lnTo>
                <a:lnTo>
                  <a:pt x="744" y="48"/>
                </a:lnTo>
                <a:lnTo>
                  <a:pt x="785" y="50"/>
                </a:lnTo>
                <a:lnTo>
                  <a:pt x="828" y="50"/>
                </a:lnTo>
                <a:lnTo>
                  <a:pt x="853" y="31"/>
                </a:lnTo>
                <a:lnTo>
                  <a:pt x="876" y="14"/>
                </a:lnTo>
                <a:lnTo>
                  <a:pt x="889" y="6"/>
                </a:lnTo>
                <a:lnTo>
                  <a:pt x="904" y="2"/>
                </a:lnTo>
                <a:lnTo>
                  <a:pt x="910" y="0"/>
                </a:lnTo>
                <a:lnTo>
                  <a:pt x="918" y="0"/>
                </a:lnTo>
                <a:lnTo>
                  <a:pt x="926" y="0"/>
                </a:lnTo>
                <a:lnTo>
                  <a:pt x="934" y="0"/>
                </a:lnTo>
                <a:lnTo>
                  <a:pt x="939" y="7"/>
                </a:lnTo>
                <a:lnTo>
                  <a:pt x="941" y="15"/>
                </a:lnTo>
                <a:lnTo>
                  <a:pt x="943" y="23"/>
                </a:lnTo>
                <a:lnTo>
                  <a:pt x="944" y="31"/>
                </a:lnTo>
                <a:lnTo>
                  <a:pt x="943" y="48"/>
                </a:lnTo>
                <a:lnTo>
                  <a:pt x="940" y="65"/>
                </a:lnTo>
                <a:lnTo>
                  <a:pt x="944" y="71"/>
                </a:lnTo>
                <a:lnTo>
                  <a:pt x="951" y="76"/>
                </a:lnTo>
                <a:lnTo>
                  <a:pt x="957" y="80"/>
                </a:lnTo>
                <a:lnTo>
                  <a:pt x="966" y="84"/>
                </a:lnTo>
                <a:lnTo>
                  <a:pt x="984" y="91"/>
                </a:lnTo>
                <a:lnTo>
                  <a:pt x="1005" y="95"/>
                </a:lnTo>
                <a:lnTo>
                  <a:pt x="1048" y="100"/>
                </a:lnTo>
                <a:lnTo>
                  <a:pt x="1086" y="104"/>
                </a:lnTo>
                <a:lnTo>
                  <a:pt x="1092" y="117"/>
                </a:lnTo>
                <a:lnTo>
                  <a:pt x="1099" y="130"/>
                </a:lnTo>
                <a:lnTo>
                  <a:pt x="1107" y="140"/>
                </a:lnTo>
                <a:lnTo>
                  <a:pt x="1116" y="150"/>
                </a:lnTo>
                <a:lnTo>
                  <a:pt x="1134" y="169"/>
                </a:lnTo>
                <a:lnTo>
                  <a:pt x="1154" y="186"/>
                </a:lnTo>
                <a:lnTo>
                  <a:pt x="1163" y="193"/>
                </a:lnTo>
                <a:lnTo>
                  <a:pt x="1172" y="203"/>
                </a:lnTo>
                <a:lnTo>
                  <a:pt x="1180" y="213"/>
                </a:lnTo>
                <a:lnTo>
                  <a:pt x="1187" y="223"/>
                </a:lnTo>
                <a:lnTo>
                  <a:pt x="1194" y="235"/>
                </a:lnTo>
                <a:lnTo>
                  <a:pt x="1200" y="247"/>
                </a:lnTo>
                <a:lnTo>
                  <a:pt x="1204" y="261"/>
                </a:lnTo>
                <a:lnTo>
                  <a:pt x="1207" y="277"/>
                </a:lnTo>
                <a:lnTo>
                  <a:pt x="1194" y="281"/>
                </a:lnTo>
                <a:lnTo>
                  <a:pt x="1182" y="284"/>
                </a:lnTo>
                <a:lnTo>
                  <a:pt x="1172" y="290"/>
                </a:lnTo>
                <a:lnTo>
                  <a:pt x="1163" y="295"/>
                </a:lnTo>
                <a:lnTo>
                  <a:pt x="1147" y="304"/>
                </a:lnTo>
                <a:lnTo>
                  <a:pt x="1134" y="313"/>
                </a:lnTo>
                <a:lnTo>
                  <a:pt x="1128" y="316"/>
                </a:lnTo>
                <a:lnTo>
                  <a:pt x="1121" y="317"/>
                </a:lnTo>
                <a:lnTo>
                  <a:pt x="1113" y="317"/>
                </a:lnTo>
                <a:lnTo>
                  <a:pt x="1105" y="316"/>
                </a:lnTo>
                <a:lnTo>
                  <a:pt x="1096" y="312"/>
                </a:lnTo>
                <a:lnTo>
                  <a:pt x="1086" y="307"/>
                </a:lnTo>
                <a:lnTo>
                  <a:pt x="1073" y="298"/>
                </a:lnTo>
                <a:lnTo>
                  <a:pt x="1059" y="286"/>
                </a:lnTo>
                <a:lnTo>
                  <a:pt x="1036" y="287"/>
                </a:lnTo>
                <a:lnTo>
                  <a:pt x="1018" y="287"/>
                </a:lnTo>
                <a:lnTo>
                  <a:pt x="1012" y="288"/>
                </a:lnTo>
                <a:lnTo>
                  <a:pt x="1005" y="290"/>
                </a:lnTo>
                <a:lnTo>
                  <a:pt x="999" y="291"/>
                </a:lnTo>
                <a:lnTo>
                  <a:pt x="994" y="294"/>
                </a:lnTo>
                <a:lnTo>
                  <a:pt x="990" y="298"/>
                </a:lnTo>
                <a:lnTo>
                  <a:pt x="984" y="301"/>
                </a:lnTo>
                <a:lnTo>
                  <a:pt x="981" y="307"/>
                </a:lnTo>
                <a:lnTo>
                  <a:pt x="978" y="312"/>
                </a:lnTo>
                <a:lnTo>
                  <a:pt x="970" y="329"/>
                </a:lnTo>
                <a:lnTo>
                  <a:pt x="964" y="350"/>
                </a:lnTo>
                <a:lnTo>
                  <a:pt x="953" y="356"/>
                </a:lnTo>
                <a:lnTo>
                  <a:pt x="943" y="360"/>
                </a:lnTo>
                <a:lnTo>
                  <a:pt x="934" y="363"/>
                </a:lnTo>
                <a:lnTo>
                  <a:pt x="923" y="363"/>
                </a:lnTo>
                <a:lnTo>
                  <a:pt x="913" y="363"/>
                </a:lnTo>
                <a:lnTo>
                  <a:pt x="902" y="361"/>
                </a:lnTo>
                <a:lnTo>
                  <a:pt x="893" y="359"/>
                </a:lnTo>
                <a:lnTo>
                  <a:pt x="883" y="356"/>
                </a:lnTo>
                <a:lnTo>
                  <a:pt x="862" y="350"/>
                </a:lnTo>
                <a:lnTo>
                  <a:pt x="840" y="342"/>
                </a:lnTo>
                <a:lnTo>
                  <a:pt x="819" y="335"/>
                </a:lnTo>
                <a:lnTo>
                  <a:pt x="797" y="330"/>
                </a:lnTo>
                <a:lnTo>
                  <a:pt x="787" y="337"/>
                </a:lnTo>
                <a:lnTo>
                  <a:pt x="778" y="342"/>
                </a:lnTo>
                <a:lnTo>
                  <a:pt x="767" y="346"/>
                </a:lnTo>
                <a:lnTo>
                  <a:pt x="757" y="348"/>
                </a:lnTo>
                <a:lnTo>
                  <a:pt x="736" y="351"/>
                </a:lnTo>
                <a:lnTo>
                  <a:pt x="711" y="352"/>
                </a:lnTo>
                <a:lnTo>
                  <a:pt x="706" y="366"/>
                </a:lnTo>
                <a:lnTo>
                  <a:pt x="702" y="381"/>
                </a:lnTo>
                <a:lnTo>
                  <a:pt x="701" y="395"/>
                </a:lnTo>
                <a:lnTo>
                  <a:pt x="700" y="411"/>
                </a:lnTo>
                <a:lnTo>
                  <a:pt x="697" y="425"/>
                </a:lnTo>
                <a:lnTo>
                  <a:pt x="694" y="441"/>
                </a:lnTo>
                <a:lnTo>
                  <a:pt x="692" y="447"/>
                </a:lnTo>
                <a:lnTo>
                  <a:pt x="688" y="455"/>
                </a:lnTo>
                <a:lnTo>
                  <a:pt x="684" y="461"/>
                </a:lnTo>
                <a:lnTo>
                  <a:pt x="679" y="469"/>
                </a:lnTo>
                <a:lnTo>
                  <a:pt x="681" y="485"/>
                </a:lnTo>
                <a:lnTo>
                  <a:pt x="684" y="502"/>
                </a:lnTo>
                <a:lnTo>
                  <a:pt x="686" y="519"/>
                </a:lnTo>
                <a:lnTo>
                  <a:pt x="690" y="537"/>
                </a:lnTo>
                <a:lnTo>
                  <a:pt x="681" y="545"/>
                </a:lnTo>
                <a:lnTo>
                  <a:pt x="671" y="551"/>
                </a:lnTo>
                <a:lnTo>
                  <a:pt x="660" y="558"/>
                </a:lnTo>
                <a:lnTo>
                  <a:pt x="649" y="564"/>
                </a:lnTo>
                <a:lnTo>
                  <a:pt x="625" y="573"/>
                </a:lnTo>
                <a:lnTo>
                  <a:pt x="603" y="582"/>
                </a:lnTo>
                <a:lnTo>
                  <a:pt x="605" y="597"/>
                </a:lnTo>
                <a:lnTo>
                  <a:pt x="607" y="610"/>
                </a:lnTo>
                <a:lnTo>
                  <a:pt x="611" y="625"/>
                </a:lnTo>
                <a:lnTo>
                  <a:pt x="616" y="640"/>
                </a:lnTo>
                <a:lnTo>
                  <a:pt x="620" y="653"/>
                </a:lnTo>
                <a:lnTo>
                  <a:pt x="624" y="666"/>
                </a:lnTo>
                <a:lnTo>
                  <a:pt x="625" y="679"/>
                </a:lnTo>
                <a:lnTo>
                  <a:pt x="624" y="688"/>
                </a:lnTo>
                <a:lnTo>
                  <a:pt x="606" y="689"/>
                </a:lnTo>
                <a:lnTo>
                  <a:pt x="588" y="689"/>
                </a:lnTo>
                <a:lnTo>
                  <a:pt x="571" y="689"/>
                </a:lnTo>
                <a:lnTo>
                  <a:pt x="555" y="692"/>
                </a:lnTo>
                <a:lnTo>
                  <a:pt x="549" y="694"/>
                </a:lnTo>
                <a:lnTo>
                  <a:pt x="541" y="697"/>
                </a:lnTo>
                <a:lnTo>
                  <a:pt x="536" y="699"/>
                </a:lnTo>
                <a:lnTo>
                  <a:pt x="530" y="705"/>
                </a:lnTo>
                <a:lnTo>
                  <a:pt x="525" y="710"/>
                </a:lnTo>
                <a:lnTo>
                  <a:pt x="521" y="716"/>
                </a:lnTo>
                <a:lnTo>
                  <a:pt x="517" y="724"/>
                </a:lnTo>
                <a:lnTo>
                  <a:pt x="515" y="732"/>
                </a:lnTo>
                <a:lnTo>
                  <a:pt x="504" y="731"/>
                </a:lnTo>
                <a:lnTo>
                  <a:pt x="495" y="729"/>
                </a:lnTo>
                <a:lnTo>
                  <a:pt x="485" y="728"/>
                </a:lnTo>
                <a:lnTo>
                  <a:pt x="474" y="727"/>
                </a:lnTo>
                <a:lnTo>
                  <a:pt x="474" y="712"/>
                </a:lnTo>
                <a:lnTo>
                  <a:pt x="474" y="699"/>
                </a:lnTo>
                <a:lnTo>
                  <a:pt x="476" y="686"/>
                </a:lnTo>
                <a:lnTo>
                  <a:pt x="477" y="673"/>
                </a:lnTo>
                <a:lnTo>
                  <a:pt x="471" y="671"/>
                </a:lnTo>
                <a:lnTo>
                  <a:pt x="464" y="668"/>
                </a:lnTo>
                <a:lnTo>
                  <a:pt x="459" y="668"/>
                </a:lnTo>
                <a:lnTo>
                  <a:pt x="452" y="667"/>
                </a:lnTo>
                <a:lnTo>
                  <a:pt x="441" y="668"/>
                </a:lnTo>
                <a:lnTo>
                  <a:pt x="429" y="672"/>
                </a:lnTo>
                <a:lnTo>
                  <a:pt x="417" y="676"/>
                </a:lnTo>
                <a:lnTo>
                  <a:pt x="407" y="683"/>
                </a:lnTo>
                <a:lnTo>
                  <a:pt x="396" y="689"/>
                </a:lnTo>
                <a:lnTo>
                  <a:pt x="386" y="696"/>
                </a:lnTo>
                <a:lnTo>
                  <a:pt x="366" y="698"/>
                </a:lnTo>
                <a:lnTo>
                  <a:pt x="348" y="702"/>
                </a:lnTo>
                <a:lnTo>
                  <a:pt x="331" y="706"/>
                </a:lnTo>
                <a:lnTo>
                  <a:pt x="316" y="711"/>
                </a:lnTo>
                <a:lnTo>
                  <a:pt x="284" y="723"/>
                </a:lnTo>
                <a:lnTo>
                  <a:pt x="252" y="732"/>
                </a:lnTo>
              </a:path>
            </a:pathLst>
          </a:custGeom>
          <a:solidFill>
            <a:srgbClr val="00FF00"/>
          </a:solidFill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49" name="Freeform 122"/>
          <p:cNvSpPr>
            <a:spLocks/>
          </p:cNvSpPr>
          <p:nvPr/>
        </p:nvSpPr>
        <p:spPr bwMode="auto">
          <a:xfrm>
            <a:off x="1471613" y="2917825"/>
            <a:ext cx="257175" cy="214313"/>
          </a:xfrm>
          <a:custGeom>
            <a:avLst/>
            <a:gdLst>
              <a:gd name="T0" fmla="*/ 2147483647 w 650"/>
              <a:gd name="T1" fmla="*/ 2147483647 h 540"/>
              <a:gd name="T2" fmla="*/ 2147483647 w 650"/>
              <a:gd name="T3" fmla="*/ 2147483647 h 540"/>
              <a:gd name="T4" fmla="*/ 2147483647 w 650"/>
              <a:gd name="T5" fmla="*/ 2147483647 h 540"/>
              <a:gd name="T6" fmla="*/ 2147483647 w 650"/>
              <a:gd name="T7" fmla="*/ 2147483647 h 540"/>
              <a:gd name="T8" fmla="*/ 2147483647 w 650"/>
              <a:gd name="T9" fmla="*/ 2147483647 h 540"/>
              <a:gd name="T10" fmla="*/ 2147483647 w 650"/>
              <a:gd name="T11" fmla="*/ 2147483647 h 540"/>
              <a:gd name="T12" fmla="*/ 2147483647 w 650"/>
              <a:gd name="T13" fmla="*/ 2147483647 h 540"/>
              <a:gd name="T14" fmla="*/ 2147483647 w 650"/>
              <a:gd name="T15" fmla="*/ 2147483647 h 540"/>
              <a:gd name="T16" fmla="*/ 2147483647 w 650"/>
              <a:gd name="T17" fmla="*/ 2147483647 h 540"/>
              <a:gd name="T18" fmla="*/ 2147483647 w 650"/>
              <a:gd name="T19" fmla="*/ 2147483647 h 540"/>
              <a:gd name="T20" fmla="*/ 2147483647 w 650"/>
              <a:gd name="T21" fmla="*/ 2147483647 h 540"/>
              <a:gd name="T22" fmla="*/ 2147483647 w 650"/>
              <a:gd name="T23" fmla="*/ 2147483647 h 540"/>
              <a:gd name="T24" fmla="*/ 0 w 650"/>
              <a:gd name="T25" fmla="*/ 2147483647 h 540"/>
              <a:gd name="T26" fmla="*/ 2147483647 w 650"/>
              <a:gd name="T27" fmla="*/ 2147483647 h 540"/>
              <a:gd name="T28" fmla="*/ 2147483647 w 650"/>
              <a:gd name="T29" fmla="*/ 2147483647 h 540"/>
              <a:gd name="T30" fmla="*/ 2147483647 w 650"/>
              <a:gd name="T31" fmla="*/ 2147483647 h 540"/>
              <a:gd name="T32" fmla="*/ 2147483647 w 650"/>
              <a:gd name="T33" fmla="*/ 2147483647 h 540"/>
              <a:gd name="T34" fmla="*/ 2147483647 w 650"/>
              <a:gd name="T35" fmla="*/ 2147483647 h 540"/>
              <a:gd name="T36" fmla="*/ 2147483647 w 650"/>
              <a:gd name="T37" fmla="*/ 2147483647 h 540"/>
              <a:gd name="T38" fmla="*/ 2147483647 w 650"/>
              <a:gd name="T39" fmla="*/ 2147483647 h 540"/>
              <a:gd name="T40" fmla="*/ 2147483647 w 650"/>
              <a:gd name="T41" fmla="*/ 2147483647 h 540"/>
              <a:gd name="T42" fmla="*/ 2147483647 w 650"/>
              <a:gd name="T43" fmla="*/ 2147483647 h 540"/>
              <a:gd name="T44" fmla="*/ 2147483647 w 650"/>
              <a:gd name="T45" fmla="*/ 2147483647 h 540"/>
              <a:gd name="T46" fmla="*/ 2147483647 w 650"/>
              <a:gd name="T47" fmla="*/ 2147483647 h 540"/>
              <a:gd name="T48" fmla="*/ 2147483647 w 650"/>
              <a:gd name="T49" fmla="*/ 0 h 540"/>
              <a:gd name="T50" fmla="*/ 2147483647 w 650"/>
              <a:gd name="T51" fmla="*/ 2147483647 h 540"/>
              <a:gd name="T52" fmla="*/ 2147483647 w 650"/>
              <a:gd name="T53" fmla="*/ 2147483647 h 540"/>
              <a:gd name="T54" fmla="*/ 2147483647 w 650"/>
              <a:gd name="T55" fmla="*/ 2147483647 h 540"/>
              <a:gd name="T56" fmla="*/ 2147483647 w 650"/>
              <a:gd name="T57" fmla="*/ 2147483647 h 540"/>
              <a:gd name="T58" fmla="*/ 2147483647 w 650"/>
              <a:gd name="T59" fmla="*/ 2147483647 h 540"/>
              <a:gd name="T60" fmla="*/ 2147483647 w 650"/>
              <a:gd name="T61" fmla="*/ 2147483647 h 540"/>
              <a:gd name="T62" fmla="*/ 2147483647 w 650"/>
              <a:gd name="T63" fmla="*/ 2147483647 h 540"/>
              <a:gd name="T64" fmla="*/ 2147483647 w 650"/>
              <a:gd name="T65" fmla="*/ 2147483647 h 540"/>
              <a:gd name="T66" fmla="*/ 2147483647 w 650"/>
              <a:gd name="T67" fmla="*/ 2147483647 h 540"/>
              <a:gd name="T68" fmla="*/ 2147483647 w 650"/>
              <a:gd name="T69" fmla="*/ 2147483647 h 540"/>
              <a:gd name="T70" fmla="*/ 2147483647 w 650"/>
              <a:gd name="T71" fmla="*/ 2147483647 h 540"/>
              <a:gd name="T72" fmla="*/ 2147483647 w 650"/>
              <a:gd name="T73" fmla="*/ 2147483647 h 540"/>
              <a:gd name="T74" fmla="*/ 2147483647 w 650"/>
              <a:gd name="T75" fmla="*/ 2147483647 h 540"/>
              <a:gd name="T76" fmla="*/ 2147483647 w 650"/>
              <a:gd name="T77" fmla="*/ 2147483647 h 540"/>
              <a:gd name="T78" fmla="*/ 2147483647 w 650"/>
              <a:gd name="T79" fmla="*/ 2147483647 h 540"/>
              <a:gd name="T80" fmla="*/ 2147483647 w 650"/>
              <a:gd name="T81" fmla="*/ 2147483647 h 540"/>
              <a:gd name="T82" fmla="*/ 2147483647 w 650"/>
              <a:gd name="T83" fmla="*/ 2147483647 h 540"/>
              <a:gd name="T84" fmla="*/ 2147483647 w 650"/>
              <a:gd name="T85" fmla="*/ 2147483647 h 540"/>
              <a:gd name="T86" fmla="*/ 2147483647 w 650"/>
              <a:gd name="T87" fmla="*/ 2147483647 h 540"/>
              <a:gd name="T88" fmla="*/ 2147483647 w 650"/>
              <a:gd name="T89" fmla="*/ 2147483647 h 54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650"/>
              <a:gd name="T136" fmla="*/ 0 h 540"/>
              <a:gd name="T137" fmla="*/ 650 w 650"/>
              <a:gd name="T138" fmla="*/ 540 h 54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650" h="540">
                <a:moveTo>
                  <a:pt x="430" y="540"/>
                </a:moveTo>
                <a:lnTo>
                  <a:pt x="407" y="522"/>
                </a:lnTo>
                <a:lnTo>
                  <a:pt x="382" y="502"/>
                </a:lnTo>
                <a:lnTo>
                  <a:pt x="359" y="484"/>
                </a:lnTo>
                <a:lnTo>
                  <a:pt x="335" y="466"/>
                </a:lnTo>
                <a:lnTo>
                  <a:pt x="309" y="478"/>
                </a:lnTo>
                <a:lnTo>
                  <a:pt x="285" y="491"/>
                </a:lnTo>
                <a:lnTo>
                  <a:pt x="278" y="493"/>
                </a:lnTo>
                <a:lnTo>
                  <a:pt x="272" y="496"/>
                </a:lnTo>
                <a:lnTo>
                  <a:pt x="265" y="497"/>
                </a:lnTo>
                <a:lnTo>
                  <a:pt x="259" y="497"/>
                </a:lnTo>
                <a:lnTo>
                  <a:pt x="252" y="497"/>
                </a:lnTo>
                <a:lnTo>
                  <a:pt x="246" y="496"/>
                </a:lnTo>
                <a:lnTo>
                  <a:pt x="238" y="492"/>
                </a:lnTo>
                <a:lnTo>
                  <a:pt x="231" y="488"/>
                </a:lnTo>
                <a:lnTo>
                  <a:pt x="217" y="470"/>
                </a:lnTo>
                <a:lnTo>
                  <a:pt x="205" y="455"/>
                </a:lnTo>
                <a:lnTo>
                  <a:pt x="196" y="445"/>
                </a:lnTo>
                <a:lnTo>
                  <a:pt x="184" y="437"/>
                </a:lnTo>
                <a:lnTo>
                  <a:pt x="179" y="435"/>
                </a:lnTo>
                <a:lnTo>
                  <a:pt x="173" y="432"/>
                </a:lnTo>
                <a:lnTo>
                  <a:pt x="166" y="431"/>
                </a:lnTo>
                <a:lnTo>
                  <a:pt x="158" y="429"/>
                </a:lnTo>
                <a:lnTo>
                  <a:pt x="140" y="429"/>
                </a:lnTo>
                <a:lnTo>
                  <a:pt x="118" y="431"/>
                </a:lnTo>
                <a:lnTo>
                  <a:pt x="114" y="418"/>
                </a:lnTo>
                <a:lnTo>
                  <a:pt x="112" y="406"/>
                </a:lnTo>
                <a:lnTo>
                  <a:pt x="104" y="403"/>
                </a:lnTo>
                <a:lnTo>
                  <a:pt x="96" y="400"/>
                </a:lnTo>
                <a:lnTo>
                  <a:pt x="95" y="379"/>
                </a:lnTo>
                <a:lnTo>
                  <a:pt x="93" y="358"/>
                </a:lnTo>
                <a:lnTo>
                  <a:pt x="92" y="337"/>
                </a:lnTo>
                <a:lnTo>
                  <a:pt x="91" y="318"/>
                </a:lnTo>
                <a:lnTo>
                  <a:pt x="82" y="311"/>
                </a:lnTo>
                <a:lnTo>
                  <a:pt x="71" y="308"/>
                </a:lnTo>
                <a:lnTo>
                  <a:pt x="60" y="306"/>
                </a:lnTo>
                <a:lnTo>
                  <a:pt x="48" y="306"/>
                </a:lnTo>
                <a:lnTo>
                  <a:pt x="23" y="306"/>
                </a:lnTo>
                <a:lnTo>
                  <a:pt x="0" y="303"/>
                </a:lnTo>
                <a:lnTo>
                  <a:pt x="2" y="266"/>
                </a:lnTo>
                <a:lnTo>
                  <a:pt x="6" y="232"/>
                </a:lnTo>
                <a:lnTo>
                  <a:pt x="10" y="198"/>
                </a:lnTo>
                <a:lnTo>
                  <a:pt x="15" y="161"/>
                </a:lnTo>
                <a:lnTo>
                  <a:pt x="23" y="156"/>
                </a:lnTo>
                <a:lnTo>
                  <a:pt x="30" y="151"/>
                </a:lnTo>
                <a:lnTo>
                  <a:pt x="35" y="145"/>
                </a:lnTo>
                <a:lnTo>
                  <a:pt x="40" y="138"/>
                </a:lnTo>
                <a:lnTo>
                  <a:pt x="49" y="124"/>
                </a:lnTo>
                <a:lnTo>
                  <a:pt x="58" y="108"/>
                </a:lnTo>
                <a:lnTo>
                  <a:pt x="65" y="106"/>
                </a:lnTo>
                <a:lnTo>
                  <a:pt x="74" y="104"/>
                </a:lnTo>
                <a:lnTo>
                  <a:pt x="79" y="87"/>
                </a:lnTo>
                <a:lnTo>
                  <a:pt x="84" y="72"/>
                </a:lnTo>
                <a:lnTo>
                  <a:pt x="97" y="70"/>
                </a:lnTo>
                <a:lnTo>
                  <a:pt x="110" y="68"/>
                </a:lnTo>
                <a:lnTo>
                  <a:pt x="123" y="66"/>
                </a:lnTo>
                <a:lnTo>
                  <a:pt x="136" y="65"/>
                </a:lnTo>
                <a:lnTo>
                  <a:pt x="140" y="53"/>
                </a:lnTo>
                <a:lnTo>
                  <a:pt x="143" y="42"/>
                </a:lnTo>
                <a:lnTo>
                  <a:pt x="145" y="31"/>
                </a:lnTo>
                <a:lnTo>
                  <a:pt x="148" y="20"/>
                </a:lnTo>
                <a:lnTo>
                  <a:pt x="157" y="18"/>
                </a:lnTo>
                <a:lnTo>
                  <a:pt x="164" y="20"/>
                </a:lnTo>
                <a:lnTo>
                  <a:pt x="175" y="25"/>
                </a:lnTo>
                <a:lnTo>
                  <a:pt x="195" y="37"/>
                </a:lnTo>
                <a:lnTo>
                  <a:pt x="208" y="35"/>
                </a:lnTo>
                <a:lnTo>
                  <a:pt x="221" y="34"/>
                </a:lnTo>
                <a:lnTo>
                  <a:pt x="235" y="30"/>
                </a:lnTo>
                <a:lnTo>
                  <a:pt x="249" y="26"/>
                </a:lnTo>
                <a:lnTo>
                  <a:pt x="278" y="18"/>
                </a:lnTo>
                <a:lnTo>
                  <a:pt x="308" y="9"/>
                </a:lnTo>
                <a:lnTo>
                  <a:pt x="324" y="5"/>
                </a:lnTo>
                <a:lnTo>
                  <a:pt x="338" y="3"/>
                </a:lnTo>
                <a:lnTo>
                  <a:pt x="354" y="0"/>
                </a:lnTo>
                <a:lnTo>
                  <a:pt x="368" y="0"/>
                </a:lnTo>
                <a:lnTo>
                  <a:pt x="382" y="1"/>
                </a:lnTo>
                <a:lnTo>
                  <a:pt x="396" y="4"/>
                </a:lnTo>
                <a:lnTo>
                  <a:pt x="411" y="9"/>
                </a:lnTo>
                <a:lnTo>
                  <a:pt x="425" y="17"/>
                </a:lnTo>
                <a:lnTo>
                  <a:pt x="442" y="18"/>
                </a:lnTo>
                <a:lnTo>
                  <a:pt x="458" y="22"/>
                </a:lnTo>
                <a:lnTo>
                  <a:pt x="464" y="24"/>
                </a:lnTo>
                <a:lnTo>
                  <a:pt x="469" y="27"/>
                </a:lnTo>
                <a:lnTo>
                  <a:pt x="475" y="30"/>
                </a:lnTo>
                <a:lnTo>
                  <a:pt x="480" y="35"/>
                </a:lnTo>
                <a:lnTo>
                  <a:pt x="484" y="39"/>
                </a:lnTo>
                <a:lnTo>
                  <a:pt x="488" y="44"/>
                </a:lnTo>
                <a:lnTo>
                  <a:pt x="490" y="50"/>
                </a:lnTo>
                <a:lnTo>
                  <a:pt x="493" y="56"/>
                </a:lnTo>
                <a:lnTo>
                  <a:pt x="498" y="70"/>
                </a:lnTo>
                <a:lnTo>
                  <a:pt x="501" y="86"/>
                </a:lnTo>
                <a:lnTo>
                  <a:pt x="512" y="95"/>
                </a:lnTo>
                <a:lnTo>
                  <a:pt x="524" y="104"/>
                </a:lnTo>
                <a:lnTo>
                  <a:pt x="534" y="113"/>
                </a:lnTo>
                <a:lnTo>
                  <a:pt x="544" y="122"/>
                </a:lnTo>
                <a:lnTo>
                  <a:pt x="553" y="132"/>
                </a:lnTo>
                <a:lnTo>
                  <a:pt x="560" y="142"/>
                </a:lnTo>
                <a:lnTo>
                  <a:pt x="567" y="152"/>
                </a:lnTo>
                <a:lnTo>
                  <a:pt x="573" y="164"/>
                </a:lnTo>
                <a:lnTo>
                  <a:pt x="579" y="176"/>
                </a:lnTo>
                <a:lnTo>
                  <a:pt x="584" y="187"/>
                </a:lnTo>
                <a:lnTo>
                  <a:pt x="588" y="200"/>
                </a:lnTo>
                <a:lnTo>
                  <a:pt x="590" y="213"/>
                </a:lnTo>
                <a:lnTo>
                  <a:pt x="593" y="228"/>
                </a:lnTo>
                <a:lnTo>
                  <a:pt x="596" y="242"/>
                </a:lnTo>
                <a:lnTo>
                  <a:pt x="596" y="258"/>
                </a:lnTo>
                <a:lnTo>
                  <a:pt x="597" y="273"/>
                </a:lnTo>
                <a:lnTo>
                  <a:pt x="612" y="281"/>
                </a:lnTo>
                <a:lnTo>
                  <a:pt x="623" y="285"/>
                </a:lnTo>
                <a:lnTo>
                  <a:pt x="635" y="288"/>
                </a:lnTo>
                <a:lnTo>
                  <a:pt x="650" y="290"/>
                </a:lnTo>
                <a:lnTo>
                  <a:pt x="650" y="306"/>
                </a:lnTo>
                <a:lnTo>
                  <a:pt x="650" y="323"/>
                </a:lnTo>
                <a:lnTo>
                  <a:pt x="640" y="331"/>
                </a:lnTo>
                <a:lnTo>
                  <a:pt x="633" y="338"/>
                </a:lnTo>
                <a:lnTo>
                  <a:pt x="628" y="347"/>
                </a:lnTo>
                <a:lnTo>
                  <a:pt x="624" y="358"/>
                </a:lnTo>
                <a:lnTo>
                  <a:pt x="620" y="380"/>
                </a:lnTo>
                <a:lnTo>
                  <a:pt x="618" y="406"/>
                </a:lnTo>
                <a:lnTo>
                  <a:pt x="609" y="407"/>
                </a:lnTo>
                <a:lnTo>
                  <a:pt x="601" y="410"/>
                </a:lnTo>
                <a:lnTo>
                  <a:pt x="594" y="414"/>
                </a:lnTo>
                <a:lnTo>
                  <a:pt x="589" y="420"/>
                </a:lnTo>
                <a:lnTo>
                  <a:pt x="581" y="435"/>
                </a:lnTo>
                <a:lnTo>
                  <a:pt x="573" y="450"/>
                </a:lnTo>
                <a:lnTo>
                  <a:pt x="554" y="452"/>
                </a:lnTo>
                <a:lnTo>
                  <a:pt x="534" y="453"/>
                </a:lnTo>
                <a:lnTo>
                  <a:pt x="515" y="454"/>
                </a:lnTo>
                <a:lnTo>
                  <a:pt x="497" y="455"/>
                </a:lnTo>
                <a:lnTo>
                  <a:pt x="490" y="468"/>
                </a:lnTo>
                <a:lnTo>
                  <a:pt x="484" y="479"/>
                </a:lnTo>
                <a:lnTo>
                  <a:pt x="476" y="491"/>
                </a:lnTo>
                <a:lnTo>
                  <a:pt x="467" y="501"/>
                </a:lnTo>
                <a:lnTo>
                  <a:pt x="450" y="522"/>
                </a:lnTo>
                <a:lnTo>
                  <a:pt x="430" y="540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50" name="Freeform 123"/>
          <p:cNvSpPr>
            <a:spLocks/>
          </p:cNvSpPr>
          <p:nvPr/>
        </p:nvSpPr>
        <p:spPr bwMode="auto">
          <a:xfrm>
            <a:off x="2355850" y="2268538"/>
            <a:ext cx="1266825" cy="742950"/>
          </a:xfrm>
          <a:custGeom>
            <a:avLst/>
            <a:gdLst>
              <a:gd name="T0" fmla="*/ 2147483647 w 3192"/>
              <a:gd name="T1" fmla="*/ 2147483647 h 1870"/>
              <a:gd name="T2" fmla="*/ 2147483647 w 3192"/>
              <a:gd name="T3" fmla="*/ 2147483647 h 1870"/>
              <a:gd name="T4" fmla="*/ 2147483647 w 3192"/>
              <a:gd name="T5" fmla="*/ 2147483647 h 1870"/>
              <a:gd name="T6" fmla="*/ 2147483647 w 3192"/>
              <a:gd name="T7" fmla="*/ 2147483647 h 1870"/>
              <a:gd name="T8" fmla="*/ 2147483647 w 3192"/>
              <a:gd name="T9" fmla="*/ 2147483647 h 1870"/>
              <a:gd name="T10" fmla="*/ 2147483647 w 3192"/>
              <a:gd name="T11" fmla="*/ 2147483647 h 1870"/>
              <a:gd name="T12" fmla="*/ 2147483647 w 3192"/>
              <a:gd name="T13" fmla="*/ 2147483647 h 1870"/>
              <a:gd name="T14" fmla="*/ 2147483647 w 3192"/>
              <a:gd name="T15" fmla="*/ 2147483647 h 1870"/>
              <a:gd name="T16" fmla="*/ 2147483647 w 3192"/>
              <a:gd name="T17" fmla="*/ 2147483647 h 1870"/>
              <a:gd name="T18" fmla="*/ 2147483647 w 3192"/>
              <a:gd name="T19" fmla="*/ 2147483647 h 1870"/>
              <a:gd name="T20" fmla="*/ 2147483647 w 3192"/>
              <a:gd name="T21" fmla="*/ 2147483647 h 1870"/>
              <a:gd name="T22" fmla="*/ 2147483647 w 3192"/>
              <a:gd name="T23" fmla="*/ 2147483647 h 1870"/>
              <a:gd name="T24" fmla="*/ 2147483647 w 3192"/>
              <a:gd name="T25" fmla="*/ 2147483647 h 1870"/>
              <a:gd name="T26" fmla="*/ 2147483647 w 3192"/>
              <a:gd name="T27" fmla="*/ 2147483647 h 1870"/>
              <a:gd name="T28" fmla="*/ 0 w 3192"/>
              <a:gd name="T29" fmla="*/ 2147483647 h 1870"/>
              <a:gd name="T30" fmla="*/ 2147483647 w 3192"/>
              <a:gd name="T31" fmla="*/ 2147483647 h 1870"/>
              <a:gd name="T32" fmla="*/ 2147483647 w 3192"/>
              <a:gd name="T33" fmla="*/ 2147483647 h 1870"/>
              <a:gd name="T34" fmla="*/ 2147483647 w 3192"/>
              <a:gd name="T35" fmla="*/ 2147483647 h 1870"/>
              <a:gd name="T36" fmla="*/ 2147483647 w 3192"/>
              <a:gd name="T37" fmla="*/ 2147483647 h 1870"/>
              <a:gd name="T38" fmla="*/ 2147483647 w 3192"/>
              <a:gd name="T39" fmla="*/ 2147483647 h 1870"/>
              <a:gd name="T40" fmla="*/ 2147483647 w 3192"/>
              <a:gd name="T41" fmla="*/ 2147483647 h 1870"/>
              <a:gd name="T42" fmla="*/ 2147483647 w 3192"/>
              <a:gd name="T43" fmla="*/ 2147483647 h 1870"/>
              <a:gd name="T44" fmla="*/ 2147483647 w 3192"/>
              <a:gd name="T45" fmla="*/ 2147483647 h 1870"/>
              <a:gd name="T46" fmla="*/ 2147483647 w 3192"/>
              <a:gd name="T47" fmla="*/ 2147483647 h 1870"/>
              <a:gd name="T48" fmla="*/ 2147483647 w 3192"/>
              <a:gd name="T49" fmla="*/ 2147483647 h 1870"/>
              <a:gd name="T50" fmla="*/ 2147483647 w 3192"/>
              <a:gd name="T51" fmla="*/ 2147483647 h 1870"/>
              <a:gd name="T52" fmla="*/ 2147483647 w 3192"/>
              <a:gd name="T53" fmla="*/ 2147483647 h 1870"/>
              <a:gd name="T54" fmla="*/ 2147483647 w 3192"/>
              <a:gd name="T55" fmla="*/ 2147483647 h 1870"/>
              <a:gd name="T56" fmla="*/ 2147483647 w 3192"/>
              <a:gd name="T57" fmla="*/ 2147483647 h 1870"/>
              <a:gd name="T58" fmla="*/ 2147483647 w 3192"/>
              <a:gd name="T59" fmla="*/ 2147483647 h 1870"/>
              <a:gd name="T60" fmla="*/ 2147483647 w 3192"/>
              <a:gd name="T61" fmla="*/ 2147483647 h 1870"/>
              <a:gd name="T62" fmla="*/ 2147483647 w 3192"/>
              <a:gd name="T63" fmla="*/ 2147483647 h 1870"/>
              <a:gd name="T64" fmla="*/ 2147483647 w 3192"/>
              <a:gd name="T65" fmla="*/ 2147483647 h 1870"/>
              <a:gd name="T66" fmla="*/ 2147483647 w 3192"/>
              <a:gd name="T67" fmla="*/ 2147483647 h 1870"/>
              <a:gd name="T68" fmla="*/ 2147483647 w 3192"/>
              <a:gd name="T69" fmla="*/ 2147483647 h 1870"/>
              <a:gd name="T70" fmla="*/ 2147483647 w 3192"/>
              <a:gd name="T71" fmla="*/ 2147483647 h 1870"/>
              <a:gd name="T72" fmla="*/ 2147483647 w 3192"/>
              <a:gd name="T73" fmla="*/ 2147483647 h 1870"/>
              <a:gd name="T74" fmla="*/ 2147483647 w 3192"/>
              <a:gd name="T75" fmla="*/ 2147483647 h 1870"/>
              <a:gd name="T76" fmla="*/ 2147483647 w 3192"/>
              <a:gd name="T77" fmla="*/ 2147483647 h 1870"/>
              <a:gd name="T78" fmla="*/ 2147483647 w 3192"/>
              <a:gd name="T79" fmla="*/ 2147483647 h 1870"/>
              <a:gd name="T80" fmla="*/ 2147483647 w 3192"/>
              <a:gd name="T81" fmla="*/ 2147483647 h 1870"/>
              <a:gd name="T82" fmla="*/ 2147483647 w 3192"/>
              <a:gd name="T83" fmla="*/ 2147483647 h 1870"/>
              <a:gd name="T84" fmla="*/ 2147483647 w 3192"/>
              <a:gd name="T85" fmla="*/ 2147483647 h 1870"/>
              <a:gd name="T86" fmla="*/ 2147483647 w 3192"/>
              <a:gd name="T87" fmla="*/ 2147483647 h 1870"/>
              <a:gd name="T88" fmla="*/ 2147483647 w 3192"/>
              <a:gd name="T89" fmla="*/ 2147483647 h 1870"/>
              <a:gd name="T90" fmla="*/ 2147483647 w 3192"/>
              <a:gd name="T91" fmla="*/ 2147483647 h 1870"/>
              <a:gd name="T92" fmla="*/ 2147483647 w 3192"/>
              <a:gd name="T93" fmla="*/ 2147483647 h 1870"/>
              <a:gd name="T94" fmla="*/ 2147483647 w 3192"/>
              <a:gd name="T95" fmla="*/ 2147483647 h 1870"/>
              <a:gd name="T96" fmla="*/ 2147483647 w 3192"/>
              <a:gd name="T97" fmla="*/ 2147483647 h 1870"/>
              <a:gd name="T98" fmla="*/ 2147483647 w 3192"/>
              <a:gd name="T99" fmla="*/ 2147483647 h 1870"/>
              <a:gd name="T100" fmla="*/ 2147483647 w 3192"/>
              <a:gd name="T101" fmla="*/ 2147483647 h 1870"/>
              <a:gd name="T102" fmla="*/ 2147483647 w 3192"/>
              <a:gd name="T103" fmla="*/ 2147483647 h 1870"/>
              <a:gd name="T104" fmla="*/ 2147483647 w 3192"/>
              <a:gd name="T105" fmla="*/ 2147483647 h 1870"/>
              <a:gd name="T106" fmla="*/ 2147483647 w 3192"/>
              <a:gd name="T107" fmla="*/ 2147483647 h 1870"/>
              <a:gd name="T108" fmla="*/ 2147483647 w 3192"/>
              <a:gd name="T109" fmla="*/ 2147483647 h 1870"/>
              <a:gd name="T110" fmla="*/ 2147483647 w 3192"/>
              <a:gd name="T111" fmla="*/ 2147483647 h 1870"/>
              <a:gd name="T112" fmla="*/ 2147483647 w 3192"/>
              <a:gd name="T113" fmla="*/ 2147483647 h 1870"/>
              <a:gd name="T114" fmla="*/ 2147483647 w 3192"/>
              <a:gd name="T115" fmla="*/ 2147483647 h 187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192"/>
              <a:gd name="T175" fmla="*/ 0 h 1870"/>
              <a:gd name="T176" fmla="*/ 3192 w 3192"/>
              <a:gd name="T177" fmla="*/ 1870 h 187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192" h="1870">
                <a:moveTo>
                  <a:pt x="1467" y="1870"/>
                </a:moveTo>
                <a:lnTo>
                  <a:pt x="1450" y="1851"/>
                </a:lnTo>
                <a:lnTo>
                  <a:pt x="1433" y="1831"/>
                </a:lnTo>
                <a:lnTo>
                  <a:pt x="1414" y="1814"/>
                </a:lnTo>
                <a:lnTo>
                  <a:pt x="1396" y="1799"/>
                </a:lnTo>
                <a:lnTo>
                  <a:pt x="1378" y="1783"/>
                </a:lnTo>
                <a:lnTo>
                  <a:pt x="1357" y="1769"/>
                </a:lnTo>
                <a:lnTo>
                  <a:pt x="1336" y="1754"/>
                </a:lnTo>
                <a:lnTo>
                  <a:pt x="1313" y="1741"/>
                </a:lnTo>
                <a:lnTo>
                  <a:pt x="1307" y="1728"/>
                </a:lnTo>
                <a:lnTo>
                  <a:pt x="1300" y="1717"/>
                </a:lnTo>
                <a:lnTo>
                  <a:pt x="1295" y="1713"/>
                </a:lnTo>
                <a:lnTo>
                  <a:pt x="1291" y="1709"/>
                </a:lnTo>
                <a:lnTo>
                  <a:pt x="1286" y="1706"/>
                </a:lnTo>
                <a:lnTo>
                  <a:pt x="1282" y="1704"/>
                </a:lnTo>
                <a:lnTo>
                  <a:pt x="1277" y="1702"/>
                </a:lnTo>
                <a:lnTo>
                  <a:pt x="1270" y="1701"/>
                </a:lnTo>
                <a:lnTo>
                  <a:pt x="1265" y="1701"/>
                </a:lnTo>
                <a:lnTo>
                  <a:pt x="1258" y="1702"/>
                </a:lnTo>
                <a:lnTo>
                  <a:pt x="1247" y="1706"/>
                </a:lnTo>
                <a:lnTo>
                  <a:pt x="1232" y="1713"/>
                </a:lnTo>
                <a:lnTo>
                  <a:pt x="1215" y="1705"/>
                </a:lnTo>
                <a:lnTo>
                  <a:pt x="1200" y="1700"/>
                </a:lnTo>
                <a:lnTo>
                  <a:pt x="1183" y="1705"/>
                </a:lnTo>
                <a:lnTo>
                  <a:pt x="1166" y="1709"/>
                </a:lnTo>
                <a:lnTo>
                  <a:pt x="1150" y="1711"/>
                </a:lnTo>
                <a:lnTo>
                  <a:pt x="1133" y="1714"/>
                </a:lnTo>
                <a:lnTo>
                  <a:pt x="1101" y="1714"/>
                </a:lnTo>
                <a:lnTo>
                  <a:pt x="1068" y="1713"/>
                </a:lnTo>
                <a:lnTo>
                  <a:pt x="1036" y="1710"/>
                </a:lnTo>
                <a:lnTo>
                  <a:pt x="1002" y="1709"/>
                </a:lnTo>
                <a:lnTo>
                  <a:pt x="985" y="1708"/>
                </a:lnTo>
                <a:lnTo>
                  <a:pt x="968" y="1708"/>
                </a:lnTo>
                <a:lnTo>
                  <a:pt x="951" y="1709"/>
                </a:lnTo>
                <a:lnTo>
                  <a:pt x="934" y="1711"/>
                </a:lnTo>
                <a:lnTo>
                  <a:pt x="934" y="1717"/>
                </a:lnTo>
                <a:lnTo>
                  <a:pt x="934" y="1722"/>
                </a:lnTo>
                <a:lnTo>
                  <a:pt x="927" y="1718"/>
                </a:lnTo>
                <a:lnTo>
                  <a:pt x="919" y="1713"/>
                </a:lnTo>
                <a:lnTo>
                  <a:pt x="911" y="1701"/>
                </a:lnTo>
                <a:lnTo>
                  <a:pt x="895" y="1678"/>
                </a:lnTo>
                <a:lnTo>
                  <a:pt x="890" y="1678"/>
                </a:lnTo>
                <a:lnTo>
                  <a:pt x="884" y="1678"/>
                </a:lnTo>
                <a:lnTo>
                  <a:pt x="880" y="1670"/>
                </a:lnTo>
                <a:lnTo>
                  <a:pt x="876" y="1663"/>
                </a:lnTo>
                <a:lnTo>
                  <a:pt x="871" y="1657"/>
                </a:lnTo>
                <a:lnTo>
                  <a:pt x="865" y="1652"/>
                </a:lnTo>
                <a:lnTo>
                  <a:pt x="860" y="1648"/>
                </a:lnTo>
                <a:lnTo>
                  <a:pt x="854" y="1645"/>
                </a:lnTo>
                <a:lnTo>
                  <a:pt x="849" y="1643"/>
                </a:lnTo>
                <a:lnTo>
                  <a:pt x="842" y="1641"/>
                </a:lnTo>
                <a:lnTo>
                  <a:pt x="813" y="1640"/>
                </a:lnTo>
                <a:lnTo>
                  <a:pt x="781" y="1640"/>
                </a:lnTo>
                <a:lnTo>
                  <a:pt x="776" y="1628"/>
                </a:lnTo>
                <a:lnTo>
                  <a:pt x="773" y="1617"/>
                </a:lnTo>
                <a:lnTo>
                  <a:pt x="770" y="1596"/>
                </a:lnTo>
                <a:lnTo>
                  <a:pt x="767" y="1559"/>
                </a:lnTo>
                <a:lnTo>
                  <a:pt x="756" y="1549"/>
                </a:lnTo>
                <a:lnTo>
                  <a:pt x="746" y="1540"/>
                </a:lnTo>
                <a:lnTo>
                  <a:pt x="737" y="1532"/>
                </a:lnTo>
                <a:lnTo>
                  <a:pt x="728" y="1525"/>
                </a:lnTo>
                <a:lnTo>
                  <a:pt x="718" y="1520"/>
                </a:lnTo>
                <a:lnTo>
                  <a:pt x="709" y="1516"/>
                </a:lnTo>
                <a:lnTo>
                  <a:pt x="700" y="1512"/>
                </a:lnTo>
                <a:lnTo>
                  <a:pt x="692" y="1510"/>
                </a:lnTo>
                <a:lnTo>
                  <a:pt x="673" y="1506"/>
                </a:lnTo>
                <a:lnTo>
                  <a:pt x="652" y="1503"/>
                </a:lnTo>
                <a:lnTo>
                  <a:pt x="627" y="1502"/>
                </a:lnTo>
                <a:lnTo>
                  <a:pt x="600" y="1499"/>
                </a:lnTo>
                <a:lnTo>
                  <a:pt x="592" y="1493"/>
                </a:lnTo>
                <a:lnTo>
                  <a:pt x="586" y="1488"/>
                </a:lnTo>
                <a:lnTo>
                  <a:pt x="579" y="1484"/>
                </a:lnTo>
                <a:lnTo>
                  <a:pt x="574" y="1480"/>
                </a:lnTo>
                <a:lnTo>
                  <a:pt x="568" y="1477"/>
                </a:lnTo>
                <a:lnTo>
                  <a:pt x="561" y="1476"/>
                </a:lnTo>
                <a:lnTo>
                  <a:pt x="556" y="1475"/>
                </a:lnTo>
                <a:lnTo>
                  <a:pt x="551" y="1475"/>
                </a:lnTo>
                <a:lnTo>
                  <a:pt x="545" y="1476"/>
                </a:lnTo>
                <a:lnTo>
                  <a:pt x="540" y="1477"/>
                </a:lnTo>
                <a:lnTo>
                  <a:pt x="535" y="1480"/>
                </a:lnTo>
                <a:lnTo>
                  <a:pt x="531" y="1483"/>
                </a:lnTo>
                <a:lnTo>
                  <a:pt x="523" y="1489"/>
                </a:lnTo>
                <a:lnTo>
                  <a:pt x="515" y="1498"/>
                </a:lnTo>
                <a:lnTo>
                  <a:pt x="510" y="1509"/>
                </a:lnTo>
                <a:lnTo>
                  <a:pt x="506" y="1522"/>
                </a:lnTo>
                <a:lnTo>
                  <a:pt x="504" y="1533"/>
                </a:lnTo>
                <a:lnTo>
                  <a:pt x="502" y="1548"/>
                </a:lnTo>
                <a:lnTo>
                  <a:pt x="502" y="1562"/>
                </a:lnTo>
                <a:lnTo>
                  <a:pt x="505" y="1575"/>
                </a:lnTo>
                <a:lnTo>
                  <a:pt x="509" y="1588"/>
                </a:lnTo>
                <a:lnTo>
                  <a:pt x="515" y="1601"/>
                </a:lnTo>
                <a:lnTo>
                  <a:pt x="513" y="1614"/>
                </a:lnTo>
                <a:lnTo>
                  <a:pt x="512" y="1627"/>
                </a:lnTo>
                <a:lnTo>
                  <a:pt x="512" y="1640"/>
                </a:lnTo>
                <a:lnTo>
                  <a:pt x="512" y="1653"/>
                </a:lnTo>
                <a:lnTo>
                  <a:pt x="496" y="1648"/>
                </a:lnTo>
                <a:lnTo>
                  <a:pt x="480" y="1645"/>
                </a:lnTo>
                <a:lnTo>
                  <a:pt x="467" y="1644"/>
                </a:lnTo>
                <a:lnTo>
                  <a:pt x="453" y="1644"/>
                </a:lnTo>
                <a:lnTo>
                  <a:pt x="440" y="1645"/>
                </a:lnTo>
                <a:lnTo>
                  <a:pt x="428" y="1648"/>
                </a:lnTo>
                <a:lnTo>
                  <a:pt x="415" y="1650"/>
                </a:lnTo>
                <a:lnTo>
                  <a:pt x="404" y="1654"/>
                </a:lnTo>
                <a:lnTo>
                  <a:pt x="380" y="1662"/>
                </a:lnTo>
                <a:lnTo>
                  <a:pt x="357" y="1670"/>
                </a:lnTo>
                <a:lnTo>
                  <a:pt x="345" y="1671"/>
                </a:lnTo>
                <a:lnTo>
                  <a:pt x="333" y="1672"/>
                </a:lnTo>
                <a:lnTo>
                  <a:pt x="322" y="1672"/>
                </a:lnTo>
                <a:lnTo>
                  <a:pt x="309" y="1670"/>
                </a:lnTo>
                <a:lnTo>
                  <a:pt x="294" y="1657"/>
                </a:lnTo>
                <a:lnTo>
                  <a:pt x="280" y="1645"/>
                </a:lnTo>
                <a:lnTo>
                  <a:pt x="264" y="1636"/>
                </a:lnTo>
                <a:lnTo>
                  <a:pt x="250" y="1627"/>
                </a:lnTo>
                <a:lnTo>
                  <a:pt x="234" y="1622"/>
                </a:lnTo>
                <a:lnTo>
                  <a:pt x="220" y="1618"/>
                </a:lnTo>
                <a:lnTo>
                  <a:pt x="205" y="1615"/>
                </a:lnTo>
                <a:lnTo>
                  <a:pt x="190" y="1615"/>
                </a:lnTo>
                <a:lnTo>
                  <a:pt x="177" y="1618"/>
                </a:lnTo>
                <a:lnTo>
                  <a:pt x="164" y="1622"/>
                </a:lnTo>
                <a:lnTo>
                  <a:pt x="151" y="1628"/>
                </a:lnTo>
                <a:lnTo>
                  <a:pt x="140" y="1636"/>
                </a:lnTo>
                <a:lnTo>
                  <a:pt x="128" y="1646"/>
                </a:lnTo>
                <a:lnTo>
                  <a:pt x="119" y="1659"/>
                </a:lnTo>
                <a:lnTo>
                  <a:pt x="110" y="1674"/>
                </a:lnTo>
                <a:lnTo>
                  <a:pt x="102" y="1692"/>
                </a:lnTo>
                <a:lnTo>
                  <a:pt x="87" y="1692"/>
                </a:lnTo>
                <a:lnTo>
                  <a:pt x="74" y="1692"/>
                </a:lnTo>
                <a:lnTo>
                  <a:pt x="73" y="1679"/>
                </a:lnTo>
                <a:lnTo>
                  <a:pt x="72" y="1666"/>
                </a:lnTo>
                <a:lnTo>
                  <a:pt x="71" y="1653"/>
                </a:lnTo>
                <a:lnTo>
                  <a:pt x="69" y="1641"/>
                </a:lnTo>
                <a:lnTo>
                  <a:pt x="64" y="1633"/>
                </a:lnTo>
                <a:lnTo>
                  <a:pt x="60" y="1626"/>
                </a:lnTo>
                <a:lnTo>
                  <a:pt x="56" y="1618"/>
                </a:lnTo>
                <a:lnTo>
                  <a:pt x="54" y="1609"/>
                </a:lnTo>
                <a:lnTo>
                  <a:pt x="50" y="1593"/>
                </a:lnTo>
                <a:lnTo>
                  <a:pt x="47" y="1578"/>
                </a:lnTo>
                <a:lnTo>
                  <a:pt x="46" y="1561"/>
                </a:lnTo>
                <a:lnTo>
                  <a:pt x="43" y="1545"/>
                </a:lnTo>
                <a:lnTo>
                  <a:pt x="38" y="1527"/>
                </a:lnTo>
                <a:lnTo>
                  <a:pt x="32" y="1509"/>
                </a:lnTo>
                <a:lnTo>
                  <a:pt x="24" y="1503"/>
                </a:lnTo>
                <a:lnTo>
                  <a:pt x="17" y="1498"/>
                </a:lnTo>
                <a:lnTo>
                  <a:pt x="12" y="1493"/>
                </a:lnTo>
                <a:lnTo>
                  <a:pt x="7" y="1488"/>
                </a:lnTo>
                <a:lnTo>
                  <a:pt x="4" y="1481"/>
                </a:lnTo>
                <a:lnTo>
                  <a:pt x="2" y="1477"/>
                </a:lnTo>
                <a:lnTo>
                  <a:pt x="0" y="1472"/>
                </a:lnTo>
                <a:lnTo>
                  <a:pt x="0" y="1467"/>
                </a:lnTo>
                <a:lnTo>
                  <a:pt x="0" y="1462"/>
                </a:lnTo>
                <a:lnTo>
                  <a:pt x="2" y="1457"/>
                </a:lnTo>
                <a:lnTo>
                  <a:pt x="4" y="1453"/>
                </a:lnTo>
                <a:lnTo>
                  <a:pt x="7" y="1447"/>
                </a:lnTo>
                <a:lnTo>
                  <a:pt x="13" y="1438"/>
                </a:lnTo>
                <a:lnTo>
                  <a:pt x="22" y="1429"/>
                </a:lnTo>
                <a:lnTo>
                  <a:pt x="43" y="1414"/>
                </a:lnTo>
                <a:lnTo>
                  <a:pt x="65" y="1399"/>
                </a:lnTo>
                <a:lnTo>
                  <a:pt x="85" y="1386"/>
                </a:lnTo>
                <a:lnTo>
                  <a:pt x="98" y="1376"/>
                </a:lnTo>
                <a:lnTo>
                  <a:pt x="99" y="1351"/>
                </a:lnTo>
                <a:lnTo>
                  <a:pt x="102" y="1326"/>
                </a:lnTo>
                <a:lnTo>
                  <a:pt x="104" y="1321"/>
                </a:lnTo>
                <a:lnTo>
                  <a:pt x="106" y="1315"/>
                </a:lnTo>
                <a:lnTo>
                  <a:pt x="108" y="1311"/>
                </a:lnTo>
                <a:lnTo>
                  <a:pt x="112" y="1306"/>
                </a:lnTo>
                <a:lnTo>
                  <a:pt x="116" y="1302"/>
                </a:lnTo>
                <a:lnTo>
                  <a:pt x="121" y="1299"/>
                </a:lnTo>
                <a:lnTo>
                  <a:pt x="128" y="1295"/>
                </a:lnTo>
                <a:lnTo>
                  <a:pt x="134" y="1294"/>
                </a:lnTo>
                <a:lnTo>
                  <a:pt x="137" y="1284"/>
                </a:lnTo>
                <a:lnTo>
                  <a:pt x="141" y="1273"/>
                </a:lnTo>
                <a:lnTo>
                  <a:pt x="145" y="1265"/>
                </a:lnTo>
                <a:lnTo>
                  <a:pt x="150" y="1259"/>
                </a:lnTo>
                <a:lnTo>
                  <a:pt x="160" y="1246"/>
                </a:lnTo>
                <a:lnTo>
                  <a:pt x="172" y="1237"/>
                </a:lnTo>
                <a:lnTo>
                  <a:pt x="184" y="1229"/>
                </a:lnTo>
                <a:lnTo>
                  <a:pt x="195" y="1220"/>
                </a:lnTo>
                <a:lnTo>
                  <a:pt x="199" y="1216"/>
                </a:lnTo>
                <a:lnTo>
                  <a:pt x="203" y="1212"/>
                </a:lnTo>
                <a:lnTo>
                  <a:pt x="207" y="1207"/>
                </a:lnTo>
                <a:lnTo>
                  <a:pt x="208" y="1202"/>
                </a:lnTo>
                <a:lnTo>
                  <a:pt x="236" y="1202"/>
                </a:lnTo>
                <a:lnTo>
                  <a:pt x="267" y="1205"/>
                </a:lnTo>
                <a:lnTo>
                  <a:pt x="283" y="1208"/>
                </a:lnTo>
                <a:lnTo>
                  <a:pt x="300" y="1209"/>
                </a:lnTo>
                <a:lnTo>
                  <a:pt x="316" y="1209"/>
                </a:lnTo>
                <a:lnTo>
                  <a:pt x="335" y="1209"/>
                </a:lnTo>
                <a:lnTo>
                  <a:pt x="345" y="1194"/>
                </a:lnTo>
                <a:lnTo>
                  <a:pt x="354" y="1183"/>
                </a:lnTo>
                <a:lnTo>
                  <a:pt x="363" y="1174"/>
                </a:lnTo>
                <a:lnTo>
                  <a:pt x="372" y="1168"/>
                </a:lnTo>
                <a:lnTo>
                  <a:pt x="381" y="1163"/>
                </a:lnTo>
                <a:lnTo>
                  <a:pt x="392" y="1157"/>
                </a:lnTo>
                <a:lnTo>
                  <a:pt x="406" y="1152"/>
                </a:lnTo>
                <a:lnTo>
                  <a:pt x="423" y="1146"/>
                </a:lnTo>
                <a:lnTo>
                  <a:pt x="423" y="1107"/>
                </a:lnTo>
                <a:lnTo>
                  <a:pt x="424" y="1077"/>
                </a:lnTo>
                <a:lnTo>
                  <a:pt x="427" y="1064"/>
                </a:lnTo>
                <a:lnTo>
                  <a:pt x="430" y="1053"/>
                </a:lnTo>
                <a:lnTo>
                  <a:pt x="432" y="1044"/>
                </a:lnTo>
                <a:lnTo>
                  <a:pt x="437" y="1035"/>
                </a:lnTo>
                <a:lnTo>
                  <a:pt x="443" y="1027"/>
                </a:lnTo>
                <a:lnTo>
                  <a:pt x="449" y="1021"/>
                </a:lnTo>
                <a:lnTo>
                  <a:pt x="458" y="1014"/>
                </a:lnTo>
                <a:lnTo>
                  <a:pt x="467" y="1008"/>
                </a:lnTo>
                <a:lnTo>
                  <a:pt x="493" y="993"/>
                </a:lnTo>
                <a:lnTo>
                  <a:pt x="526" y="978"/>
                </a:lnTo>
                <a:lnTo>
                  <a:pt x="538" y="962"/>
                </a:lnTo>
                <a:lnTo>
                  <a:pt x="548" y="948"/>
                </a:lnTo>
                <a:lnTo>
                  <a:pt x="560" y="935"/>
                </a:lnTo>
                <a:lnTo>
                  <a:pt x="570" y="924"/>
                </a:lnTo>
                <a:lnTo>
                  <a:pt x="590" y="904"/>
                </a:lnTo>
                <a:lnTo>
                  <a:pt x="605" y="885"/>
                </a:lnTo>
                <a:lnTo>
                  <a:pt x="610" y="876"/>
                </a:lnTo>
                <a:lnTo>
                  <a:pt x="614" y="866"/>
                </a:lnTo>
                <a:lnTo>
                  <a:pt x="616" y="856"/>
                </a:lnTo>
                <a:lnTo>
                  <a:pt x="614" y="844"/>
                </a:lnTo>
                <a:lnTo>
                  <a:pt x="610" y="829"/>
                </a:lnTo>
                <a:lnTo>
                  <a:pt x="604" y="814"/>
                </a:lnTo>
                <a:lnTo>
                  <a:pt x="594" y="797"/>
                </a:lnTo>
                <a:lnTo>
                  <a:pt x="581" y="776"/>
                </a:lnTo>
                <a:lnTo>
                  <a:pt x="569" y="770"/>
                </a:lnTo>
                <a:lnTo>
                  <a:pt x="556" y="766"/>
                </a:lnTo>
                <a:lnTo>
                  <a:pt x="544" y="764"/>
                </a:lnTo>
                <a:lnTo>
                  <a:pt x="531" y="764"/>
                </a:lnTo>
                <a:lnTo>
                  <a:pt x="518" y="766"/>
                </a:lnTo>
                <a:lnTo>
                  <a:pt x="505" y="770"/>
                </a:lnTo>
                <a:lnTo>
                  <a:pt x="492" y="775"/>
                </a:lnTo>
                <a:lnTo>
                  <a:pt x="480" y="780"/>
                </a:lnTo>
                <a:lnTo>
                  <a:pt x="469" y="788"/>
                </a:lnTo>
                <a:lnTo>
                  <a:pt x="457" y="796"/>
                </a:lnTo>
                <a:lnTo>
                  <a:pt x="447" y="805"/>
                </a:lnTo>
                <a:lnTo>
                  <a:pt x="437" y="815"/>
                </a:lnTo>
                <a:lnTo>
                  <a:pt x="428" y="826"/>
                </a:lnTo>
                <a:lnTo>
                  <a:pt x="421" y="836"/>
                </a:lnTo>
                <a:lnTo>
                  <a:pt x="414" y="846"/>
                </a:lnTo>
                <a:lnTo>
                  <a:pt x="409" y="857"/>
                </a:lnTo>
                <a:lnTo>
                  <a:pt x="384" y="849"/>
                </a:lnTo>
                <a:lnTo>
                  <a:pt x="359" y="842"/>
                </a:lnTo>
                <a:lnTo>
                  <a:pt x="335" y="840"/>
                </a:lnTo>
                <a:lnTo>
                  <a:pt x="307" y="837"/>
                </a:lnTo>
                <a:lnTo>
                  <a:pt x="303" y="802"/>
                </a:lnTo>
                <a:lnTo>
                  <a:pt x="300" y="780"/>
                </a:lnTo>
                <a:lnTo>
                  <a:pt x="297" y="766"/>
                </a:lnTo>
                <a:lnTo>
                  <a:pt x="296" y="755"/>
                </a:lnTo>
                <a:lnTo>
                  <a:pt x="316" y="732"/>
                </a:lnTo>
                <a:lnTo>
                  <a:pt x="337" y="714"/>
                </a:lnTo>
                <a:lnTo>
                  <a:pt x="357" y="697"/>
                </a:lnTo>
                <a:lnTo>
                  <a:pt x="379" y="682"/>
                </a:lnTo>
                <a:lnTo>
                  <a:pt x="401" y="671"/>
                </a:lnTo>
                <a:lnTo>
                  <a:pt x="426" y="658"/>
                </a:lnTo>
                <a:lnTo>
                  <a:pt x="452" y="646"/>
                </a:lnTo>
                <a:lnTo>
                  <a:pt x="480" y="634"/>
                </a:lnTo>
                <a:lnTo>
                  <a:pt x="479" y="607"/>
                </a:lnTo>
                <a:lnTo>
                  <a:pt x="479" y="580"/>
                </a:lnTo>
                <a:lnTo>
                  <a:pt x="478" y="552"/>
                </a:lnTo>
                <a:lnTo>
                  <a:pt x="478" y="526"/>
                </a:lnTo>
                <a:lnTo>
                  <a:pt x="487" y="515"/>
                </a:lnTo>
                <a:lnTo>
                  <a:pt x="495" y="503"/>
                </a:lnTo>
                <a:lnTo>
                  <a:pt x="501" y="491"/>
                </a:lnTo>
                <a:lnTo>
                  <a:pt x="508" y="481"/>
                </a:lnTo>
                <a:lnTo>
                  <a:pt x="512" y="470"/>
                </a:lnTo>
                <a:lnTo>
                  <a:pt x="515" y="460"/>
                </a:lnTo>
                <a:lnTo>
                  <a:pt x="517" y="450"/>
                </a:lnTo>
                <a:lnTo>
                  <a:pt x="519" y="441"/>
                </a:lnTo>
                <a:lnTo>
                  <a:pt x="519" y="431"/>
                </a:lnTo>
                <a:lnTo>
                  <a:pt x="519" y="422"/>
                </a:lnTo>
                <a:lnTo>
                  <a:pt x="519" y="413"/>
                </a:lnTo>
                <a:lnTo>
                  <a:pt x="518" y="404"/>
                </a:lnTo>
                <a:lnTo>
                  <a:pt x="513" y="386"/>
                </a:lnTo>
                <a:lnTo>
                  <a:pt x="508" y="369"/>
                </a:lnTo>
                <a:lnTo>
                  <a:pt x="493" y="333"/>
                </a:lnTo>
                <a:lnTo>
                  <a:pt x="480" y="295"/>
                </a:lnTo>
                <a:lnTo>
                  <a:pt x="475" y="274"/>
                </a:lnTo>
                <a:lnTo>
                  <a:pt x="471" y="251"/>
                </a:lnTo>
                <a:lnTo>
                  <a:pt x="470" y="239"/>
                </a:lnTo>
                <a:lnTo>
                  <a:pt x="470" y="227"/>
                </a:lnTo>
                <a:lnTo>
                  <a:pt x="470" y="214"/>
                </a:lnTo>
                <a:lnTo>
                  <a:pt x="471" y="201"/>
                </a:lnTo>
                <a:lnTo>
                  <a:pt x="488" y="202"/>
                </a:lnTo>
                <a:lnTo>
                  <a:pt x="508" y="206"/>
                </a:lnTo>
                <a:lnTo>
                  <a:pt x="526" y="212"/>
                </a:lnTo>
                <a:lnTo>
                  <a:pt x="547" y="219"/>
                </a:lnTo>
                <a:lnTo>
                  <a:pt x="566" y="228"/>
                </a:lnTo>
                <a:lnTo>
                  <a:pt x="586" y="238"/>
                </a:lnTo>
                <a:lnTo>
                  <a:pt x="605" y="249"/>
                </a:lnTo>
                <a:lnTo>
                  <a:pt x="626" y="261"/>
                </a:lnTo>
                <a:lnTo>
                  <a:pt x="664" y="287"/>
                </a:lnTo>
                <a:lnTo>
                  <a:pt x="700" y="312"/>
                </a:lnTo>
                <a:lnTo>
                  <a:pt x="734" y="335"/>
                </a:lnTo>
                <a:lnTo>
                  <a:pt x="763" y="355"/>
                </a:lnTo>
                <a:lnTo>
                  <a:pt x="763" y="373"/>
                </a:lnTo>
                <a:lnTo>
                  <a:pt x="764" y="390"/>
                </a:lnTo>
                <a:lnTo>
                  <a:pt x="765" y="407"/>
                </a:lnTo>
                <a:lnTo>
                  <a:pt x="767" y="424"/>
                </a:lnTo>
                <a:lnTo>
                  <a:pt x="778" y="430"/>
                </a:lnTo>
                <a:lnTo>
                  <a:pt x="790" y="438"/>
                </a:lnTo>
                <a:lnTo>
                  <a:pt x="807" y="424"/>
                </a:lnTo>
                <a:lnTo>
                  <a:pt x="826" y="411"/>
                </a:lnTo>
                <a:lnTo>
                  <a:pt x="847" y="416"/>
                </a:lnTo>
                <a:lnTo>
                  <a:pt x="876" y="425"/>
                </a:lnTo>
                <a:lnTo>
                  <a:pt x="924" y="441"/>
                </a:lnTo>
                <a:lnTo>
                  <a:pt x="1002" y="465"/>
                </a:lnTo>
                <a:lnTo>
                  <a:pt x="1011" y="477"/>
                </a:lnTo>
                <a:lnTo>
                  <a:pt x="1020" y="487"/>
                </a:lnTo>
                <a:lnTo>
                  <a:pt x="1029" y="494"/>
                </a:lnTo>
                <a:lnTo>
                  <a:pt x="1038" y="496"/>
                </a:lnTo>
                <a:lnTo>
                  <a:pt x="1048" y="496"/>
                </a:lnTo>
                <a:lnTo>
                  <a:pt x="1054" y="495"/>
                </a:lnTo>
                <a:lnTo>
                  <a:pt x="1062" y="491"/>
                </a:lnTo>
                <a:lnTo>
                  <a:pt x="1067" y="485"/>
                </a:lnTo>
                <a:lnTo>
                  <a:pt x="1072" y="477"/>
                </a:lnTo>
                <a:lnTo>
                  <a:pt x="1075" y="468"/>
                </a:lnTo>
                <a:lnTo>
                  <a:pt x="1078" y="457"/>
                </a:lnTo>
                <a:lnTo>
                  <a:pt x="1079" y="446"/>
                </a:lnTo>
                <a:lnTo>
                  <a:pt x="1078" y="434"/>
                </a:lnTo>
                <a:lnTo>
                  <a:pt x="1075" y="421"/>
                </a:lnTo>
                <a:lnTo>
                  <a:pt x="1071" y="408"/>
                </a:lnTo>
                <a:lnTo>
                  <a:pt x="1065" y="395"/>
                </a:lnTo>
                <a:lnTo>
                  <a:pt x="1078" y="378"/>
                </a:lnTo>
                <a:lnTo>
                  <a:pt x="1087" y="360"/>
                </a:lnTo>
                <a:lnTo>
                  <a:pt x="1093" y="343"/>
                </a:lnTo>
                <a:lnTo>
                  <a:pt x="1097" y="326"/>
                </a:lnTo>
                <a:lnTo>
                  <a:pt x="1100" y="308"/>
                </a:lnTo>
                <a:lnTo>
                  <a:pt x="1100" y="288"/>
                </a:lnTo>
                <a:lnTo>
                  <a:pt x="1098" y="269"/>
                </a:lnTo>
                <a:lnTo>
                  <a:pt x="1096" y="247"/>
                </a:lnTo>
                <a:lnTo>
                  <a:pt x="1079" y="240"/>
                </a:lnTo>
                <a:lnTo>
                  <a:pt x="1066" y="234"/>
                </a:lnTo>
                <a:lnTo>
                  <a:pt x="1061" y="228"/>
                </a:lnTo>
                <a:lnTo>
                  <a:pt x="1055" y="225"/>
                </a:lnTo>
                <a:lnTo>
                  <a:pt x="1050" y="218"/>
                </a:lnTo>
                <a:lnTo>
                  <a:pt x="1046" y="210"/>
                </a:lnTo>
                <a:lnTo>
                  <a:pt x="1065" y="186"/>
                </a:lnTo>
                <a:lnTo>
                  <a:pt x="1083" y="160"/>
                </a:lnTo>
                <a:lnTo>
                  <a:pt x="1102" y="134"/>
                </a:lnTo>
                <a:lnTo>
                  <a:pt x="1122" y="106"/>
                </a:lnTo>
                <a:lnTo>
                  <a:pt x="1140" y="79"/>
                </a:lnTo>
                <a:lnTo>
                  <a:pt x="1158" y="53"/>
                </a:lnTo>
                <a:lnTo>
                  <a:pt x="1176" y="26"/>
                </a:lnTo>
                <a:lnTo>
                  <a:pt x="1192" y="0"/>
                </a:lnTo>
                <a:lnTo>
                  <a:pt x="1208" y="1"/>
                </a:lnTo>
                <a:lnTo>
                  <a:pt x="1223" y="2"/>
                </a:lnTo>
                <a:lnTo>
                  <a:pt x="1240" y="5"/>
                </a:lnTo>
                <a:lnTo>
                  <a:pt x="1256" y="7"/>
                </a:lnTo>
                <a:lnTo>
                  <a:pt x="1270" y="14"/>
                </a:lnTo>
                <a:lnTo>
                  <a:pt x="1286" y="19"/>
                </a:lnTo>
                <a:lnTo>
                  <a:pt x="1303" y="24"/>
                </a:lnTo>
                <a:lnTo>
                  <a:pt x="1320" y="28"/>
                </a:lnTo>
                <a:lnTo>
                  <a:pt x="1336" y="31"/>
                </a:lnTo>
                <a:lnTo>
                  <a:pt x="1353" y="33"/>
                </a:lnTo>
                <a:lnTo>
                  <a:pt x="1372" y="35"/>
                </a:lnTo>
                <a:lnTo>
                  <a:pt x="1390" y="36"/>
                </a:lnTo>
                <a:lnTo>
                  <a:pt x="1426" y="36"/>
                </a:lnTo>
                <a:lnTo>
                  <a:pt x="1463" y="36"/>
                </a:lnTo>
                <a:lnTo>
                  <a:pt x="1498" y="35"/>
                </a:lnTo>
                <a:lnTo>
                  <a:pt x="1530" y="33"/>
                </a:lnTo>
                <a:lnTo>
                  <a:pt x="1550" y="16"/>
                </a:lnTo>
                <a:lnTo>
                  <a:pt x="1565" y="3"/>
                </a:lnTo>
                <a:lnTo>
                  <a:pt x="1569" y="2"/>
                </a:lnTo>
                <a:lnTo>
                  <a:pt x="1573" y="1"/>
                </a:lnTo>
                <a:lnTo>
                  <a:pt x="1577" y="1"/>
                </a:lnTo>
                <a:lnTo>
                  <a:pt x="1581" y="1"/>
                </a:lnTo>
                <a:lnTo>
                  <a:pt x="1586" y="3"/>
                </a:lnTo>
                <a:lnTo>
                  <a:pt x="1591" y="6"/>
                </a:lnTo>
                <a:lnTo>
                  <a:pt x="1598" y="11"/>
                </a:lnTo>
                <a:lnTo>
                  <a:pt x="1603" y="16"/>
                </a:lnTo>
                <a:lnTo>
                  <a:pt x="1627" y="18"/>
                </a:lnTo>
                <a:lnTo>
                  <a:pt x="1645" y="16"/>
                </a:lnTo>
                <a:lnTo>
                  <a:pt x="1663" y="15"/>
                </a:lnTo>
                <a:lnTo>
                  <a:pt x="1684" y="15"/>
                </a:lnTo>
                <a:lnTo>
                  <a:pt x="1738" y="59"/>
                </a:lnTo>
                <a:lnTo>
                  <a:pt x="1790" y="102"/>
                </a:lnTo>
                <a:lnTo>
                  <a:pt x="1844" y="144"/>
                </a:lnTo>
                <a:lnTo>
                  <a:pt x="1896" y="184"/>
                </a:lnTo>
                <a:lnTo>
                  <a:pt x="1950" y="223"/>
                </a:lnTo>
                <a:lnTo>
                  <a:pt x="2006" y="261"/>
                </a:lnTo>
                <a:lnTo>
                  <a:pt x="2036" y="279"/>
                </a:lnTo>
                <a:lnTo>
                  <a:pt x="2066" y="296"/>
                </a:lnTo>
                <a:lnTo>
                  <a:pt x="2096" y="313"/>
                </a:lnTo>
                <a:lnTo>
                  <a:pt x="2129" y="330"/>
                </a:lnTo>
                <a:lnTo>
                  <a:pt x="2213" y="387"/>
                </a:lnTo>
                <a:lnTo>
                  <a:pt x="2284" y="433"/>
                </a:lnTo>
                <a:lnTo>
                  <a:pt x="2342" y="470"/>
                </a:lnTo>
                <a:lnTo>
                  <a:pt x="2390" y="502"/>
                </a:lnTo>
                <a:lnTo>
                  <a:pt x="2433" y="529"/>
                </a:lnTo>
                <a:lnTo>
                  <a:pt x="2473" y="555"/>
                </a:lnTo>
                <a:lnTo>
                  <a:pt x="2513" y="581"/>
                </a:lnTo>
                <a:lnTo>
                  <a:pt x="2555" y="611"/>
                </a:lnTo>
                <a:lnTo>
                  <a:pt x="2568" y="615"/>
                </a:lnTo>
                <a:lnTo>
                  <a:pt x="2581" y="617"/>
                </a:lnTo>
                <a:lnTo>
                  <a:pt x="2596" y="620"/>
                </a:lnTo>
                <a:lnTo>
                  <a:pt x="2610" y="621"/>
                </a:lnTo>
                <a:lnTo>
                  <a:pt x="2639" y="621"/>
                </a:lnTo>
                <a:lnTo>
                  <a:pt x="2670" y="620"/>
                </a:lnTo>
                <a:lnTo>
                  <a:pt x="2700" y="617"/>
                </a:lnTo>
                <a:lnTo>
                  <a:pt x="2730" y="615"/>
                </a:lnTo>
                <a:lnTo>
                  <a:pt x="2760" y="612"/>
                </a:lnTo>
                <a:lnTo>
                  <a:pt x="2787" y="611"/>
                </a:lnTo>
                <a:lnTo>
                  <a:pt x="2809" y="603"/>
                </a:lnTo>
                <a:lnTo>
                  <a:pt x="2827" y="595"/>
                </a:lnTo>
                <a:lnTo>
                  <a:pt x="2835" y="591"/>
                </a:lnTo>
                <a:lnTo>
                  <a:pt x="2842" y="588"/>
                </a:lnTo>
                <a:lnTo>
                  <a:pt x="2848" y="582"/>
                </a:lnTo>
                <a:lnTo>
                  <a:pt x="2853" y="578"/>
                </a:lnTo>
                <a:lnTo>
                  <a:pt x="2857" y="573"/>
                </a:lnTo>
                <a:lnTo>
                  <a:pt x="2862" y="567"/>
                </a:lnTo>
                <a:lnTo>
                  <a:pt x="2865" y="560"/>
                </a:lnTo>
                <a:lnTo>
                  <a:pt x="2869" y="552"/>
                </a:lnTo>
                <a:lnTo>
                  <a:pt x="2876" y="534"/>
                </a:lnTo>
                <a:lnTo>
                  <a:pt x="2882" y="511"/>
                </a:lnTo>
                <a:lnTo>
                  <a:pt x="2908" y="511"/>
                </a:lnTo>
                <a:lnTo>
                  <a:pt x="2931" y="511"/>
                </a:lnTo>
                <a:lnTo>
                  <a:pt x="2952" y="509"/>
                </a:lnTo>
                <a:lnTo>
                  <a:pt x="2970" y="506"/>
                </a:lnTo>
                <a:lnTo>
                  <a:pt x="2980" y="502"/>
                </a:lnTo>
                <a:lnTo>
                  <a:pt x="2987" y="498"/>
                </a:lnTo>
                <a:lnTo>
                  <a:pt x="2995" y="493"/>
                </a:lnTo>
                <a:lnTo>
                  <a:pt x="3003" y="486"/>
                </a:lnTo>
                <a:lnTo>
                  <a:pt x="3011" y="478"/>
                </a:lnTo>
                <a:lnTo>
                  <a:pt x="3017" y="470"/>
                </a:lnTo>
                <a:lnTo>
                  <a:pt x="3024" y="460"/>
                </a:lnTo>
                <a:lnTo>
                  <a:pt x="3030" y="447"/>
                </a:lnTo>
                <a:lnTo>
                  <a:pt x="3072" y="435"/>
                </a:lnTo>
                <a:lnTo>
                  <a:pt x="3111" y="426"/>
                </a:lnTo>
                <a:lnTo>
                  <a:pt x="3131" y="422"/>
                </a:lnTo>
                <a:lnTo>
                  <a:pt x="3150" y="418"/>
                </a:lnTo>
                <a:lnTo>
                  <a:pt x="3170" y="416"/>
                </a:lnTo>
                <a:lnTo>
                  <a:pt x="3190" y="414"/>
                </a:lnTo>
                <a:lnTo>
                  <a:pt x="3181" y="435"/>
                </a:lnTo>
                <a:lnTo>
                  <a:pt x="3171" y="457"/>
                </a:lnTo>
                <a:lnTo>
                  <a:pt x="3163" y="478"/>
                </a:lnTo>
                <a:lnTo>
                  <a:pt x="3155" y="500"/>
                </a:lnTo>
                <a:lnTo>
                  <a:pt x="3149" y="524"/>
                </a:lnTo>
                <a:lnTo>
                  <a:pt x="3145" y="546"/>
                </a:lnTo>
                <a:lnTo>
                  <a:pt x="3144" y="558"/>
                </a:lnTo>
                <a:lnTo>
                  <a:pt x="3144" y="568"/>
                </a:lnTo>
                <a:lnTo>
                  <a:pt x="3144" y="580"/>
                </a:lnTo>
                <a:lnTo>
                  <a:pt x="3145" y="591"/>
                </a:lnTo>
                <a:lnTo>
                  <a:pt x="3162" y="601"/>
                </a:lnTo>
                <a:lnTo>
                  <a:pt x="3175" y="608"/>
                </a:lnTo>
                <a:lnTo>
                  <a:pt x="3180" y="612"/>
                </a:lnTo>
                <a:lnTo>
                  <a:pt x="3184" y="617"/>
                </a:lnTo>
                <a:lnTo>
                  <a:pt x="3188" y="621"/>
                </a:lnTo>
                <a:lnTo>
                  <a:pt x="3189" y="625"/>
                </a:lnTo>
                <a:lnTo>
                  <a:pt x="3190" y="630"/>
                </a:lnTo>
                <a:lnTo>
                  <a:pt x="3192" y="634"/>
                </a:lnTo>
                <a:lnTo>
                  <a:pt x="3192" y="640"/>
                </a:lnTo>
                <a:lnTo>
                  <a:pt x="3192" y="643"/>
                </a:lnTo>
                <a:lnTo>
                  <a:pt x="3188" y="653"/>
                </a:lnTo>
                <a:lnTo>
                  <a:pt x="3183" y="662"/>
                </a:lnTo>
                <a:lnTo>
                  <a:pt x="3175" y="671"/>
                </a:lnTo>
                <a:lnTo>
                  <a:pt x="3167" y="680"/>
                </a:lnTo>
                <a:lnTo>
                  <a:pt x="3157" y="689"/>
                </a:lnTo>
                <a:lnTo>
                  <a:pt x="3146" y="698"/>
                </a:lnTo>
                <a:lnTo>
                  <a:pt x="3124" y="716"/>
                </a:lnTo>
                <a:lnTo>
                  <a:pt x="3103" y="733"/>
                </a:lnTo>
                <a:lnTo>
                  <a:pt x="3075" y="740"/>
                </a:lnTo>
                <a:lnTo>
                  <a:pt x="3052" y="745"/>
                </a:lnTo>
                <a:lnTo>
                  <a:pt x="3043" y="748"/>
                </a:lnTo>
                <a:lnTo>
                  <a:pt x="3034" y="751"/>
                </a:lnTo>
                <a:lnTo>
                  <a:pt x="3028" y="755"/>
                </a:lnTo>
                <a:lnTo>
                  <a:pt x="3021" y="759"/>
                </a:lnTo>
                <a:lnTo>
                  <a:pt x="3015" y="766"/>
                </a:lnTo>
                <a:lnTo>
                  <a:pt x="3010" y="772"/>
                </a:lnTo>
                <a:lnTo>
                  <a:pt x="3004" y="779"/>
                </a:lnTo>
                <a:lnTo>
                  <a:pt x="3000" y="788"/>
                </a:lnTo>
                <a:lnTo>
                  <a:pt x="2990" y="810"/>
                </a:lnTo>
                <a:lnTo>
                  <a:pt x="2978" y="837"/>
                </a:lnTo>
                <a:lnTo>
                  <a:pt x="2942" y="837"/>
                </a:lnTo>
                <a:lnTo>
                  <a:pt x="2907" y="837"/>
                </a:lnTo>
                <a:lnTo>
                  <a:pt x="2872" y="837"/>
                </a:lnTo>
                <a:lnTo>
                  <a:pt x="2836" y="839"/>
                </a:lnTo>
                <a:lnTo>
                  <a:pt x="2803" y="841"/>
                </a:lnTo>
                <a:lnTo>
                  <a:pt x="2768" y="846"/>
                </a:lnTo>
                <a:lnTo>
                  <a:pt x="2751" y="849"/>
                </a:lnTo>
                <a:lnTo>
                  <a:pt x="2732" y="854"/>
                </a:lnTo>
                <a:lnTo>
                  <a:pt x="2715" y="858"/>
                </a:lnTo>
                <a:lnTo>
                  <a:pt x="2699" y="865"/>
                </a:lnTo>
                <a:lnTo>
                  <a:pt x="2692" y="879"/>
                </a:lnTo>
                <a:lnTo>
                  <a:pt x="2688" y="893"/>
                </a:lnTo>
                <a:lnTo>
                  <a:pt x="2683" y="908"/>
                </a:lnTo>
                <a:lnTo>
                  <a:pt x="2679" y="922"/>
                </a:lnTo>
                <a:lnTo>
                  <a:pt x="2658" y="923"/>
                </a:lnTo>
                <a:lnTo>
                  <a:pt x="2643" y="924"/>
                </a:lnTo>
                <a:lnTo>
                  <a:pt x="2628" y="927"/>
                </a:lnTo>
                <a:lnTo>
                  <a:pt x="2618" y="932"/>
                </a:lnTo>
                <a:lnTo>
                  <a:pt x="2609" y="940"/>
                </a:lnTo>
                <a:lnTo>
                  <a:pt x="2600" y="950"/>
                </a:lnTo>
                <a:lnTo>
                  <a:pt x="2592" y="963"/>
                </a:lnTo>
                <a:lnTo>
                  <a:pt x="2583" y="980"/>
                </a:lnTo>
                <a:lnTo>
                  <a:pt x="2553" y="979"/>
                </a:lnTo>
                <a:lnTo>
                  <a:pt x="2519" y="979"/>
                </a:lnTo>
                <a:lnTo>
                  <a:pt x="2502" y="980"/>
                </a:lnTo>
                <a:lnTo>
                  <a:pt x="2485" y="982"/>
                </a:lnTo>
                <a:lnTo>
                  <a:pt x="2467" y="983"/>
                </a:lnTo>
                <a:lnTo>
                  <a:pt x="2450" y="986"/>
                </a:lnTo>
                <a:lnTo>
                  <a:pt x="2434" y="989"/>
                </a:lnTo>
                <a:lnTo>
                  <a:pt x="2419" y="993"/>
                </a:lnTo>
                <a:lnTo>
                  <a:pt x="2403" y="1000"/>
                </a:lnTo>
                <a:lnTo>
                  <a:pt x="2390" y="1008"/>
                </a:lnTo>
                <a:lnTo>
                  <a:pt x="2379" y="1017"/>
                </a:lnTo>
                <a:lnTo>
                  <a:pt x="2367" y="1029"/>
                </a:lnTo>
                <a:lnTo>
                  <a:pt x="2363" y="1035"/>
                </a:lnTo>
                <a:lnTo>
                  <a:pt x="2359" y="1042"/>
                </a:lnTo>
                <a:lnTo>
                  <a:pt x="2355" y="1049"/>
                </a:lnTo>
                <a:lnTo>
                  <a:pt x="2351" y="1057"/>
                </a:lnTo>
                <a:lnTo>
                  <a:pt x="2294" y="1053"/>
                </a:lnTo>
                <a:lnTo>
                  <a:pt x="2238" y="1049"/>
                </a:lnTo>
                <a:lnTo>
                  <a:pt x="2212" y="1048"/>
                </a:lnTo>
                <a:lnTo>
                  <a:pt x="2187" y="1048"/>
                </a:lnTo>
                <a:lnTo>
                  <a:pt x="2163" y="1049"/>
                </a:lnTo>
                <a:lnTo>
                  <a:pt x="2140" y="1052"/>
                </a:lnTo>
                <a:lnTo>
                  <a:pt x="2130" y="1055"/>
                </a:lnTo>
                <a:lnTo>
                  <a:pt x="2120" y="1058"/>
                </a:lnTo>
                <a:lnTo>
                  <a:pt x="2109" y="1061"/>
                </a:lnTo>
                <a:lnTo>
                  <a:pt x="2100" y="1066"/>
                </a:lnTo>
                <a:lnTo>
                  <a:pt x="2091" y="1071"/>
                </a:lnTo>
                <a:lnTo>
                  <a:pt x="2082" y="1078"/>
                </a:lnTo>
                <a:lnTo>
                  <a:pt x="2074" y="1084"/>
                </a:lnTo>
                <a:lnTo>
                  <a:pt x="2066" y="1094"/>
                </a:lnTo>
                <a:lnTo>
                  <a:pt x="2058" y="1103"/>
                </a:lnTo>
                <a:lnTo>
                  <a:pt x="2052" y="1112"/>
                </a:lnTo>
                <a:lnTo>
                  <a:pt x="2045" y="1123"/>
                </a:lnTo>
                <a:lnTo>
                  <a:pt x="2040" y="1136"/>
                </a:lnTo>
                <a:lnTo>
                  <a:pt x="2035" y="1150"/>
                </a:lnTo>
                <a:lnTo>
                  <a:pt x="2030" y="1165"/>
                </a:lnTo>
                <a:lnTo>
                  <a:pt x="2026" y="1182"/>
                </a:lnTo>
                <a:lnTo>
                  <a:pt x="2023" y="1199"/>
                </a:lnTo>
                <a:lnTo>
                  <a:pt x="2016" y="1208"/>
                </a:lnTo>
                <a:lnTo>
                  <a:pt x="2009" y="1216"/>
                </a:lnTo>
                <a:lnTo>
                  <a:pt x="2004" y="1225"/>
                </a:lnTo>
                <a:lnTo>
                  <a:pt x="2001" y="1233"/>
                </a:lnTo>
                <a:lnTo>
                  <a:pt x="1996" y="1252"/>
                </a:lnTo>
                <a:lnTo>
                  <a:pt x="1992" y="1274"/>
                </a:lnTo>
                <a:lnTo>
                  <a:pt x="1979" y="1281"/>
                </a:lnTo>
                <a:lnTo>
                  <a:pt x="1967" y="1287"/>
                </a:lnTo>
                <a:lnTo>
                  <a:pt x="1957" y="1295"/>
                </a:lnTo>
                <a:lnTo>
                  <a:pt x="1948" y="1303"/>
                </a:lnTo>
                <a:lnTo>
                  <a:pt x="1939" y="1312"/>
                </a:lnTo>
                <a:lnTo>
                  <a:pt x="1931" y="1321"/>
                </a:lnTo>
                <a:lnTo>
                  <a:pt x="1923" y="1332"/>
                </a:lnTo>
                <a:lnTo>
                  <a:pt x="1917" y="1341"/>
                </a:lnTo>
                <a:lnTo>
                  <a:pt x="1893" y="1386"/>
                </a:lnTo>
                <a:lnTo>
                  <a:pt x="1871" y="1436"/>
                </a:lnTo>
                <a:lnTo>
                  <a:pt x="1844" y="1450"/>
                </a:lnTo>
                <a:lnTo>
                  <a:pt x="1822" y="1463"/>
                </a:lnTo>
                <a:lnTo>
                  <a:pt x="1818" y="1467"/>
                </a:lnTo>
                <a:lnTo>
                  <a:pt x="1814" y="1471"/>
                </a:lnTo>
                <a:lnTo>
                  <a:pt x="1810" y="1476"/>
                </a:lnTo>
                <a:lnTo>
                  <a:pt x="1807" y="1481"/>
                </a:lnTo>
                <a:lnTo>
                  <a:pt x="1805" y="1488"/>
                </a:lnTo>
                <a:lnTo>
                  <a:pt x="1802" y="1494"/>
                </a:lnTo>
                <a:lnTo>
                  <a:pt x="1801" y="1502"/>
                </a:lnTo>
                <a:lnTo>
                  <a:pt x="1800" y="1511"/>
                </a:lnTo>
                <a:lnTo>
                  <a:pt x="1785" y="1514"/>
                </a:lnTo>
                <a:lnTo>
                  <a:pt x="1772" y="1516"/>
                </a:lnTo>
                <a:lnTo>
                  <a:pt x="1762" y="1540"/>
                </a:lnTo>
                <a:lnTo>
                  <a:pt x="1754" y="1562"/>
                </a:lnTo>
                <a:lnTo>
                  <a:pt x="1746" y="1581"/>
                </a:lnTo>
                <a:lnTo>
                  <a:pt x="1741" y="1601"/>
                </a:lnTo>
                <a:lnTo>
                  <a:pt x="1738" y="1620"/>
                </a:lnTo>
                <a:lnTo>
                  <a:pt x="1736" y="1643"/>
                </a:lnTo>
                <a:lnTo>
                  <a:pt x="1736" y="1666"/>
                </a:lnTo>
                <a:lnTo>
                  <a:pt x="1736" y="1692"/>
                </a:lnTo>
                <a:lnTo>
                  <a:pt x="1731" y="1693"/>
                </a:lnTo>
                <a:lnTo>
                  <a:pt x="1725" y="1695"/>
                </a:lnTo>
                <a:lnTo>
                  <a:pt x="1720" y="1697"/>
                </a:lnTo>
                <a:lnTo>
                  <a:pt x="1714" y="1701"/>
                </a:lnTo>
                <a:lnTo>
                  <a:pt x="1696" y="1714"/>
                </a:lnTo>
                <a:lnTo>
                  <a:pt x="1663" y="1740"/>
                </a:lnTo>
                <a:lnTo>
                  <a:pt x="1655" y="1758"/>
                </a:lnTo>
                <a:lnTo>
                  <a:pt x="1646" y="1775"/>
                </a:lnTo>
                <a:lnTo>
                  <a:pt x="1638" y="1790"/>
                </a:lnTo>
                <a:lnTo>
                  <a:pt x="1629" y="1803"/>
                </a:lnTo>
                <a:lnTo>
                  <a:pt x="1620" y="1814"/>
                </a:lnTo>
                <a:lnTo>
                  <a:pt x="1611" y="1825"/>
                </a:lnTo>
                <a:lnTo>
                  <a:pt x="1601" y="1832"/>
                </a:lnTo>
                <a:lnTo>
                  <a:pt x="1590" y="1840"/>
                </a:lnTo>
                <a:lnTo>
                  <a:pt x="1578" y="1847"/>
                </a:lnTo>
                <a:lnTo>
                  <a:pt x="1567" y="1852"/>
                </a:lnTo>
                <a:lnTo>
                  <a:pt x="1552" y="1856"/>
                </a:lnTo>
                <a:lnTo>
                  <a:pt x="1538" y="1860"/>
                </a:lnTo>
                <a:lnTo>
                  <a:pt x="1506" y="1866"/>
                </a:lnTo>
                <a:lnTo>
                  <a:pt x="1467" y="1870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51" name="Freeform 124"/>
          <p:cNvSpPr>
            <a:spLocks/>
          </p:cNvSpPr>
          <p:nvPr/>
        </p:nvSpPr>
        <p:spPr bwMode="auto">
          <a:xfrm>
            <a:off x="1824038" y="2660650"/>
            <a:ext cx="458787" cy="261938"/>
          </a:xfrm>
          <a:custGeom>
            <a:avLst/>
            <a:gdLst>
              <a:gd name="T0" fmla="*/ 2147483647 w 1157"/>
              <a:gd name="T1" fmla="*/ 2147483647 h 661"/>
              <a:gd name="T2" fmla="*/ 2147483647 w 1157"/>
              <a:gd name="T3" fmla="*/ 2147483647 h 661"/>
              <a:gd name="T4" fmla="*/ 2147483647 w 1157"/>
              <a:gd name="T5" fmla="*/ 2147483647 h 661"/>
              <a:gd name="T6" fmla="*/ 2147483647 w 1157"/>
              <a:gd name="T7" fmla="*/ 2147483647 h 661"/>
              <a:gd name="T8" fmla="*/ 2147483647 w 1157"/>
              <a:gd name="T9" fmla="*/ 2147483647 h 661"/>
              <a:gd name="T10" fmla="*/ 2147483647 w 1157"/>
              <a:gd name="T11" fmla="*/ 2147483647 h 661"/>
              <a:gd name="T12" fmla="*/ 2147483647 w 1157"/>
              <a:gd name="T13" fmla="*/ 2147483647 h 661"/>
              <a:gd name="T14" fmla="*/ 2147483647 w 1157"/>
              <a:gd name="T15" fmla="*/ 2147483647 h 661"/>
              <a:gd name="T16" fmla="*/ 2147483647 w 1157"/>
              <a:gd name="T17" fmla="*/ 2147483647 h 661"/>
              <a:gd name="T18" fmla="*/ 2147483647 w 1157"/>
              <a:gd name="T19" fmla="*/ 2147483647 h 661"/>
              <a:gd name="T20" fmla="*/ 2147483647 w 1157"/>
              <a:gd name="T21" fmla="*/ 2147483647 h 661"/>
              <a:gd name="T22" fmla="*/ 2147483647 w 1157"/>
              <a:gd name="T23" fmla="*/ 2147483647 h 661"/>
              <a:gd name="T24" fmla="*/ 2147483647 w 1157"/>
              <a:gd name="T25" fmla="*/ 2147483647 h 661"/>
              <a:gd name="T26" fmla="*/ 2147483647 w 1157"/>
              <a:gd name="T27" fmla="*/ 2147483647 h 661"/>
              <a:gd name="T28" fmla="*/ 2147483647 w 1157"/>
              <a:gd name="T29" fmla="*/ 2147483647 h 661"/>
              <a:gd name="T30" fmla="*/ 2147483647 w 1157"/>
              <a:gd name="T31" fmla="*/ 2147483647 h 661"/>
              <a:gd name="T32" fmla="*/ 2147483647 w 1157"/>
              <a:gd name="T33" fmla="*/ 2147483647 h 661"/>
              <a:gd name="T34" fmla="*/ 2147483647 w 1157"/>
              <a:gd name="T35" fmla="*/ 2147483647 h 661"/>
              <a:gd name="T36" fmla="*/ 2147483647 w 1157"/>
              <a:gd name="T37" fmla="*/ 2147483647 h 661"/>
              <a:gd name="T38" fmla="*/ 2147483647 w 1157"/>
              <a:gd name="T39" fmla="*/ 2147483647 h 661"/>
              <a:gd name="T40" fmla="*/ 2147483647 w 1157"/>
              <a:gd name="T41" fmla="*/ 2147483647 h 661"/>
              <a:gd name="T42" fmla="*/ 2147483647 w 1157"/>
              <a:gd name="T43" fmla="*/ 2147483647 h 661"/>
              <a:gd name="T44" fmla="*/ 2147483647 w 1157"/>
              <a:gd name="T45" fmla="*/ 2147483647 h 661"/>
              <a:gd name="T46" fmla="*/ 2147483647 w 1157"/>
              <a:gd name="T47" fmla="*/ 2147483647 h 661"/>
              <a:gd name="T48" fmla="*/ 2147483647 w 1157"/>
              <a:gd name="T49" fmla="*/ 2147483647 h 661"/>
              <a:gd name="T50" fmla="*/ 2147483647 w 1157"/>
              <a:gd name="T51" fmla="*/ 2147483647 h 661"/>
              <a:gd name="T52" fmla="*/ 2147483647 w 1157"/>
              <a:gd name="T53" fmla="*/ 2147483647 h 661"/>
              <a:gd name="T54" fmla="*/ 2147483647 w 1157"/>
              <a:gd name="T55" fmla="*/ 2147483647 h 661"/>
              <a:gd name="T56" fmla="*/ 2147483647 w 1157"/>
              <a:gd name="T57" fmla="*/ 2147483647 h 661"/>
              <a:gd name="T58" fmla="*/ 2147483647 w 1157"/>
              <a:gd name="T59" fmla="*/ 2147483647 h 661"/>
              <a:gd name="T60" fmla="*/ 2147483647 w 1157"/>
              <a:gd name="T61" fmla="*/ 0 h 661"/>
              <a:gd name="T62" fmla="*/ 2147483647 w 1157"/>
              <a:gd name="T63" fmla="*/ 2147483647 h 661"/>
              <a:gd name="T64" fmla="*/ 2147483647 w 1157"/>
              <a:gd name="T65" fmla="*/ 2147483647 h 661"/>
              <a:gd name="T66" fmla="*/ 2147483647 w 1157"/>
              <a:gd name="T67" fmla="*/ 2147483647 h 661"/>
              <a:gd name="T68" fmla="*/ 2147483647 w 1157"/>
              <a:gd name="T69" fmla="*/ 2147483647 h 661"/>
              <a:gd name="T70" fmla="*/ 2147483647 w 1157"/>
              <a:gd name="T71" fmla="*/ 2147483647 h 661"/>
              <a:gd name="T72" fmla="*/ 2147483647 w 1157"/>
              <a:gd name="T73" fmla="*/ 2147483647 h 661"/>
              <a:gd name="T74" fmla="*/ 2147483647 w 1157"/>
              <a:gd name="T75" fmla="*/ 2147483647 h 661"/>
              <a:gd name="T76" fmla="*/ 2147483647 w 1157"/>
              <a:gd name="T77" fmla="*/ 2147483647 h 661"/>
              <a:gd name="T78" fmla="*/ 2147483647 w 1157"/>
              <a:gd name="T79" fmla="*/ 2147483647 h 661"/>
              <a:gd name="T80" fmla="*/ 2147483647 w 1157"/>
              <a:gd name="T81" fmla="*/ 2147483647 h 661"/>
              <a:gd name="T82" fmla="*/ 2147483647 w 1157"/>
              <a:gd name="T83" fmla="*/ 2147483647 h 661"/>
              <a:gd name="T84" fmla="*/ 2147483647 w 1157"/>
              <a:gd name="T85" fmla="*/ 2147483647 h 661"/>
              <a:gd name="T86" fmla="*/ 2147483647 w 1157"/>
              <a:gd name="T87" fmla="*/ 2147483647 h 661"/>
              <a:gd name="T88" fmla="*/ 2147483647 w 1157"/>
              <a:gd name="T89" fmla="*/ 2147483647 h 661"/>
              <a:gd name="T90" fmla="*/ 2147483647 w 1157"/>
              <a:gd name="T91" fmla="*/ 2147483647 h 661"/>
              <a:gd name="T92" fmla="*/ 2147483647 w 1157"/>
              <a:gd name="T93" fmla="*/ 2147483647 h 661"/>
              <a:gd name="T94" fmla="*/ 2147483647 w 1157"/>
              <a:gd name="T95" fmla="*/ 2147483647 h 661"/>
              <a:gd name="T96" fmla="*/ 2147483647 w 1157"/>
              <a:gd name="T97" fmla="*/ 2147483647 h 661"/>
              <a:gd name="T98" fmla="*/ 2147483647 w 1157"/>
              <a:gd name="T99" fmla="*/ 2147483647 h 661"/>
              <a:gd name="T100" fmla="*/ 2147483647 w 1157"/>
              <a:gd name="T101" fmla="*/ 2147483647 h 661"/>
              <a:gd name="T102" fmla="*/ 2147483647 w 1157"/>
              <a:gd name="T103" fmla="*/ 2147483647 h 661"/>
              <a:gd name="T104" fmla="*/ 2147483647 w 1157"/>
              <a:gd name="T105" fmla="*/ 2147483647 h 66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157"/>
              <a:gd name="T160" fmla="*/ 0 h 661"/>
              <a:gd name="T161" fmla="*/ 1157 w 1157"/>
              <a:gd name="T162" fmla="*/ 661 h 661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157" h="661">
                <a:moveTo>
                  <a:pt x="782" y="661"/>
                </a:moveTo>
                <a:lnTo>
                  <a:pt x="772" y="657"/>
                </a:lnTo>
                <a:lnTo>
                  <a:pt x="761" y="655"/>
                </a:lnTo>
                <a:lnTo>
                  <a:pt x="751" y="653"/>
                </a:lnTo>
                <a:lnTo>
                  <a:pt x="741" y="653"/>
                </a:lnTo>
                <a:lnTo>
                  <a:pt x="720" y="653"/>
                </a:lnTo>
                <a:lnTo>
                  <a:pt x="698" y="656"/>
                </a:lnTo>
                <a:lnTo>
                  <a:pt x="695" y="640"/>
                </a:lnTo>
                <a:lnTo>
                  <a:pt x="695" y="629"/>
                </a:lnTo>
                <a:lnTo>
                  <a:pt x="696" y="614"/>
                </a:lnTo>
                <a:lnTo>
                  <a:pt x="700" y="592"/>
                </a:lnTo>
                <a:lnTo>
                  <a:pt x="690" y="574"/>
                </a:lnTo>
                <a:lnTo>
                  <a:pt x="679" y="561"/>
                </a:lnTo>
                <a:lnTo>
                  <a:pt x="674" y="556"/>
                </a:lnTo>
                <a:lnTo>
                  <a:pt x="669" y="551"/>
                </a:lnTo>
                <a:lnTo>
                  <a:pt x="662" y="548"/>
                </a:lnTo>
                <a:lnTo>
                  <a:pt x="657" y="545"/>
                </a:lnTo>
                <a:lnTo>
                  <a:pt x="651" y="544"/>
                </a:lnTo>
                <a:lnTo>
                  <a:pt x="644" y="543"/>
                </a:lnTo>
                <a:lnTo>
                  <a:pt x="638" y="544"/>
                </a:lnTo>
                <a:lnTo>
                  <a:pt x="630" y="545"/>
                </a:lnTo>
                <a:lnTo>
                  <a:pt x="614" y="549"/>
                </a:lnTo>
                <a:lnTo>
                  <a:pt x="597" y="557"/>
                </a:lnTo>
                <a:lnTo>
                  <a:pt x="587" y="571"/>
                </a:lnTo>
                <a:lnTo>
                  <a:pt x="578" y="583"/>
                </a:lnTo>
                <a:lnTo>
                  <a:pt x="568" y="594"/>
                </a:lnTo>
                <a:lnTo>
                  <a:pt x="557" y="601"/>
                </a:lnTo>
                <a:lnTo>
                  <a:pt x="545" y="607"/>
                </a:lnTo>
                <a:lnTo>
                  <a:pt x="535" y="612"/>
                </a:lnTo>
                <a:lnTo>
                  <a:pt x="523" y="613"/>
                </a:lnTo>
                <a:lnTo>
                  <a:pt x="512" y="614"/>
                </a:lnTo>
                <a:lnTo>
                  <a:pt x="499" y="613"/>
                </a:lnTo>
                <a:lnTo>
                  <a:pt x="487" y="612"/>
                </a:lnTo>
                <a:lnTo>
                  <a:pt x="474" y="608"/>
                </a:lnTo>
                <a:lnTo>
                  <a:pt x="461" y="603"/>
                </a:lnTo>
                <a:lnTo>
                  <a:pt x="448" y="597"/>
                </a:lnTo>
                <a:lnTo>
                  <a:pt x="435" y="590"/>
                </a:lnTo>
                <a:lnTo>
                  <a:pt x="420" y="582"/>
                </a:lnTo>
                <a:lnTo>
                  <a:pt x="406" y="573"/>
                </a:lnTo>
                <a:lnTo>
                  <a:pt x="402" y="543"/>
                </a:lnTo>
                <a:lnTo>
                  <a:pt x="398" y="526"/>
                </a:lnTo>
                <a:lnTo>
                  <a:pt x="396" y="515"/>
                </a:lnTo>
                <a:lnTo>
                  <a:pt x="391" y="506"/>
                </a:lnTo>
                <a:lnTo>
                  <a:pt x="365" y="506"/>
                </a:lnTo>
                <a:lnTo>
                  <a:pt x="337" y="508"/>
                </a:lnTo>
                <a:lnTo>
                  <a:pt x="313" y="509"/>
                </a:lnTo>
                <a:lnTo>
                  <a:pt x="293" y="508"/>
                </a:lnTo>
                <a:lnTo>
                  <a:pt x="299" y="496"/>
                </a:lnTo>
                <a:lnTo>
                  <a:pt x="305" y="486"/>
                </a:lnTo>
                <a:lnTo>
                  <a:pt x="309" y="476"/>
                </a:lnTo>
                <a:lnTo>
                  <a:pt x="311" y="467"/>
                </a:lnTo>
                <a:lnTo>
                  <a:pt x="311" y="460"/>
                </a:lnTo>
                <a:lnTo>
                  <a:pt x="310" y="452"/>
                </a:lnTo>
                <a:lnTo>
                  <a:pt x="307" y="445"/>
                </a:lnTo>
                <a:lnTo>
                  <a:pt x="305" y="439"/>
                </a:lnTo>
                <a:lnTo>
                  <a:pt x="299" y="432"/>
                </a:lnTo>
                <a:lnTo>
                  <a:pt x="294" y="426"/>
                </a:lnTo>
                <a:lnTo>
                  <a:pt x="288" y="419"/>
                </a:lnTo>
                <a:lnTo>
                  <a:pt x="280" y="413"/>
                </a:lnTo>
                <a:lnTo>
                  <a:pt x="263" y="400"/>
                </a:lnTo>
                <a:lnTo>
                  <a:pt x="245" y="384"/>
                </a:lnTo>
                <a:lnTo>
                  <a:pt x="237" y="370"/>
                </a:lnTo>
                <a:lnTo>
                  <a:pt x="232" y="358"/>
                </a:lnTo>
                <a:lnTo>
                  <a:pt x="227" y="339"/>
                </a:lnTo>
                <a:lnTo>
                  <a:pt x="218" y="307"/>
                </a:lnTo>
                <a:lnTo>
                  <a:pt x="205" y="307"/>
                </a:lnTo>
                <a:lnTo>
                  <a:pt x="193" y="307"/>
                </a:lnTo>
                <a:lnTo>
                  <a:pt x="186" y="319"/>
                </a:lnTo>
                <a:lnTo>
                  <a:pt x="180" y="327"/>
                </a:lnTo>
                <a:lnTo>
                  <a:pt x="172" y="335"/>
                </a:lnTo>
                <a:lnTo>
                  <a:pt x="163" y="340"/>
                </a:lnTo>
                <a:lnTo>
                  <a:pt x="154" y="342"/>
                </a:lnTo>
                <a:lnTo>
                  <a:pt x="143" y="345"/>
                </a:lnTo>
                <a:lnTo>
                  <a:pt x="132" y="348"/>
                </a:lnTo>
                <a:lnTo>
                  <a:pt x="119" y="348"/>
                </a:lnTo>
                <a:lnTo>
                  <a:pt x="106" y="332"/>
                </a:lnTo>
                <a:lnTo>
                  <a:pt x="93" y="320"/>
                </a:lnTo>
                <a:lnTo>
                  <a:pt x="80" y="311"/>
                </a:lnTo>
                <a:lnTo>
                  <a:pt x="65" y="303"/>
                </a:lnTo>
                <a:lnTo>
                  <a:pt x="37" y="292"/>
                </a:lnTo>
                <a:lnTo>
                  <a:pt x="0" y="277"/>
                </a:lnTo>
                <a:lnTo>
                  <a:pt x="13" y="259"/>
                </a:lnTo>
                <a:lnTo>
                  <a:pt x="25" y="244"/>
                </a:lnTo>
                <a:lnTo>
                  <a:pt x="37" y="232"/>
                </a:lnTo>
                <a:lnTo>
                  <a:pt x="48" y="221"/>
                </a:lnTo>
                <a:lnTo>
                  <a:pt x="61" y="214"/>
                </a:lnTo>
                <a:lnTo>
                  <a:pt x="76" y="205"/>
                </a:lnTo>
                <a:lnTo>
                  <a:pt x="93" y="197"/>
                </a:lnTo>
                <a:lnTo>
                  <a:pt x="115" y="189"/>
                </a:lnTo>
                <a:lnTo>
                  <a:pt x="115" y="181"/>
                </a:lnTo>
                <a:lnTo>
                  <a:pt x="115" y="175"/>
                </a:lnTo>
                <a:lnTo>
                  <a:pt x="165" y="156"/>
                </a:lnTo>
                <a:lnTo>
                  <a:pt x="216" y="136"/>
                </a:lnTo>
                <a:lnTo>
                  <a:pt x="228" y="129"/>
                </a:lnTo>
                <a:lnTo>
                  <a:pt x="240" y="123"/>
                </a:lnTo>
                <a:lnTo>
                  <a:pt x="250" y="115"/>
                </a:lnTo>
                <a:lnTo>
                  <a:pt x="259" y="106"/>
                </a:lnTo>
                <a:lnTo>
                  <a:pt x="267" y="95"/>
                </a:lnTo>
                <a:lnTo>
                  <a:pt x="273" y="85"/>
                </a:lnTo>
                <a:lnTo>
                  <a:pt x="279" y="73"/>
                </a:lnTo>
                <a:lnTo>
                  <a:pt x="281" y="60"/>
                </a:lnTo>
                <a:lnTo>
                  <a:pt x="292" y="59"/>
                </a:lnTo>
                <a:lnTo>
                  <a:pt x="301" y="58"/>
                </a:lnTo>
                <a:lnTo>
                  <a:pt x="309" y="56"/>
                </a:lnTo>
                <a:lnTo>
                  <a:pt x="316" y="54"/>
                </a:lnTo>
                <a:lnTo>
                  <a:pt x="332" y="46"/>
                </a:lnTo>
                <a:lnTo>
                  <a:pt x="345" y="38"/>
                </a:lnTo>
                <a:lnTo>
                  <a:pt x="358" y="30"/>
                </a:lnTo>
                <a:lnTo>
                  <a:pt x="372" y="22"/>
                </a:lnTo>
                <a:lnTo>
                  <a:pt x="379" y="19"/>
                </a:lnTo>
                <a:lnTo>
                  <a:pt x="387" y="16"/>
                </a:lnTo>
                <a:lnTo>
                  <a:pt x="394" y="13"/>
                </a:lnTo>
                <a:lnTo>
                  <a:pt x="402" y="12"/>
                </a:lnTo>
                <a:lnTo>
                  <a:pt x="457" y="32"/>
                </a:lnTo>
                <a:lnTo>
                  <a:pt x="486" y="42"/>
                </a:lnTo>
                <a:lnTo>
                  <a:pt x="495" y="45"/>
                </a:lnTo>
                <a:lnTo>
                  <a:pt x="501" y="46"/>
                </a:lnTo>
                <a:lnTo>
                  <a:pt x="508" y="46"/>
                </a:lnTo>
                <a:lnTo>
                  <a:pt x="514" y="46"/>
                </a:lnTo>
                <a:lnTo>
                  <a:pt x="522" y="34"/>
                </a:lnTo>
                <a:lnTo>
                  <a:pt x="527" y="26"/>
                </a:lnTo>
                <a:lnTo>
                  <a:pt x="530" y="17"/>
                </a:lnTo>
                <a:lnTo>
                  <a:pt x="531" y="2"/>
                </a:lnTo>
                <a:lnTo>
                  <a:pt x="549" y="0"/>
                </a:lnTo>
                <a:lnTo>
                  <a:pt x="566" y="0"/>
                </a:lnTo>
                <a:lnTo>
                  <a:pt x="564" y="12"/>
                </a:lnTo>
                <a:lnTo>
                  <a:pt x="562" y="22"/>
                </a:lnTo>
                <a:lnTo>
                  <a:pt x="561" y="30"/>
                </a:lnTo>
                <a:lnTo>
                  <a:pt x="562" y="38"/>
                </a:lnTo>
                <a:lnTo>
                  <a:pt x="565" y="45"/>
                </a:lnTo>
                <a:lnTo>
                  <a:pt x="569" y="51"/>
                </a:lnTo>
                <a:lnTo>
                  <a:pt x="578" y="58"/>
                </a:lnTo>
                <a:lnTo>
                  <a:pt x="590" y="63"/>
                </a:lnTo>
                <a:lnTo>
                  <a:pt x="591" y="74"/>
                </a:lnTo>
                <a:lnTo>
                  <a:pt x="594" y="84"/>
                </a:lnTo>
                <a:lnTo>
                  <a:pt x="596" y="91"/>
                </a:lnTo>
                <a:lnTo>
                  <a:pt x="600" y="99"/>
                </a:lnTo>
                <a:lnTo>
                  <a:pt x="604" y="104"/>
                </a:lnTo>
                <a:lnTo>
                  <a:pt x="608" y="111"/>
                </a:lnTo>
                <a:lnTo>
                  <a:pt x="613" y="115"/>
                </a:lnTo>
                <a:lnTo>
                  <a:pt x="620" y="120"/>
                </a:lnTo>
                <a:lnTo>
                  <a:pt x="633" y="128"/>
                </a:lnTo>
                <a:lnTo>
                  <a:pt x="648" y="134"/>
                </a:lnTo>
                <a:lnTo>
                  <a:pt x="665" y="142"/>
                </a:lnTo>
                <a:lnTo>
                  <a:pt x="686" y="150"/>
                </a:lnTo>
                <a:lnTo>
                  <a:pt x="687" y="155"/>
                </a:lnTo>
                <a:lnTo>
                  <a:pt x="690" y="163"/>
                </a:lnTo>
                <a:lnTo>
                  <a:pt x="696" y="173"/>
                </a:lnTo>
                <a:lnTo>
                  <a:pt x="703" y="184"/>
                </a:lnTo>
                <a:lnTo>
                  <a:pt x="721" y="210"/>
                </a:lnTo>
                <a:lnTo>
                  <a:pt x="743" y="237"/>
                </a:lnTo>
                <a:lnTo>
                  <a:pt x="767" y="264"/>
                </a:lnTo>
                <a:lnTo>
                  <a:pt x="789" y="289"/>
                </a:lnTo>
                <a:lnTo>
                  <a:pt x="807" y="309"/>
                </a:lnTo>
                <a:lnTo>
                  <a:pt x="820" y="319"/>
                </a:lnTo>
                <a:lnTo>
                  <a:pt x="836" y="324"/>
                </a:lnTo>
                <a:lnTo>
                  <a:pt x="851" y="329"/>
                </a:lnTo>
                <a:lnTo>
                  <a:pt x="865" y="336"/>
                </a:lnTo>
                <a:lnTo>
                  <a:pt x="878" y="344"/>
                </a:lnTo>
                <a:lnTo>
                  <a:pt x="906" y="359"/>
                </a:lnTo>
                <a:lnTo>
                  <a:pt x="932" y="375"/>
                </a:lnTo>
                <a:lnTo>
                  <a:pt x="945" y="383"/>
                </a:lnTo>
                <a:lnTo>
                  <a:pt x="959" y="389"/>
                </a:lnTo>
                <a:lnTo>
                  <a:pt x="973" y="394"/>
                </a:lnTo>
                <a:lnTo>
                  <a:pt x="988" y="400"/>
                </a:lnTo>
                <a:lnTo>
                  <a:pt x="1003" y="404"/>
                </a:lnTo>
                <a:lnTo>
                  <a:pt x="1020" y="406"/>
                </a:lnTo>
                <a:lnTo>
                  <a:pt x="1038" y="407"/>
                </a:lnTo>
                <a:lnTo>
                  <a:pt x="1057" y="406"/>
                </a:lnTo>
                <a:lnTo>
                  <a:pt x="1061" y="396"/>
                </a:lnTo>
                <a:lnTo>
                  <a:pt x="1066" y="388"/>
                </a:lnTo>
                <a:lnTo>
                  <a:pt x="1072" y="381"/>
                </a:lnTo>
                <a:lnTo>
                  <a:pt x="1079" y="376"/>
                </a:lnTo>
                <a:lnTo>
                  <a:pt x="1085" y="374"/>
                </a:lnTo>
                <a:lnTo>
                  <a:pt x="1093" y="372"/>
                </a:lnTo>
                <a:lnTo>
                  <a:pt x="1101" y="372"/>
                </a:lnTo>
                <a:lnTo>
                  <a:pt x="1109" y="372"/>
                </a:lnTo>
                <a:lnTo>
                  <a:pt x="1117" y="375"/>
                </a:lnTo>
                <a:lnTo>
                  <a:pt x="1124" y="378"/>
                </a:lnTo>
                <a:lnTo>
                  <a:pt x="1131" y="381"/>
                </a:lnTo>
                <a:lnTo>
                  <a:pt x="1139" y="387"/>
                </a:lnTo>
                <a:lnTo>
                  <a:pt x="1144" y="393"/>
                </a:lnTo>
                <a:lnTo>
                  <a:pt x="1149" y="400"/>
                </a:lnTo>
                <a:lnTo>
                  <a:pt x="1153" y="406"/>
                </a:lnTo>
                <a:lnTo>
                  <a:pt x="1157" y="414"/>
                </a:lnTo>
                <a:lnTo>
                  <a:pt x="1148" y="423"/>
                </a:lnTo>
                <a:lnTo>
                  <a:pt x="1141" y="431"/>
                </a:lnTo>
                <a:lnTo>
                  <a:pt x="1136" y="439"/>
                </a:lnTo>
                <a:lnTo>
                  <a:pt x="1132" y="447"/>
                </a:lnTo>
                <a:lnTo>
                  <a:pt x="1127" y="465"/>
                </a:lnTo>
                <a:lnTo>
                  <a:pt x="1122" y="491"/>
                </a:lnTo>
                <a:lnTo>
                  <a:pt x="1115" y="493"/>
                </a:lnTo>
                <a:lnTo>
                  <a:pt x="1109" y="496"/>
                </a:lnTo>
                <a:lnTo>
                  <a:pt x="1109" y="521"/>
                </a:lnTo>
                <a:lnTo>
                  <a:pt x="1109" y="547"/>
                </a:lnTo>
                <a:lnTo>
                  <a:pt x="1109" y="573"/>
                </a:lnTo>
                <a:lnTo>
                  <a:pt x="1109" y="597"/>
                </a:lnTo>
                <a:lnTo>
                  <a:pt x="1085" y="597"/>
                </a:lnTo>
                <a:lnTo>
                  <a:pt x="1057" y="595"/>
                </a:lnTo>
                <a:lnTo>
                  <a:pt x="1024" y="592"/>
                </a:lnTo>
                <a:lnTo>
                  <a:pt x="992" y="592"/>
                </a:lnTo>
                <a:lnTo>
                  <a:pt x="976" y="592"/>
                </a:lnTo>
                <a:lnTo>
                  <a:pt x="960" y="594"/>
                </a:lnTo>
                <a:lnTo>
                  <a:pt x="945" y="596"/>
                </a:lnTo>
                <a:lnTo>
                  <a:pt x="932" y="599"/>
                </a:lnTo>
                <a:lnTo>
                  <a:pt x="919" y="603"/>
                </a:lnTo>
                <a:lnTo>
                  <a:pt x="908" y="609"/>
                </a:lnTo>
                <a:lnTo>
                  <a:pt x="903" y="612"/>
                </a:lnTo>
                <a:lnTo>
                  <a:pt x="898" y="616"/>
                </a:lnTo>
                <a:lnTo>
                  <a:pt x="894" y="621"/>
                </a:lnTo>
                <a:lnTo>
                  <a:pt x="891" y="625"/>
                </a:lnTo>
                <a:lnTo>
                  <a:pt x="864" y="634"/>
                </a:lnTo>
                <a:lnTo>
                  <a:pt x="837" y="643"/>
                </a:lnTo>
                <a:lnTo>
                  <a:pt x="809" y="652"/>
                </a:lnTo>
                <a:lnTo>
                  <a:pt x="782" y="661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52" name="Freeform 125"/>
          <p:cNvSpPr>
            <a:spLocks/>
          </p:cNvSpPr>
          <p:nvPr/>
        </p:nvSpPr>
        <p:spPr bwMode="auto">
          <a:xfrm>
            <a:off x="1712913" y="2268538"/>
            <a:ext cx="641350" cy="546100"/>
          </a:xfrm>
          <a:custGeom>
            <a:avLst/>
            <a:gdLst>
              <a:gd name="T0" fmla="*/ 2147483647 w 1617"/>
              <a:gd name="T1" fmla="*/ 2147483647 h 1379"/>
              <a:gd name="T2" fmla="*/ 2147483647 w 1617"/>
              <a:gd name="T3" fmla="*/ 2147483647 h 1379"/>
              <a:gd name="T4" fmla="*/ 2147483647 w 1617"/>
              <a:gd name="T5" fmla="*/ 2147483647 h 1379"/>
              <a:gd name="T6" fmla="*/ 2147483647 w 1617"/>
              <a:gd name="T7" fmla="*/ 2147483647 h 1379"/>
              <a:gd name="T8" fmla="*/ 2147483647 w 1617"/>
              <a:gd name="T9" fmla="*/ 2147483647 h 1379"/>
              <a:gd name="T10" fmla="*/ 2147483647 w 1617"/>
              <a:gd name="T11" fmla="*/ 2147483647 h 1379"/>
              <a:gd name="T12" fmla="*/ 2147483647 w 1617"/>
              <a:gd name="T13" fmla="*/ 2147483647 h 1379"/>
              <a:gd name="T14" fmla="*/ 2147483647 w 1617"/>
              <a:gd name="T15" fmla="*/ 2147483647 h 1379"/>
              <a:gd name="T16" fmla="*/ 2147483647 w 1617"/>
              <a:gd name="T17" fmla="*/ 2147483647 h 1379"/>
              <a:gd name="T18" fmla="*/ 2147483647 w 1617"/>
              <a:gd name="T19" fmla="*/ 2147483647 h 1379"/>
              <a:gd name="T20" fmla="*/ 2147483647 w 1617"/>
              <a:gd name="T21" fmla="*/ 2147483647 h 1379"/>
              <a:gd name="T22" fmla="*/ 2147483647 w 1617"/>
              <a:gd name="T23" fmla="*/ 2147483647 h 1379"/>
              <a:gd name="T24" fmla="*/ 2147483647 w 1617"/>
              <a:gd name="T25" fmla="*/ 2147483647 h 1379"/>
              <a:gd name="T26" fmla="*/ 2147483647 w 1617"/>
              <a:gd name="T27" fmla="*/ 2147483647 h 1379"/>
              <a:gd name="T28" fmla="*/ 2147483647 w 1617"/>
              <a:gd name="T29" fmla="*/ 2147483647 h 1379"/>
              <a:gd name="T30" fmla="*/ 2147483647 w 1617"/>
              <a:gd name="T31" fmla="*/ 2147483647 h 1379"/>
              <a:gd name="T32" fmla="*/ 2147483647 w 1617"/>
              <a:gd name="T33" fmla="*/ 2147483647 h 1379"/>
              <a:gd name="T34" fmla="*/ 2147483647 w 1617"/>
              <a:gd name="T35" fmla="*/ 2147483647 h 1379"/>
              <a:gd name="T36" fmla="*/ 2147483647 w 1617"/>
              <a:gd name="T37" fmla="*/ 2147483647 h 1379"/>
              <a:gd name="T38" fmla="*/ 2147483647 w 1617"/>
              <a:gd name="T39" fmla="*/ 2147483647 h 1379"/>
              <a:gd name="T40" fmla="*/ 2147483647 w 1617"/>
              <a:gd name="T41" fmla="*/ 2147483647 h 1379"/>
              <a:gd name="T42" fmla="*/ 2147483647 w 1617"/>
              <a:gd name="T43" fmla="*/ 2147483647 h 1379"/>
              <a:gd name="T44" fmla="*/ 2147483647 w 1617"/>
              <a:gd name="T45" fmla="*/ 2147483647 h 1379"/>
              <a:gd name="T46" fmla="*/ 2147483647 w 1617"/>
              <a:gd name="T47" fmla="*/ 2147483647 h 1379"/>
              <a:gd name="T48" fmla="*/ 2147483647 w 1617"/>
              <a:gd name="T49" fmla="*/ 2147483647 h 1379"/>
              <a:gd name="T50" fmla="*/ 2147483647 w 1617"/>
              <a:gd name="T51" fmla="*/ 2147483647 h 1379"/>
              <a:gd name="T52" fmla="*/ 2147483647 w 1617"/>
              <a:gd name="T53" fmla="*/ 2147483647 h 1379"/>
              <a:gd name="T54" fmla="*/ 2147483647 w 1617"/>
              <a:gd name="T55" fmla="*/ 2147483647 h 1379"/>
              <a:gd name="T56" fmla="*/ 2147483647 w 1617"/>
              <a:gd name="T57" fmla="*/ 2147483647 h 1379"/>
              <a:gd name="T58" fmla="*/ 2147483647 w 1617"/>
              <a:gd name="T59" fmla="*/ 2147483647 h 1379"/>
              <a:gd name="T60" fmla="*/ 2147483647 w 1617"/>
              <a:gd name="T61" fmla="*/ 2147483647 h 1379"/>
              <a:gd name="T62" fmla="*/ 2147483647 w 1617"/>
              <a:gd name="T63" fmla="*/ 2147483647 h 1379"/>
              <a:gd name="T64" fmla="*/ 2147483647 w 1617"/>
              <a:gd name="T65" fmla="*/ 2147483647 h 1379"/>
              <a:gd name="T66" fmla="*/ 2147483647 w 1617"/>
              <a:gd name="T67" fmla="*/ 2147483647 h 1379"/>
              <a:gd name="T68" fmla="*/ 2147483647 w 1617"/>
              <a:gd name="T69" fmla="*/ 2147483647 h 1379"/>
              <a:gd name="T70" fmla="*/ 2147483647 w 1617"/>
              <a:gd name="T71" fmla="*/ 2147483647 h 1379"/>
              <a:gd name="T72" fmla="*/ 2147483647 w 1617"/>
              <a:gd name="T73" fmla="*/ 2147483647 h 1379"/>
              <a:gd name="T74" fmla="*/ 2147483647 w 1617"/>
              <a:gd name="T75" fmla="*/ 2147483647 h 1379"/>
              <a:gd name="T76" fmla="*/ 2147483647 w 1617"/>
              <a:gd name="T77" fmla="*/ 2147483647 h 1379"/>
              <a:gd name="T78" fmla="*/ 2147483647 w 1617"/>
              <a:gd name="T79" fmla="*/ 2147483647 h 1379"/>
              <a:gd name="T80" fmla="*/ 2147483647 w 1617"/>
              <a:gd name="T81" fmla="*/ 2147483647 h 1379"/>
              <a:gd name="T82" fmla="*/ 2147483647 w 1617"/>
              <a:gd name="T83" fmla="*/ 2147483647 h 1379"/>
              <a:gd name="T84" fmla="*/ 2147483647 w 1617"/>
              <a:gd name="T85" fmla="*/ 2147483647 h 1379"/>
              <a:gd name="T86" fmla="*/ 2147483647 w 1617"/>
              <a:gd name="T87" fmla="*/ 2147483647 h 1379"/>
              <a:gd name="T88" fmla="*/ 2147483647 w 1617"/>
              <a:gd name="T89" fmla="*/ 2147483647 h 1379"/>
              <a:gd name="T90" fmla="*/ 2147483647 w 1617"/>
              <a:gd name="T91" fmla="*/ 2147483647 h 1379"/>
              <a:gd name="T92" fmla="*/ 2147483647 w 1617"/>
              <a:gd name="T93" fmla="*/ 2147483647 h 1379"/>
              <a:gd name="T94" fmla="*/ 2147483647 w 1617"/>
              <a:gd name="T95" fmla="*/ 2147483647 h 1379"/>
              <a:gd name="T96" fmla="*/ 2147483647 w 1617"/>
              <a:gd name="T97" fmla="*/ 2147483647 h 1379"/>
              <a:gd name="T98" fmla="*/ 2147483647 w 1617"/>
              <a:gd name="T99" fmla="*/ 2147483647 h 1379"/>
              <a:gd name="T100" fmla="*/ 2147483647 w 1617"/>
              <a:gd name="T101" fmla="*/ 2147483647 h 1379"/>
              <a:gd name="T102" fmla="*/ 2147483647 w 1617"/>
              <a:gd name="T103" fmla="*/ 2147483647 h 1379"/>
              <a:gd name="T104" fmla="*/ 2147483647 w 1617"/>
              <a:gd name="T105" fmla="*/ 2147483647 h 1379"/>
              <a:gd name="T106" fmla="*/ 2147483647 w 1617"/>
              <a:gd name="T107" fmla="*/ 2147483647 h 1379"/>
              <a:gd name="T108" fmla="*/ 2147483647 w 1617"/>
              <a:gd name="T109" fmla="*/ 2147483647 h 1379"/>
              <a:gd name="T110" fmla="*/ 2147483647 w 1617"/>
              <a:gd name="T111" fmla="*/ 2147483647 h 1379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617"/>
              <a:gd name="T169" fmla="*/ 0 h 1379"/>
              <a:gd name="T170" fmla="*/ 1617 w 1617"/>
              <a:gd name="T171" fmla="*/ 1379 h 1379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617" h="1379">
                <a:moveTo>
                  <a:pt x="1311" y="1379"/>
                </a:moveTo>
                <a:lnTo>
                  <a:pt x="1301" y="1375"/>
                </a:lnTo>
                <a:lnTo>
                  <a:pt x="1291" y="1372"/>
                </a:lnTo>
                <a:lnTo>
                  <a:pt x="1281" y="1370"/>
                </a:lnTo>
                <a:lnTo>
                  <a:pt x="1271" y="1368"/>
                </a:lnTo>
                <a:lnTo>
                  <a:pt x="1249" y="1366"/>
                </a:lnTo>
                <a:lnTo>
                  <a:pt x="1226" y="1363"/>
                </a:lnTo>
                <a:lnTo>
                  <a:pt x="1208" y="1348"/>
                </a:lnTo>
                <a:lnTo>
                  <a:pt x="1191" y="1332"/>
                </a:lnTo>
                <a:lnTo>
                  <a:pt x="1174" y="1316"/>
                </a:lnTo>
                <a:lnTo>
                  <a:pt x="1159" y="1302"/>
                </a:lnTo>
                <a:lnTo>
                  <a:pt x="1146" y="1297"/>
                </a:lnTo>
                <a:lnTo>
                  <a:pt x="1131" y="1290"/>
                </a:lnTo>
                <a:lnTo>
                  <a:pt x="1118" y="1284"/>
                </a:lnTo>
                <a:lnTo>
                  <a:pt x="1104" y="1275"/>
                </a:lnTo>
                <a:lnTo>
                  <a:pt x="1091" y="1266"/>
                </a:lnTo>
                <a:lnTo>
                  <a:pt x="1077" y="1254"/>
                </a:lnTo>
                <a:lnTo>
                  <a:pt x="1064" y="1244"/>
                </a:lnTo>
                <a:lnTo>
                  <a:pt x="1052" y="1232"/>
                </a:lnTo>
                <a:lnTo>
                  <a:pt x="1039" y="1219"/>
                </a:lnTo>
                <a:lnTo>
                  <a:pt x="1029" y="1206"/>
                </a:lnTo>
                <a:lnTo>
                  <a:pt x="1017" y="1193"/>
                </a:lnTo>
                <a:lnTo>
                  <a:pt x="1008" y="1180"/>
                </a:lnTo>
                <a:lnTo>
                  <a:pt x="999" y="1167"/>
                </a:lnTo>
                <a:lnTo>
                  <a:pt x="991" y="1154"/>
                </a:lnTo>
                <a:lnTo>
                  <a:pt x="983" y="1139"/>
                </a:lnTo>
                <a:lnTo>
                  <a:pt x="978" y="1128"/>
                </a:lnTo>
                <a:lnTo>
                  <a:pt x="956" y="1116"/>
                </a:lnTo>
                <a:lnTo>
                  <a:pt x="935" y="1106"/>
                </a:lnTo>
                <a:lnTo>
                  <a:pt x="913" y="1095"/>
                </a:lnTo>
                <a:lnTo>
                  <a:pt x="891" y="1085"/>
                </a:lnTo>
                <a:lnTo>
                  <a:pt x="888" y="1072"/>
                </a:lnTo>
                <a:lnTo>
                  <a:pt x="886" y="1059"/>
                </a:lnTo>
                <a:lnTo>
                  <a:pt x="883" y="1046"/>
                </a:lnTo>
                <a:lnTo>
                  <a:pt x="880" y="1033"/>
                </a:lnTo>
                <a:lnTo>
                  <a:pt x="866" y="1030"/>
                </a:lnTo>
                <a:lnTo>
                  <a:pt x="854" y="1028"/>
                </a:lnTo>
                <a:lnTo>
                  <a:pt x="856" y="1015"/>
                </a:lnTo>
                <a:lnTo>
                  <a:pt x="858" y="1002"/>
                </a:lnTo>
                <a:lnTo>
                  <a:pt x="860" y="989"/>
                </a:lnTo>
                <a:lnTo>
                  <a:pt x="861" y="976"/>
                </a:lnTo>
                <a:lnTo>
                  <a:pt x="852" y="970"/>
                </a:lnTo>
                <a:lnTo>
                  <a:pt x="843" y="969"/>
                </a:lnTo>
                <a:lnTo>
                  <a:pt x="830" y="968"/>
                </a:lnTo>
                <a:lnTo>
                  <a:pt x="809" y="968"/>
                </a:lnTo>
                <a:lnTo>
                  <a:pt x="800" y="976"/>
                </a:lnTo>
                <a:lnTo>
                  <a:pt x="791" y="982"/>
                </a:lnTo>
                <a:lnTo>
                  <a:pt x="781" y="986"/>
                </a:lnTo>
                <a:lnTo>
                  <a:pt x="771" y="990"/>
                </a:lnTo>
                <a:lnTo>
                  <a:pt x="762" y="991"/>
                </a:lnTo>
                <a:lnTo>
                  <a:pt x="752" y="992"/>
                </a:lnTo>
                <a:lnTo>
                  <a:pt x="742" y="992"/>
                </a:lnTo>
                <a:lnTo>
                  <a:pt x="732" y="991"/>
                </a:lnTo>
                <a:lnTo>
                  <a:pt x="711" y="989"/>
                </a:lnTo>
                <a:lnTo>
                  <a:pt x="689" y="985"/>
                </a:lnTo>
                <a:lnTo>
                  <a:pt x="677" y="983"/>
                </a:lnTo>
                <a:lnTo>
                  <a:pt x="667" y="982"/>
                </a:lnTo>
                <a:lnTo>
                  <a:pt x="655" y="982"/>
                </a:lnTo>
                <a:lnTo>
                  <a:pt x="644" y="983"/>
                </a:lnTo>
                <a:lnTo>
                  <a:pt x="640" y="991"/>
                </a:lnTo>
                <a:lnTo>
                  <a:pt x="634" y="999"/>
                </a:lnTo>
                <a:lnTo>
                  <a:pt x="631" y="1004"/>
                </a:lnTo>
                <a:lnTo>
                  <a:pt x="625" y="1009"/>
                </a:lnTo>
                <a:lnTo>
                  <a:pt x="619" y="1015"/>
                </a:lnTo>
                <a:lnTo>
                  <a:pt x="614" y="1017"/>
                </a:lnTo>
                <a:lnTo>
                  <a:pt x="607" y="1020"/>
                </a:lnTo>
                <a:lnTo>
                  <a:pt x="601" y="1021"/>
                </a:lnTo>
                <a:lnTo>
                  <a:pt x="585" y="1024"/>
                </a:lnTo>
                <a:lnTo>
                  <a:pt x="569" y="1024"/>
                </a:lnTo>
                <a:lnTo>
                  <a:pt x="552" y="1022"/>
                </a:lnTo>
                <a:lnTo>
                  <a:pt x="534" y="1021"/>
                </a:lnTo>
                <a:lnTo>
                  <a:pt x="530" y="1012"/>
                </a:lnTo>
                <a:lnTo>
                  <a:pt x="528" y="1002"/>
                </a:lnTo>
                <a:lnTo>
                  <a:pt x="523" y="994"/>
                </a:lnTo>
                <a:lnTo>
                  <a:pt x="517" y="986"/>
                </a:lnTo>
                <a:lnTo>
                  <a:pt x="512" y="978"/>
                </a:lnTo>
                <a:lnTo>
                  <a:pt x="504" y="972"/>
                </a:lnTo>
                <a:lnTo>
                  <a:pt x="495" y="968"/>
                </a:lnTo>
                <a:lnTo>
                  <a:pt x="484" y="964"/>
                </a:lnTo>
                <a:lnTo>
                  <a:pt x="484" y="938"/>
                </a:lnTo>
                <a:lnTo>
                  <a:pt x="486" y="912"/>
                </a:lnTo>
                <a:lnTo>
                  <a:pt x="487" y="900"/>
                </a:lnTo>
                <a:lnTo>
                  <a:pt x="490" y="887"/>
                </a:lnTo>
                <a:lnTo>
                  <a:pt x="494" y="875"/>
                </a:lnTo>
                <a:lnTo>
                  <a:pt x="499" y="864"/>
                </a:lnTo>
                <a:lnTo>
                  <a:pt x="481" y="835"/>
                </a:lnTo>
                <a:lnTo>
                  <a:pt x="463" y="805"/>
                </a:lnTo>
                <a:lnTo>
                  <a:pt x="452" y="791"/>
                </a:lnTo>
                <a:lnTo>
                  <a:pt x="442" y="778"/>
                </a:lnTo>
                <a:lnTo>
                  <a:pt x="430" y="766"/>
                </a:lnTo>
                <a:lnTo>
                  <a:pt x="418" y="754"/>
                </a:lnTo>
                <a:lnTo>
                  <a:pt x="399" y="758"/>
                </a:lnTo>
                <a:lnTo>
                  <a:pt x="383" y="764"/>
                </a:lnTo>
                <a:lnTo>
                  <a:pt x="369" y="766"/>
                </a:lnTo>
                <a:lnTo>
                  <a:pt x="350" y="767"/>
                </a:lnTo>
                <a:lnTo>
                  <a:pt x="327" y="752"/>
                </a:lnTo>
                <a:lnTo>
                  <a:pt x="309" y="738"/>
                </a:lnTo>
                <a:lnTo>
                  <a:pt x="294" y="727"/>
                </a:lnTo>
                <a:lnTo>
                  <a:pt x="278" y="718"/>
                </a:lnTo>
                <a:lnTo>
                  <a:pt x="262" y="712"/>
                </a:lnTo>
                <a:lnTo>
                  <a:pt x="244" y="706"/>
                </a:lnTo>
                <a:lnTo>
                  <a:pt x="223" y="702"/>
                </a:lnTo>
                <a:lnTo>
                  <a:pt x="199" y="700"/>
                </a:lnTo>
                <a:lnTo>
                  <a:pt x="197" y="652"/>
                </a:lnTo>
                <a:lnTo>
                  <a:pt x="196" y="623"/>
                </a:lnTo>
                <a:lnTo>
                  <a:pt x="193" y="602"/>
                </a:lnTo>
                <a:lnTo>
                  <a:pt x="187" y="579"/>
                </a:lnTo>
                <a:lnTo>
                  <a:pt x="180" y="576"/>
                </a:lnTo>
                <a:lnTo>
                  <a:pt x="174" y="572"/>
                </a:lnTo>
                <a:lnTo>
                  <a:pt x="167" y="571"/>
                </a:lnTo>
                <a:lnTo>
                  <a:pt x="160" y="570"/>
                </a:lnTo>
                <a:lnTo>
                  <a:pt x="143" y="567"/>
                </a:lnTo>
                <a:lnTo>
                  <a:pt x="126" y="568"/>
                </a:lnTo>
                <a:lnTo>
                  <a:pt x="92" y="571"/>
                </a:lnTo>
                <a:lnTo>
                  <a:pt x="61" y="575"/>
                </a:lnTo>
                <a:lnTo>
                  <a:pt x="59" y="571"/>
                </a:lnTo>
                <a:lnTo>
                  <a:pt x="58" y="567"/>
                </a:lnTo>
                <a:lnTo>
                  <a:pt x="59" y="559"/>
                </a:lnTo>
                <a:lnTo>
                  <a:pt x="59" y="550"/>
                </a:lnTo>
                <a:lnTo>
                  <a:pt x="63" y="522"/>
                </a:lnTo>
                <a:lnTo>
                  <a:pt x="69" y="475"/>
                </a:lnTo>
                <a:lnTo>
                  <a:pt x="63" y="463"/>
                </a:lnTo>
                <a:lnTo>
                  <a:pt x="57" y="453"/>
                </a:lnTo>
                <a:lnTo>
                  <a:pt x="50" y="442"/>
                </a:lnTo>
                <a:lnTo>
                  <a:pt x="42" y="434"/>
                </a:lnTo>
                <a:lnTo>
                  <a:pt x="26" y="420"/>
                </a:lnTo>
                <a:lnTo>
                  <a:pt x="5" y="404"/>
                </a:lnTo>
                <a:lnTo>
                  <a:pt x="1" y="367"/>
                </a:lnTo>
                <a:lnTo>
                  <a:pt x="0" y="345"/>
                </a:lnTo>
                <a:lnTo>
                  <a:pt x="1" y="329"/>
                </a:lnTo>
                <a:lnTo>
                  <a:pt x="2" y="310"/>
                </a:lnTo>
                <a:lnTo>
                  <a:pt x="54" y="315"/>
                </a:lnTo>
                <a:lnTo>
                  <a:pt x="87" y="316"/>
                </a:lnTo>
                <a:lnTo>
                  <a:pt x="111" y="315"/>
                </a:lnTo>
                <a:lnTo>
                  <a:pt x="143" y="312"/>
                </a:lnTo>
                <a:lnTo>
                  <a:pt x="150" y="306"/>
                </a:lnTo>
                <a:lnTo>
                  <a:pt x="158" y="300"/>
                </a:lnTo>
                <a:lnTo>
                  <a:pt x="166" y="297"/>
                </a:lnTo>
                <a:lnTo>
                  <a:pt x="174" y="294"/>
                </a:lnTo>
                <a:lnTo>
                  <a:pt x="191" y="289"/>
                </a:lnTo>
                <a:lnTo>
                  <a:pt x="209" y="285"/>
                </a:lnTo>
                <a:lnTo>
                  <a:pt x="212" y="272"/>
                </a:lnTo>
                <a:lnTo>
                  <a:pt x="214" y="259"/>
                </a:lnTo>
                <a:lnTo>
                  <a:pt x="217" y="246"/>
                </a:lnTo>
                <a:lnTo>
                  <a:pt x="221" y="233"/>
                </a:lnTo>
                <a:lnTo>
                  <a:pt x="226" y="230"/>
                </a:lnTo>
                <a:lnTo>
                  <a:pt x="230" y="226"/>
                </a:lnTo>
                <a:lnTo>
                  <a:pt x="234" y="221"/>
                </a:lnTo>
                <a:lnTo>
                  <a:pt x="238" y="216"/>
                </a:lnTo>
                <a:lnTo>
                  <a:pt x="242" y="204"/>
                </a:lnTo>
                <a:lnTo>
                  <a:pt x="243" y="190"/>
                </a:lnTo>
                <a:lnTo>
                  <a:pt x="243" y="161"/>
                </a:lnTo>
                <a:lnTo>
                  <a:pt x="243" y="135"/>
                </a:lnTo>
                <a:lnTo>
                  <a:pt x="269" y="127"/>
                </a:lnTo>
                <a:lnTo>
                  <a:pt x="295" y="122"/>
                </a:lnTo>
                <a:lnTo>
                  <a:pt x="322" y="116"/>
                </a:lnTo>
                <a:lnTo>
                  <a:pt x="350" y="110"/>
                </a:lnTo>
                <a:lnTo>
                  <a:pt x="351" y="99"/>
                </a:lnTo>
                <a:lnTo>
                  <a:pt x="353" y="88"/>
                </a:lnTo>
                <a:lnTo>
                  <a:pt x="357" y="79"/>
                </a:lnTo>
                <a:lnTo>
                  <a:pt x="361" y="71"/>
                </a:lnTo>
                <a:lnTo>
                  <a:pt x="365" y="64"/>
                </a:lnTo>
                <a:lnTo>
                  <a:pt x="370" y="57"/>
                </a:lnTo>
                <a:lnTo>
                  <a:pt x="376" y="51"/>
                </a:lnTo>
                <a:lnTo>
                  <a:pt x="381" y="44"/>
                </a:lnTo>
                <a:lnTo>
                  <a:pt x="395" y="34"/>
                </a:lnTo>
                <a:lnTo>
                  <a:pt x="409" y="23"/>
                </a:lnTo>
                <a:lnTo>
                  <a:pt x="426" y="13"/>
                </a:lnTo>
                <a:lnTo>
                  <a:pt x="444" y="3"/>
                </a:lnTo>
                <a:lnTo>
                  <a:pt x="448" y="13"/>
                </a:lnTo>
                <a:lnTo>
                  <a:pt x="451" y="23"/>
                </a:lnTo>
                <a:lnTo>
                  <a:pt x="454" y="35"/>
                </a:lnTo>
                <a:lnTo>
                  <a:pt x="456" y="47"/>
                </a:lnTo>
                <a:lnTo>
                  <a:pt x="477" y="47"/>
                </a:lnTo>
                <a:lnTo>
                  <a:pt x="498" y="47"/>
                </a:lnTo>
                <a:lnTo>
                  <a:pt x="520" y="47"/>
                </a:lnTo>
                <a:lnTo>
                  <a:pt x="541" y="48"/>
                </a:lnTo>
                <a:lnTo>
                  <a:pt x="577" y="32"/>
                </a:lnTo>
                <a:lnTo>
                  <a:pt x="616" y="16"/>
                </a:lnTo>
                <a:lnTo>
                  <a:pt x="636" y="8"/>
                </a:lnTo>
                <a:lnTo>
                  <a:pt x="655" y="3"/>
                </a:lnTo>
                <a:lnTo>
                  <a:pt x="666" y="0"/>
                </a:lnTo>
                <a:lnTo>
                  <a:pt x="676" y="0"/>
                </a:lnTo>
                <a:lnTo>
                  <a:pt x="685" y="0"/>
                </a:lnTo>
                <a:lnTo>
                  <a:pt x="696" y="0"/>
                </a:lnTo>
                <a:lnTo>
                  <a:pt x="711" y="29"/>
                </a:lnTo>
                <a:lnTo>
                  <a:pt x="728" y="56"/>
                </a:lnTo>
                <a:lnTo>
                  <a:pt x="739" y="69"/>
                </a:lnTo>
                <a:lnTo>
                  <a:pt x="749" y="81"/>
                </a:lnTo>
                <a:lnTo>
                  <a:pt x="759" y="92"/>
                </a:lnTo>
                <a:lnTo>
                  <a:pt x="772" y="103"/>
                </a:lnTo>
                <a:lnTo>
                  <a:pt x="762" y="133"/>
                </a:lnTo>
                <a:lnTo>
                  <a:pt x="753" y="163"/>
                </a:lnTo>
                <a:lnTo>
                  <a:pt x="746" y="192"/>
                </a:lnTo>
                <a:lnTo>
                  <a:pt x="740" y="221"/>
                </a:lnTo>
                <a:lnTo>
                  <a:pt x="736" y="251"/>
                </a:lnTo>
                <a:lnTo>
                  <a:pt x="732" y="282"/>
                </a:lnTo>
                <a:lnTo>
                  <a:pt x="731" y="315"/>
                </a:lnTo>
                <a:lnTo>
                  <a:pt x="729" y="349"/>
                </a:lnTo>
                <a:lnTo>
                  <a:pt x="744" y="368"/>
                </a:lnTo>
                <a:lnTo>
                  <a:pt x="759" y="388"/>
                </a:lnTo>
                <a:lnTo>
                  <a:pt x="774" y="407"/>
                </a:lnTo>
                <a:lnTo>
                  <a:pt x="789" y="427"/>
                </a:lnTo>
                <a:lnTo>
                  <a:pt x="811" y="446"/>
                </a:lnTo>
                <a:lnTo>
                  <a:pt x="831" y="466"/>
                </a:lnTo>
                <a:lnTo>
                  <a:pt x="848" y="485"/>
                </a:lnTo>
                <a:lnTo>
                  <a:pt x="865" y="505"/>
                </a:lnTo>
                <a:lnTo>
                  <a:pt x="882" y="523"/>
                </a:lnTo>
                <a:lnTo>
                  <a:pt x="901" y="540"/>
                </a:lnTo>
                <a:lnTo>
                  <a:pt x="913" y="548"/>
                </a:lnTo>
                <a:lnTo>
                  <a:pt x="925" y="555"/>
                </a:lnTo>
                <a:lnTo>
                  <a:pt x="936" y="563"/>
                </a:lnTo>
                <a:lnTo>
                  <a:pt x="951" y="570"/>
                </a:lnTo>
                <a:lnTo>
                  <a:pt x="956" y="591"/>
                </a:lnTo>
                <a:lnTo>
                  <a:pt x="962" y="611"/>
                </a:lnTo>
                <a:lnTo>
                  <a:pt x="966" y="620"/>
                </a:lnTo>
                <a:lnTo>
                  <a:pt x="971" y="630"/>
                </a:lnTo>
                <a:lnTo>
                  <a:pt x="977" y="637"/>
                </a:lnTo>
                <a:lnTo>
                  <a:pt x="982" y="644"/>
                </a:lnTo>
                <a:lnTo>
                  <a:pt x="988" y="649"/>
                </a:lnTo>
                <a:lnTo>
                  <a:pt x="995" y="654"/>
                </a:lnTo>
                <a:lnTo>
                  <a:pt x="1003" y="657"/>
                </a:lnTo>
                <a:lnTo>
                  <a:pt x="1010" y="658"/>
                </a:lnTo>
                <a:lnTo>
                  <a:pt x="1021" y="658"/>
                </a:lnTo>
                <a:lnTo>
                  <a:pt x="1030" y="656"/>
                </a:lnTo>
                <a:lnTo>
                  <a:pt x="1042" y="652"/>
                </a:lnTo>
                <a:lnTo>
                  <a:pt x="1053" y="645"/>
                </a:lnTo>
                <a:lnTo>
                  <a:pt x="1069" y="645"/>
                </a:lnTo>
                <a:lnTo>
                  <a:pt x="1086" y="648"/>
                </a:lnTo>
                <a:lnTo>
                  <a:pt x="1096" y="670"/>
                </a:lnTo>
                <a:lnTo>
                  <a:pt x="1109" y="689"/>
                </a:lnTo>
                <a:lnTo>
                  <a:pt x="1116" y="700"/>
                </a:lnTo>
                <a:lnTo>
                  <a:pt x="1124" y="708"/>
                </a:lnTo>
                <a:lnTo>
                  <a:pt x="1131" y="717"/>
                </a:lnTo>
                <a:lnTo>
                  <a:pt x="1139" y="725"/>
                </a:lnTo>
                <a:lnTo>
                  <a:pt x="1148" y="731"/>
                </a:lnTo>
                <a:lnTo>
                  <a:pt x="1157" y="738"/>
                </a:lnTo>
                <a:lnTo>
                  <a:pt x="1167" y="744"/>
                </a:lnTo>
                <a:lnTo>
                  <a:pt x="1176" y="749"/>
                </a:lnTo>
                <a:lnTo>
                  <a:pt x="1186" y="754"/>
                </a:lnTo>
                <a:lnTo>
                  <a:pt x="1198" y="758"/>
                </a:lnTo>
                <a:lnTo>
                  <a:pt x="1208" y="761"/>
                </a:lnTo>
                <a:lnTo>
                  <a:pt x="1220" y="764"/>
                </a:lnTo>
                <a:lnTo>
                  <a:pt x="1224" y="782"/>
                </a:lnTo>
                <a:lnTo>
                  <a:pt x="1226" y="799"/>
                </a:lnTo>
                <a:lnTo>
                  <a:pt x="1233" y="803"/>
                </a:lnTo>
                <a:lnTo>
                  <a:pt x="1239" y="805"/>
                </a:lnTo>
                <a:lnTo>
                  <a:pt x="1246" y="808"/>
                </a:lnTo>
                <a:lnTo>
                  <a:pt x="1252" y="809"/>
                </a:lnTo>
                <a:lnTo>
                  <a:pt x="1267" y="810"/>
                </a:lnTo>
                <a:lnTo>
                  <a:pt x="1282" y="812"/>
                </a:lnTo>
                <a:lnTo>
                  <a:pt x="1312" y="808"/>
                </a:lnTo>
                <a:lnTo>
                  <a:pt x="1341" y="803"/>
                </a:lnTo>
                <a:lnTo>
                  <a:pt x="1347" y="823"/>
                </a:lnTo>
                <a:lnTo>
                  <a:pt x="1354" y="844"/>
                </a:lnTo>
                <a:lnTo>
                  <a:pt x="1362" y="865"/>
                </a:lnTo>
                <a:lnTo>
                  <a:pt x="1368" y="887"/>
                </a:lnTo>
                <a:lnTo>
                  <a:pt x="1384" y="894"/>
                </a:lnTo>
                <a:lnTo>
                  <a:pt x="1396" y="900"/>
                </a:lnTo>
                <a:lnTo>
                  <a:pt x="1405" y="908"/>
                </a:lnTo>
                <a:lnTo>
                  <a:pt x="1412" y="916"/>
                </a:lnTo>
                <a:lnTo>
                  <a:pt x="1425" y="934"/>
                </a:lnTo>
                <a:lnTo>
                  <a:pt x="1444" y="959"/>
                </a:lnTo>
                <a:lnTo>
                  <a:pt x="1458" y="957"/>
                </a:lnTo>
                <a:lnTo>
                  <a:pt x="1471" y="955"/>
                </a:lnTo>
                <a:lnTo>
                  <a:pt x="1484" y="952"/>
                </a:lnTo>
                <a:lnTo>
                  <a:pt x="1496" y="950"/>
                </a:lnTo>
                <a:lnTo>
                  <a:pt x="1509" y="947"/>
                </a:lnTo>
                <a:lnTo>
                  <a:pt x="1522" y="946"/>
                </a:lnTo>
                <a:lnTo>
                  <a:pt x="1537" y="944"/>
                </a:lnTo>
                <a:lnTo>
                  <a:pt x="1553" y="944"/>
                </a:lnTo>
                <a:lnTo>
                  <a:pt x="1554" y="964"/>
                </a:lnTo>
                <a:lnTo>
                  <a:pt x="1556" y="983"/>
                </a:lnTo>
                <a:lnTo>
                  <a:pt x="1557" y="1003"/>
                </a:lnTo>
                <a:lnTo>
                  <a:pt x="1558" y="1024"/>
                </a:lnTo>
                <a:lnTo>
                  <a:pt x="1570" y="1028"/>
                </a:lnTo>
                <a:lnTo>
                  <a:pt x="1582" y="1032"/>
                </a:lnTo>
                <a:lnTo>
                  <a:pt x="1593" y="1037"/>
                </a:lnTo>
                <a:lnTo>
                  <a:pt x="1605" y="1041"/>
                </a:lnTo>
                <a:lnTo>
                  <a:pt x="1606" y="1055"/>
                </a:lnTo>
                <a:lnTo>
                  <a:pt x="1608" y="1065"/>
                </a:lnTo>
                <a:lnTo>
                  <a:pt x="1611" y="1073"/>
                </a:lnTo>
                <a:lnTo>
                  <a:pt x="1617" y="1085"/>
                </a:lnTo>
                <a:lnTo>
                  <a:pt x="1610" y="1087"/>
                </a:lnTo>
                <a:lnTo>
                  <a:pt x="1605" y="1090"/>
                </a:lnTo>
                <a:lnTo>
                  <a:pt x="1601" y="1093"/>
                </a:lnTo>
                <a:lnTo>
                  <a:pt x="1597" y="1097"/>
                </a:lnTo>
                <a:lnTo>
                  <a:pt x="1589" y="1106"/>
                </a:lnTo>
                <a:lnTo>
                  <a:pt x="1582" y="1115"/>
                </a:lnTo>
                <a:lnTo>
                  <a:pt x="1575" y="1124"/>
                </a:lnTo>
                <a:lnTo>
                  <a:pt x="1566" y="1133"/>
                </a:lnTo>
                <a:lnTo>
                  <a:pt x="1562" y="1138"/>
                </a:lnTo>
                <a:lnTo>
                  <a:pt x="1557" y="1142"/>
                </a:lnTo>
                <a:lnTo>
                  <a:pt x="1550" y="1145"/>
                </a:lnTo>
                <a:lnTo>
                  <a:pt x="1544" y="1149"/>
                </a:lnTo>
                <a:lnTo>
                  <a:pt x="1536" y="1156"/>
                </a:lnTo>
                <a:lnTo>
                  <a:pt x="1528" y="1163"/>
                </a:lnTo>
                <a:lnTo>
                  <a:pt x="1522" y="1168"/>
                </a:lnTo>
                <a:lnTo>
                  <a:pt x="1514" y="1172"/>
                </a:lnTo>
                <a:lnTo>
                  <a:pt x="1506" y="1176"/>
                </a:lnTo>
                <a:lnTo>
                  <a:pt x="1497" y="1179"/>
                </a:lnTo>
                <a:lnTo>
                  <a:pt x="1489" y="1180"/>
                </a:lnTo>
                <a:lnTo>
                  <a:pt x="1481" y="1181"/>
                </a:lnTo>
                <a:lnTo>
                  <a:pt x="1464" y="1182"/>
                </a:lnTo>
                <a:lnTo>
                  <a:pt x="1446" y="1184"/>
                </a:lnTo>
                <a:lnTo>
                  <a:pt x="1437" y="1185"/>
                </a:lnTo>
                <a:lnTo>
                  <a:pt x="1428" y="1186"/>
                </a:lnTo>
                <a:lnTo>
                  <a:pt x="1419" y="1189"/>
                </a:lnTo>
                <a:lnTo>
                  <a:pt x="1409" y="1193"/>
                </a:lnTo>
                <a:lnTo>
                  <a:pt x="1410" y="1199"/>
                </a:lnTo>
                <a:lnTo>
                  <a:pt x="1414" y="1215"/>
                </a:lnTo>
                <a:lnTo>
                  <a:pt x="1420" y="1241"/>
                </a:lnTo>
                <a:lnTo>
                  <a:pt x="1425" y="1283"/>
                </a:lnTo>
                <a:lnTo>
                  <a:pt x="1441" y="1287"/>
                </a:lnTo>
                <a:lnTo>
                  <a:pt x="1457" y="1290"/>
                </a:lnTo>
                <a:lnTo>
                  <a:pt x="1457" y="1300"/>
                </a:lnTo>
                <a:lnTo>
                  <a:pt x="1457" y="1310"/>
                </a:lnTo>
                <a:lnTo>
                  <a:pt x="1449" y="1311"/>
                </a:lnTo>
                <a:lnTo>
                  <a:pt x="1444" y="1314"/>
                </a:lnTo>
                <a:lnTo>
                  <a:pt x="1446" y="1328"/>
                </a:lnTo>
                <a:lnTo>
                  <a:pt x="1449" y="1342"/>
                </a:lnTo>
                <a:lnTo>
                  <a:pt x="1453" y="1358"/>
                </a:lnTo>
                <a:lnTo>
                  <a:pt x="1457" y="1374"/>
                </a:lnTo>
                <a:lnTo>
                  <a:pt x="1444" y="1371"/>
                </a:lnTo>
                <a:lnTo>
                  <a:pt x="1432" y="1368"/>
                </a:lnTo>
                <a:lnTo>
                  <a:pt x="1422" y="1366"/>
                </a:lnTo>
                <a:lnTo>
                  <a:pt x="1412" y="1363"/>
                </a:lnTo>
                <a:lnTo>
                  <a:pt x="1403" y="1358"/>
                </a:lnTo>
                <a:lnTo>
                  <a:pt x="1396" y="1352"/>
                </a:lnTo>
                <a:lnTo>
                  <a:pt x="1389" y="1344"/>
                </a:lnTo>
                <a:lnTo>
                  <a:pt x="1381" y="1333"/>
                </a:lnTo>
                <a:lnTo>
                  <a:pt x="1364" y="1333"/>
                </a:lnTo>
                <a:lnTo>
                  <a:pt x="1347" y="1333"/>
                </a:lnTo>
                <a:lnTo>
                  <a:pt x="1340" y="1346"/>
                </a:lnTo>
                <a:lnTo>
                  <a:pt x="1332" y="1359"/>
                </a:lnTo>
                <a:lnTo>
                  <a:pt x="1323" y="1370"/>
                </a:lnTo>
                <a:lnTo>
                  <a:pt x="1311" y="1379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53" name="Freeform 126"/>
          <p:cNvSpPr>
            <a:spLocks/>
          </p:cNvSpPr>
          <p:nvPr/>
        </p:nvSpPr>
        <p:spPr bwMode="auto">
          <a:xfrm>
            <a:off x="2006600" y="1976438"/>
            <a:ext cx="814388" cy="773112"/>
          </a:xfrm>
          <a:custGeom>
            <a:avLst/>
            <a:gdLst>
              <a:gd name="T0" fmla="*/ 2147483647 w 2050"/>
              <a:gd name="T1" fmla="*/ 2147483647 h 1950"/>
              <a:gd name="T2" fmla="*/ 2147483647 w 2050"/>
              <a:gd name="T3" fmla="*/ 2147483647 h 1950"/>
              <a:gd name="T4" fmla="*/ 2147483647 w 2050"/>
              <a:gd name="T5" fmla="*/ 2147483647 h 1950"/>
              <a:gd name="T6" fmla="*/ 2147483647 w 2050"/>
              <a:gd name="T7" fmla="*/ 2147483647 h 1950"/>
              <a:gd name="T8" fmla="*/ 2147483647 w 2050"/>
              <a:gd name="T9" fmla="*/ 2147483647 h 1950"/>
              <a:gd name="T10" fmla="*/ 2147483647 w 2050"/>
              <a:gd name="T11" fmla="*/ 2147483647 h 1950"/>
              <a:gd name="T12" fmla="*/ 2147483647 w 2050"/>
              <a:gd name="T13" fmla="*/ 2147483647 h 1950"/>
              <a:gd name="T14" fmla="*/ 2147483647 w 2050"/>
              <a:gd name="T15" fmla="*/ 2147483647 h 1950"/>
              <a:gd name="T16" fmla="*/ 2147483647 w 2050"/>
              <a:gd name="T17" fmla="*/ 2147483647 h 1950"/>
              <a:gd name="T18" fmla="*/ 2147483647 w 2050"/>
              <a:gd name="T19" fmla="*/ 2147483647 h 1950"/>
              <a:gd name="T20" fmla="*/ 2147483647 w 2050"/>
              <a:gd name="T21" fmla="*/ 2147483647 h 1950"/>
              <a:gd name="T22" fmla="*/ 2147483647 w 2050"/>
              <a:gd name="T23" fmla="*/ 2147483647 h 1950"/>
              <a:gd name="T24" fmla="*/ 2147483647 w 2050"/>
              <a:gd name="T25" fmla="*/ 2147483647 h 1950"/>
              <a:gd name="T26" fmla="*/ 2147483647 w 2050"/>
              <a:gd name="T27" fmla="*/ 2147483647 h 1950"/>
              <a:gd name="T28" fmla="*/ 2147483647 w 2050"/>
              <a:gd name="T29" fmla="*/ 2147483647 h 1950"/>
              <a:gd name="T30" fmla="*/ 2147483647 w 2050"/>
              <a:gd name="T31" fmla="*/ 2147483647 h 1950"/>
              <a:gd name="T32" fmla="*/ 2147483647 w 2050"/>
              <a:gd name="T33" fmla="*/ 2147483647 h 1950"/>
              <a:gd name="T34" fmla="*/ 2147483647 w 2050"/>
              <a:gd name="T35" fmla="*/ 2147483647 h 1950"/>
              <a:gd name="T36" fmla="*/ 2147483647 w 2050"/>
              <a:gd name="T37" fmla="*/ 2147483647 h 1950"/>
              <a:gd name="T38" fmla="*/ 2147483647 w 2050"/>
              <a:gd name="T39" fmla="*/ 2147483647 h 1950"/>
              <a:gd name="T40" fmla="*/ 2147483647 w 2050"/>
              <a:gd name="T41" fmla="*/ 2147483647 h 1950"/>
              <a:gd name="T42" fmla="*/ 2147483647 w 2050"/>
              <a:gd name="T43" fmla="*/ 2147483647 h 1950"/>
              <a:gd name="T44" fmla="*/ 2147483647 w 2050"/>
              <a:gd name="T45" fmla="*/ 2147483647 h 1950"/>
              <a:gd name="T46" fmla="*/ 2147483647 w 2050"/>
              <a:gd name="T47" fmla="*/ 2147483647 h 1950"/>
              <a:gd name="T48" fmla="*/ 2147483647 w 2050"/>
              <a:gd name="T49" fmla="*/ 2147483647 h 1950"/>
              <a:gd name="T50" fmla="*/ 2147483647 w 2050"/>
              <a:gd name="T51" fmla="*/ 2147483647 h 1950"/>
              <a:gd name="T52" fmla="*/ 2147483647 w 2050"/>
              <a:gd name="T53" fmla="*/ 2147483647 h 1950"/>
              <a:gd name="T54" fmla="*/ 2147483647 w 2050"/>
              <a:gd name="T55" fmla="*/ 2147483647 h 1950"/>
              <a:gd name="T56" fmla="*/ 2147483647 w 2050"/>
              <a:gd name="T57" fmla="*/ 2147483647 h 1950"/>
              <a:gd name="T58" fmla="*/ 2147483647 w 2050"/>
              <a:gd name="T59" fmla="*/ 2147483647 h 1950"/>
              <a:gd name="T60" fmla="*/ 2147483647 w 2050"/>
              <a:gd name="T61" fmla="*/ 2147483647 h 1950"/>
              <a:gd name="T62" fmla="*/ 2147483647 w 2050"/>
              <a:gd name="T63" fmla="*/ 2147483647 h 1950"/>
              <a:gd name="T64" fmla="*/ 2147483647 w 2050"/>
              <a:gd name="T65" fmla="*/ 2147483647 h 1950"/>
              <a:gd name="T66" fmla="*/ 2147483647 w 2050"/>
              <a:gd name="T67" fmla="*/ 2147483647 h 1950"/>
              <a:gd name="T68" fmla="*/ 2147483647 w 2050"/>
              <a:gd name="T69" fmla="*/ 2147483647 h 1950"/>
              <a:gd name="T70" fmla="*/ 2147483647 w 2050"/>
              <a:gd name="T71" fmla="*/ 2147483647 h 1950"/>
              <a:gd name="T72" fmla="*/ 2147483647 w 2050"/>
              <a:gd name="T73" fmla="*/ 2147483647 h 1950"/>
              <a:gd name="T74" fmla="*/ 2147483647 w 2050"/>
              <a:gd name="T75" fmla="*/ 2147483647 h 1950"/>
              <a:gd name="T76" fmla="*/ 2147483647 w 2050"/>
              <a:gd name="T77" fmla="*/ 2147483647 h 1950"/>
              <a:gd name="T78" fmla="*/ 2147483647 w 2050"/>
              <a:gd name="T79" fmla="*/ 2147483647 h 1950"/>
              <a:gd name="T80" fmla="*/ 2147483647 w 2050"/>
              <a:gd name="T81" fmla="*/ 2147483647 h 1950"/>
              <a:gd name="T82" fmla="*/ 2147483647 w 2050"/>
              <a:gd name="T83" fmla="*/ 2147483647 h 1950"/>
              <a:gd name="T84" fmla="*/ 2147483647 w 2050"/>
              <a:gd name="T85" fmla="*/ 2147483647 h 1950"/>
              <a:gd name="T86" fmla="*/ 2147483647 w 2050"/>
              <a:gd name="T87" fmla="*/ 2147483647 h 1950"/>
              <a:gd name="T88" fmla="*/ 2147483647 w 2050"/>
              <a:gd name="T89" fmla="*/ 2147483647 h 1950"/>
              <a:gd name="T90" fmla="*/ 2147483647 w 2050"/>
              <a:gd name="T91" fmla="*/ 2147483647 h 1950"/>
              <a:gd name="T92" fmla="*/ 2147483647 w 2050"/>
              <a:gd name="T93" fmla="*/ 2147483647 h 1950"/>
              <a:gd name="T94" fmla="*/ 2147483647 w 2050"/>
              <a:gd name="T95" fmla="*/ 2147483647 h 1950"/>
              <a:gd name="T96" fmla="*/ 2147483647 w 2050"/>
              <a:gd name="T97" fmla="*/ 2147483647 h 1950"/>
              <a:gd name="T98" fmla="*/ 2147483647 w 2050"/>
              <a:gd name="T99" fmla="*/ 2147483647 h 1950"/>
              <a:gd name="T100" fmla="*/ 2147483647 w 2050"/>
              <a:gd name="T101" fmla="*/ 2147483647 h 1950"/>
              <a:gd name="T102" fmla="*/ 2147483647 w 2050"/>
              <a:gd name="T103" fmla="*/ 2147483647 h 1950"/>
              <a:gd name="T104" fmla="*/ 2147483647 w 2050"/>
              <a:gd name="T105" fmla="*/ 2147483647 h 1950"/>
              <a:gd name="T106" fmla="*/ 2147483647 w 2050"/>
              <a:gd name="T107" fmla="*/ 2147483647 h 1950"/>
              <a:gd name="T108" fmla="*/ 2147483647 w 2050"/>
              <a:gd name="T109" fmla="*/ 2147483647 h 1950"/>
              <a:gd name="T110" fmla="*/ 2147483647 w 2050"/>
              <a:gd name="T111" fmla="*/ 2147483647 h 1950"/>
              <a:gd name="T112" fmla="*/ 2147483647 w 2050"/>
              <a:gd name="T113" fmla="*/ 2147483647 h 1950"/>
              <a:gd name="T114" fmla="*/ 2147483647 w 2050"/>
              <a:gd name="T115" fmla="*/ 2147483647 h 195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050"/>
              <a:gd name="T175" fmla="*/ 0 h 1950"/>
              <a:gd name="T176" fmla="*/ 2050 w 2050"/>
              <a:gd name="T177" fmla="*/ 1950 h 195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050" h="1950">
                <a:moveTo>
                  <a:pt x="1037" y="1950"/>
                </a:moveTo>
                <a:lnTo>
                  <a:pt x="1025" y="1939"/>
                </a:lnTo>
                <a:lnTo>
                  <a:pt x="1016" y="1930"/>
                </a:lnTo>
                <a:lnTo>
                  <a:pt x="1014" y="1915"/>
                </a:lnTo>
                <a:lnTo>
                  <a:pt x="1011" y="1902"/>
                </a:lnTo>
                <a:lnTo>
                  <a:pt x="1007" y="1889"/>
                </a:lnTo>
                <a:lnTo>
                  <a:pt x="1003" y="1877"/>
                </a:lnTo>
                <a:lnTo>
                  <a:pt x="998" y="1866"/>
                </a:lnTo>
                <a:lnTo>
                  <a:pt x="993" y="1857"/>
                </a:lnTo>
                <a:lnTo>
                  <a:pt x="985" y="1849"/>
                </a:lnTo>
                <a:lnTo>
                  <a:pt x="978" y="1842"/>
                </a:lnTo>
                <a:lnTo>
                  <a:pt x="969" y="1835"/>
                </a:lnTo>
                <a:lnTo>
                  <a:pt x="960" y="1830"/>
                </a:lnTo>
                <a:lnTo>
                  <a:pt x="951" y="1826"/>
                </a:lnTo>
                <a:lnTo>
                  <a:pt x="939" y="1822"/>
                </a:lnTo>
                <a:lnTo>
                  <a:pt x="928" y="1820"/>
                </a:lnTo>
                <a:lnTo>
                  <a:pt x="915" y="1818"/>
                </a:lnTo>
                <a:lnTo>
                  <a:pt x="902" y="1816"/>
                </a:lnTo>
                <a:lnTo>
                  <a:pt x="887" y="1816"/>
                </a:lnTo>
                <a:lnTo>
                  <a:pt x="885" y="1803"/>
                </a:lnTo>
                <a:lnTo>
                  <a:pt x="881" y="1790"/>
                </a:lnTo>
                <a:lnTo>
                  <a:pt x="880" y="1777"/>
                </a:lnTo>
                <a:lnTo>
                  <a:pt x="877" y="1764"/>
                </a:lnTo>
                <a:lnTo>
                  <a:pt x="865" y="1761"/>
                </a:lnTo>
                <a:lnTo>
                  <a:pt x="852" y="1757"/>
                </a:lnTo>
                <a:lnTo>
                  <a:pt x="841" y="1755"/>
                </a:lnTo>
                <a:lnTo>
                  <a:pt x="829" y="1752"/>
                </a:lnTo>
                <a:lnTo>
                  <a:pt x="828" y="1734"/>
                </a:lnTo>
                <a:lnTo>
                  <a:pt x="824" y="1712"/>
                </a:lnTo>
                <a:lnTo>
                  <a:pt x="820" y="1701"/>
                </a:lnTo>
                <a:lnTo>
                  <a:pt x="817" y="1691"/>
                </a:lnTo>
                <a:lnTo>
                  <a:pt x="812" y="1680"/>
                </a:lnTo>
                <a:lnTo>
                  <a:pt x="807" y="1673"/>
                </a:lnTo>
                <a:lnTo>
                  <a:pt x="802" y="1665"/>
                </a:lnTo>
                <a:lnTo>
                  <a:pt x="795" y="1658"/>
                </a:lnTo>
                <a:lnTo>
                  <a:pt x="787" y="1654"/>
                </a:lnTo>
                <a:lnTo>
                  <a:pt x="779" y="1653"/>
                </a:lnTo>
                <a:lnTo>
                  <a:pt x="776" y="1653"/>
                </a:lnTo>
                <a:lnTo>
                  <a:pt x="770" y="1654"/>
                </a:lnTo>
                <a:lnTo>
                  <a:pt x="766" y="1657"/>
                </a:lnTo>
                <a:lnTo>
                  <a:pt x="761" y="1660"/>
                </a:lnTo>
                <a:lnTo>
                  <a:pt x="751" y="1667"/>
                </a:lnTo>
                <a:lnTo>
                  <a:pt x="739" y="1679"/>
                </a:lnTo>
                <a:lnTo>
                  <a:pt x="730" y="1678"/>
                </a:lnTo>
                <a:lnTo>
                  <a:pt x="722" y="1676"/>
                </a:lnTo>
                <a:lnTo>
                  <a:pt x="714" y="1674"/>
                </a:lnTo>
                <a:lnTo>
                  <a:pt x="708" y="1671"/>
                </a:lnTo>
                <a:lnTo>
                  <a:pt x="696" y="1663"/>
                </a:lnTo>
                <a:lnTo>
                  <a:pt x="684" y="1653"/>
                </a:lnTo>
                <a:lnTo>
                  <a:pt x="674" y="1641"/>
                </a:lnTo>
                <a:lnTo>
                  <a:pt x="662" y="1630"/>
                </a:lnTo>
                <a:lnTo>
                  <a:pt x="651" y="1619"/>
                </a:lnTo>
                <a:lnTo>
                  <a:pt x="638" y="1609"/>
                </a:lnTo>
                <a:lnTo>
                  <a:pt x="629" y="1579"/>
                </a:lnTo>
                <a:lnTo>
                  <a:pt x="623" y="1561"/>
                </a:lnTo>
                <a:lnTo>
                  <a:pt x="617" y="1545"/>
                </a:lnTo>
                <a:lnTo>
                  <a:pt x="608" y="1527"/>
                </a:lnTo>
                <a:lnTo>
                  <a:pt x="580" y="1529"/>
                </a:lnTo>
                <a:lnTo>
                  <a:pt x="552" y="1531"/>
                </a:lnTo>
                <a:lnTo>
                  <a:pt x="539" y="1531"/>
                </a:lnTo>
                <a:lnTo>
                  <a:pt x="524" y="1531"/>
                </a:lnTo>
                <a:lnTo>
                  <a:pt x="511" y="1529"/>
                </a:lnTo>
                <a:lnTo>
                  <a:pt x="497" y="1527"/>
                </a:lnTo>
                <a:lnTo>
                  <a:pt x="491" y="1510"/>
                </a:lnTo>
                <a:lnTo>
                  <a:pt x="487" y="1492"/>
                </a:lnTo>
                <a:lnTo>
                  <a:pt x="475" y="1488"/>
                </a:lnTo>
                <a:lnTo>
                  <a:pt x="462" y="1483"/>
                </a:lnTo>
                <a:lnTo>
                  <a:pt x="452" y="1477"/>
                </a:lnTo>
                <a:lnTo>
                  <a:pt x="441" y="1471"/>
                </a:lnTo>
                <a:lnTo>
                  <a:pt x="422" y="1459"/>
                </a:lnTo>
                <a:lnTo>
                  <a:pt x="405" y="1445"/>
                </a:lnTo>
                <a:lnTo>
                  <a:pt x="388" y="1428"/>
                </a:lnTo>
                <a:lnTo>
                  <a:pt x="372" y="1411"/>
                </a:lnTo>
                <a:lnTo>
                  <a:pt x="355" y="1392"/>
                </a:lnTo>
                <a:lnTo>
                  <a:pt x="338" y="1371"/>
                </a:lnTo>
                <a:lnTo>
                  <a:pt x="327" y="1371"/>
                </a:lnTo>
                <a:lnTo>
                  <a:pt x="315" y="1372"/>
                </a:lnTo>
                <a:lnTo>
                  <a:pt x="305" y="1375"/>
                </a:lnTo>
                <a:lnTo>
                  <a:pt x="295" y="1376"/>
                </a:lnTo>
                <a:lnTo>
                  <a:pt x="276" y="1381"/>
                </a:lnTo>
                <a:lnTo>
                  <a:pt x="254" y="1384"/>
                </a:lnTo>
                <a:lnTo>
                  <a:pt x="246" y="1369"/>
                </a:lnTo>
                <a:lnTo>
                  <a:pt x="240" y="1356"/>
                </a:lnTo>
                <a:lnTo>
                  <a:pt x="233" y="1334"/>
                </a:lnTo>
                <a:lnTo>
                  <a:pt x="221" y="1298"/>
                </a:lnTo>
                <a:lnTo>
                  <a:pt x="206" y="1287"/>
                </a:lnTo>
                <a:lnTo>
                  <a:pt x="186" y="1277"/>
                </a:lnTo>
                <a:lnTo>
                  <a:pt x="165" y="1265"/>
                </a:lnTo>
                <a:lnTo>
                  <a:pt x="145" y="1251"/>
                </a:lnTo>
                <a:lnTo>
                  <a:pt x="130" y="1228"/>
                </a:lnTo>
                <a:lnTo>
                  <a:pt x="113" y="1206"/>
                </a:lnTo>
                <a:lnTo>
                  <a:pt x="95" y="1183"/>
                </a:lnTo>
                <a:lnTo>
                  <a:pt x="76" y="1163"/>
                </a:lnTo>
                <a:lnTo>
                  <a:pt x="38" y="1120"/>
                </a:lnTo>
                <a:lnTo>
                  <a:pt x="0" y="1077"/>
                </a:lnTo>
                <a:lnTo>
                  <a:pt x="1" y="1047"/>
                </a:lnTo>
                <a:lnTo>
                  <a:pt x="3" y="1017"/>
                </a:lnTo>
                <a:lnTo>
                  <a:pt x="7" y="988"/>
                </a:lnTo>
                <a:lnTo>
                  <a:pt x="12" y="961"/>
                </a:lnTo>
                <a:lnTo>
                  <a:pt x="18" y="932"/>
                </a:lnTo>
                <a:lnTo>
                  <a:pt x="27" y="905"/>
                </a:lnTo>
                <a:lnTo>
                  <a:pt x="37" y="878"/>
                </a:lnTo>
                <a:lnTo>
                  <a:pt x="48" y="850"/>
                </a:lnTo>
                <a:lnTo>
                  <a:pt x="73" y="836"/>
                </a:lnTo>
                <a:lnTo>
                  <a:pt x="95" y="824"/>
                </a:lnTo>
                <a:lnTo>
                  <a:pt x="113" y="811"/>
                </a:lnTo>
                <a:lnTo>
                  <a:pt x="132" y="798"/>
                </a:lnTo>
                <a:lnTo>
                  <a:pt x="147" y="784"/>
                </a:lnTo>
                <a:lnTo>
                  <a:pt x="163" y="767"/>
                </a:lnTo>
                <a:lnTo>
                  <a:pt x="178" y="748"/>
                </a:lnTo>
                <a:lnTo>
                  <a:pt x="193" y="724"/>
                </a:lnTo>
                <a:lnTo>
                  <a:pt x="195" y="699"/>
                </a:lnTo>
                <a:lnTo>
                  <a:pt x="198" y="680"/>
                </a:lnTo>
                <a:lnTo>
                  <a:pt x="200" y="672"/>
                </a:lnTo>
                <a:lnTo>
                  <a:pt x="202" y="664"/>
                </a:lnTo>
                <a:lnTo>
                  <a:pt x="204" y="659"/>
                </a:lnTo>
                <a:lnTo>
                  <a:pt x="208" y="654"/>
                </a:lnTo>
                <a:lnTo>
                  <a:pt x="212" y="649"/>
                </a:lnTo>
                <a:lnTo>
                  <a:pt x="216" y="645"/>
                </a:lnTo>
                <a:lnTo>
                  <a:pt x="223" y="640"/>
                </a:lnTo>
                <a:lnTo>
                  <a:pt x="229" y="636"/>
                </a:lnTo>
                <a:lnTo>
                  <a:pt x="246" y="628"/>
                </a:lnTo>
                <a:lnTo>
                  <a:pt x="268" y="618"/>
                </a:lnTo>
                <a:lnTo>
                  <a:pt x="268" y="606"/>
                </a:lnTo>
                <a:lnTo>
                  <a:pt x="268" y="594"/>
                </a:lnTo>
                <a:lnTo>
                  <a:pt x="268" y="582"/>
                </a:lnTo>
                <a:lnTo>
                  <a:pt x="269" y="571"/>
                </a:lnTo>
                <a:lnTo>
                  <a:pt x="256" y="556"/>
                </a:lnTo>
                <a:lnTo>
                  <a:pt x="245" y="546"/>
                </a:lnTo>
                <a:lnTo>
                  <a:pt x="240" y="542"/>
                </a:lnTo>
                <a:lnTo>
                  <a:pt x="233" y="538"/>
                </a:lnTo>
                <a:lnTo>
                  <a:pt x="225" y="534"/>
                </a:lnTo>
                <a:lnTo>
                  <a:pt x="216" y="533"/>
                </a:lnTo>
                <a:lnTo>
                  <a:pt x="216" y="495"/>
                </a:lnTo>
                <a:lnTo>
                  <a:pt x="216" y="463"/>
                </a:lnTo>
                <a:lnTo>
                  <a:pt x="217" y="435"/>
                </a:lnTo>
                <a:lnTo>
                  <a:pt x="223" y="409"/>
                </a:lnTo>
                <a:lnTo>
                  <a:pt x="225" y="398"/>
                </a:lnTo>
                <a:lnTo>
                  <a:pt x="229" y="385"/>
                </a:lnTo>
                <a:lnTo>
                  <a:pt x="234" y="373"/>
                </a:lnTo>
                <a:lnTo>
                  <a:pt x="240" y="360"/>
                </a:lnTo>
                <a:lnTo>
                  <a:pt x="247" y="347"/>
                </a:lnTo>
                <a:lnTo>
                  <a:pt x="256" y="333"/>
                </a:lnTo>
                <a:lnTo>
                  <a:pt x="266" y="317"/>
                </a:lnTo>
                <a:lnTo>
                  <a:pt x="277" y="301"/>
                </a:lnTo>
                <a:lnTo>
                  <a:pt x="280" y="286"/>
                </a:lnTo>
                <a:lnTo>
                  <a:pt x="284" y="271"/>
                </a:lnTo>
                <a:lnTo>
                  <a:pt x="286" y="256"/>
                </a:lnTo>
                <a:lnTo>
                  <a:pt x="290" y="242"/>
                </a:lnTo>
                <a:lnTo>
                  <a:pt x="308" y="243"/>
                </a:lnTo>
                <a:lnTo>
                  <a:pt x="327" y="247"/>
                </a:lnTo>
                <a:lnTo>
                  <a:pt x="347" y="251"/>
                </a:lnTo>
                <a:lnTo>
                  <a:pt x="377" y="252"/>
                </a:lnTo>
                <a:lnTo>
                  <a:pt x="406" y="238"/>
                </a:lnTo>
                <a:lnTo>
                  <a:pt x="423" y="230"/>
                </a:lnTo>
                <a:lnTo>
                  <a:pt x="435" y="226"/>
                </a:lnTo>
                <a:lnTo>
                  <a:pt x="446" y="225"/>
                </a:lnTo>
                <a:lnTo>
                  <a:pt x="462" y="258"/>
                </a:lnTo>
                <a:lnTo>
                  <a:pt x="474" y="286"/>
                </a:lnTo>
                <a:lnTo>
                  <a:pt x="479" y="296"/>
                </a:lnTo>
                <a:lnTo>
                  <a:pt x="484" y="305"/>
                </a:lnTo>
                <a:lnTo>
                  <a:pt x="489" y="313"/>
                </a:lnTo>
                <a:lnTo>
                  <a:pt x="496" y="320"/>
                </a:lnTo>
                <a:lnTo>
                  <a:pt x="502" y="325"/>
                </a:lnTo>
                <a:lnTo>
                  <a:pt x="510" y="329"/>
                </a:lnTo>
                <a:lnTo>
                  <a:pt x="518" y="331"/>
                </a:lnTo>
                <a:lnTo>
                  <a:pt x="528" y="333"/>
                </a:lnTo>
                <a:lnTo>
                  <a:pt x="541" y="334"/>
                </a:lnTo>
                <a:lnTo>
                  <a:pt x="556" y="334"/>
                </a:lnTo>
                <a:lnTo>
                  <a:pt x="571" y="334"/>
                </a:lnTo>
                <a:lnTo>
                  <a:pt x="591" y="333"/>
                </a:lnTo>
                <a:lnTo>
                  <a:pt x="604" y="314"/>
                </a:lnTo>
                <a:lnTo>
                  <a:pt x="615" y="299"/>
                </a:lnTo>
                <a:lnTo>
                  <a:pt x="621" y="292"/>
                </a:lnTo>
                <a:lnTo>
                  <a:pt x="629" y="286"/>
                </a:lnTo>
                <a:lnTo>
                  <a:pt x="636" y="281"/>
                </a:lnTo>
                <a:lnTo>
                  <a:pt x="647" y="274"/>
                </a:lnTo>
                <a:lnTo>
                  <a:pt x="645" y="261"/>
                </a:lnTo>
                <a:lnTo>
                  <a:pt x="644" y="249"/>
                </a:lnTo>
                <a:lnTo>
                  <a:pt x="643" y="236"/>
                </a:lnTo>
                <a:lnTo>
                  <a:pt x="640" y="223"/>
                </a:lnTo>
                <a:lnTo>
                  <a:pt x="629" y="212"/>
                </a:lnTo>
                <a:lnTo>
                  <a:pt x="618" y="201"/>
                </a:lnTo>
                <a:lnTo>
                  <a:pt x="610" y="188"/>
                </a:lnTo>
                <a:lnTo>
                  <a:pt x="604" y="175"/>
                </a:lnTo>
                <a:lnTo>
                  <a:pt x="600" y="161"/>
                </a:lnTo>
                <a:lnTo>
                  <a:pt x="597" y="148"/>
                </a:lnTo>
                <a:lnTo>
                  <a:pt x="597" y="132"/>
                </a:lnTo>
                <a:lnTo>
                  <a:pt x="597" y="118"/>
                </a:lnTo>
                <a:lnTo>
                  <a:pt x="599" y="102"/>
                </a:lnTo>
                <a:lnTo>
                  <a:pt x="601" y="87"/>
                </a:lnTo>
                <a:lnTo>
                  <a:pt x="605" y="72"/>
                </a:lnTo>
                <a:lnTo>
                  <a:pt x="609" y="57"/>
                </a:lnTo>
                <a:lnTo>
                  <a:pt x="618" y="27"/>
                </a:lnTo>
                <a:lnTo>
                  <a:pt x="627" y="0"/>
                </a:lnTo>
                <a:lnTo>
                  <a:pt x="643" y="5"/>
                </a:lnTo>
                <a:lnTo>
                  <a:pt x="657" y="7"/>
                </a:lnTo>
                <a:lnTo>
                  <a:pt x="670" y="9"/>
                </a:lnTo>
                <a:lnTo>
                  <a:pt x="684" y="7"/>
                </a:lnTo>
                <a:lnTo>
                  <a:pt x="713" y="3"/>
                </a:lnTo>
                <a:lnTo>
                  <a:pt x="743" y="0"/>
                </a:lnTo>
                <a:lnTo>
                  <a:pt x="749" y="24"/>
                </a:lnTo>
                <a:lnTo>
                  <a:pt x="753" y="48"/>
                </a:lnTo>
                <a:lnTo>
                  <a:pt x="757" y="71"/>
                </a:lnTo>
                <a:lnTo>
                  <a:pt x="760" y="95"/>
                </a:lnTo>
                <a:lnTo>
                  <a:pt x="761" y="143"/>
                </a:lnTo>
                <a:lnTo>
                  <a:pt x="760" y="193"/>
                </a:lnTo>
                <a:lnTo>
                  <a:pt x="772" y="200"/>
                </a:lnTo>
                <a:lnTo>
                  <a:pt x="781" y="209"/>
                </a:lnTo>
                <a:lnTo>
                  <a:pt x="791" y="221"/>
                </a:lnTo>
                <a:lnTo>
                  <a:pt x="800" y="232"/>
                </a:lnTo>
                <a:lnTo>
                  <a:pt x="809" y="247"/>
                </a:lnTo>
                <a:lnTo>
                  <a:pt x="818" y="261"/>
                </a:lnTo>
                <a:lnTo>
                  <a:pt x="826" y="278"/>
                </a:lnTo>
                <a:lnTo>
                  <a:pt x="834" y="294"/>
                </a:lnTo>
                <a:lnTo>
                  <a:pt x="848" y="327"/>
                </a:lnTo>
                <a:lnTo>
                  <a:pt x="861" y="361"/>
                </a:lnTo>
                <a:lnTo>
                  <a:pt x="874" y="391"/>
                </a:lnTo>
                <a:lnTo>
                  <a:pt x="887" y="417"/>
                </a:lnTo>
                <a:lnTo>
                  <a:pt x="904" y="420"/>
                </a:lnTo>
                <a:lnTo>
                  <a:pt x="921" y="422"/>
                </a:lnTo>
                <a:lnTo>
                  <a:pt x="921" y="411"/>
                </a:lnTo>
                <a:lnTo>
                  <a:pt x="921" y="400"/>
                </a:lnTo>
                <a:lnTo>
                  <a:pt x="921" y="389"/>
                </a:lnTo>
                <a:lnTo>
                  <a:pt x="921" y="378"/>
                </a:lnTo>
                <a:lnTo>
                  <a:pt x="936" y="378"/>
                </a:lnTo>
                <a:lnTo>
                  <a:pt x="949" y="377"/>
                </a:lnTo>
                <a:lnTo>
                  <a:pt x="959" y="373"/>
                </a:lnTo>
                <a:lnTo>
                  <a:pt x="969" y="370"/>
                </a:lnTo>
                <a:lnTo>
                  <a:pt x="977" y="365"/>
                </a:lnTo>
                <a:lnTo>
                  <a:pt x="984" y="360"/>
                </a:lnTo>
                <a:lnTo>
                  <a:pt x="990" y="353"/>
                </a:lnTo>
                <a:lnTo>
                  <a:pt x="995" y="347"/>
                </a:lnTo>
                <a:lnTo>
                  <a:pt x="999" y="339"/>
                </a:lnTo>
                <a:lnTo>
                  <a:pt x="1002" y="331"/>
                </a:lnTo>
                <a:lnTo>
                  <a:pt x="1004" y="322"/>
                </a:lnTo>
                <a:lnTo>
                  <a:pt x="1006" y="313"/>
                </a:lnTo>
                <a:lnTo>
                  <a:pt x="1008" y="294"/>
                </a:lnTo>
                <a:lnTo>
                  <a:pt x="1011" y="274"/>
                </a:lnTo>
                <a:lnTo>
                  <a:pt x="1012" y="255"/>
                </a:lnTo>
                <a:lnTo>
                  <a:pt x="1015" y="235"/>
                </a:lnTo>
                <a:lnTo>
                  <a:pt x="1016" y="225"/>
                </a:lnTo>
                <a:lnTo>
                  <a:pt x="1019" y="216"/>
                </a:lnTo>
                <a:lnTo>
                  <a:pt x="1023" y="206"/>
                </a:lnTo>
                <a:lnTo>
                  <a:pt x="1027" y="199"/>
                </a:lnTo>
                <a:lnTo>
                  <a:pt x="1032" y="191"/>
                </a:lnTo>
                <a:lnTo>
                  <a:pt x="1037" y="183"/>
                </a:lnTo>
                <a:lnTo>
                  <a:pt x="1045" y="177"/>
                </a:lnTo>
                <a:lnTo>
                  <a:pt x="1053" y="170"/>
                </a:lnTo>
                <a:lnTo>
                  <a:pt x="1062" y="165"/>
                </a:lnTo>
                <a:lnTo>
                  <a:pt x="1073" y="161"/>
                </a:lnTo>
                <a:lnTo>
                  <a:pt x="1086" y="158"/>
                </a:lnTo>
                <a:lnTo>
                  <a:pt x="1101" y="156"/>
                </a:lnTo>
                <a:lnTo>
                  <a:pt x="1115" y="161"/>
                </a:lnTo>
                <a:lnTo>
                  <a:pt x="1129" y="164"/>
                </a:lnTo>
                <a:lnTo>
                  <a:pt x="1144" y="165"/>
                </a:lnTo>
                <a:lnTo>
                  <a:pt x="1158" y="165"/>
                </a:lnTo>
                <a:lnTo>
                  <a:pt x="1172" y="164"/>
                </a:lnTo>
                <a:lnTo>
                  <a:pt x="1187" y="160"/>
                </a:lnTo>
                <a:lnTo>
                  <a:pt x="1201" y="156"/>
                </a:lnTo>
                <a:lnTo>
                  <a:pt x="1217" y="149"/>
                </a:lnTo>
                <a:lnTo>
                  <a:pt x="1249" y="152"/>
                </a:lnTo>
                <a:lnTo>
                  <a:pt x="1283" y="153"/>
                </a:lnTo>
                <a:lnTo>
                  <a:pt x="1315" y="154"/>
                </a:lnTo>
                <a:lnTo>
                  <a:pt x="1349" y="157"/>
                </a:lnTo>
                <a:lnTo>
                  <a:pt x="1382" y="158"/>
                </a:lnTo>
                <a:lnTo>
                  <a:pt x="1416" y="161"/>
                </a:lnTo>
                <a:lnTo>
                  <a:pt x="1448" y="164"/>
                </a:lnTo>
                <a:lnTo>
                  <a:pt x="1482" y="165"/>
                </a:lnTo>
                <a:lnTo>
                  <a:pt x="1496" y="188"/>
                </a:lnTo>
                <a:lnTo>
                  <a:pt x="1512" y="208"/>
                </a:lnTo>
                <a:lnTo>
                  <a:pt x="1520" y="217"/>
                </a:lnTo>
                <a:lnTo>
                  <a:pt x="1529" y="226"/>
                </a:lnTo>
                <a:lnTo>
                  <a:pt x="1539" y="234"/>
                </a:lnTo>
                <a:lnTo>
                  <a:pt x="1551" y="242"/>
                </a:lnTo>
                <a:lnTo>
                  <a:pt x="1552" y="258"/>
                </a:lnTo>
                <a:lnTo>
                  <a:pt x="1554" y="274"/>
                </a:lnTo>
                <a:lnTo>
                  <a:pt x="1555" y="291"/>
                </a:lnTo>
                <a:lnTo>
                  <a:pt x="1556" y="308"/>
                </a:lnTo>
                <a:lnTo>
                  <a:pt x="1546" y="309"/>
                </a:lnTo>
                <a:lnTo>
                  <a:pt x="1535" y="312"/>
                </a:lnTo>
                <a:lnTo>
                  <a:pt x="1535" y="322"/>
                </a:lnTo>
                <a:lnTo>
                  <a:pt x="1535" y="334"/>
                </a:lnTo>
                <a:lnTo>
                  <a:pt x="1552" y="340"/>
                </a:lnTo>
                <a:lnTo>
                  <a:pt x="1570" y="346"/>
                </a:lnTo>
                <a:lnTo>
                  <a:pt x="1573" y="364"/>
                </a:lnTo>
                <a:lnTo>
                  <a:pt x="1576" y="385"/>
                </a:lnTo>
                <a:lnTo>
                  <a:pt x="1585" y="385"/>
                </a:lnTo>
                <a:lnTo>
                  <a:pt x="1595" y="385"/>
                </a:lnTo>
                <a:lnTo>
                  <a:pt x="1596" y="373"/>
                </a:lnTo>
                <a:lnTo>
                  <a:pt x="1599" y="364"/>
                </a:lnTo>
                <a:lnTo>
                  <a:pt x="1603" y="356"/>
                </a:lnTo>
                <a:lnTo>
                  <a:pt x="1608" y="350"/>
                </a:lnTo>
                <a:lnTo>
                  <a:pt x="1622" y="338"/>
                </a:lnTo>
                <a:lnTo>
                  <a:pt x="1641" y="326"/>
                </a:lnTo>
                <a:lnTo>
                  <a:pt x="1645" y="350"/>
                </a:lnTo>
                <a:lnTo>
                  <a:pt x="1648" y="370"/>
                </a:lnTo>
                <a:lnTo>
                  <a:pt x="1655" y="390"/>
                </a:lnTo>
                <a:lnTo>
                  <a:pt x="1661" y="408"/>
                </a:lnTo>
                <a:lnTo>
                  <a:pt x="1671" y="426"/>
                </a:lnTo>
                <a:lnTo>
                  <a:pt x="1681" y="442"/>
                </a:lnTo>
                <a:lnTo>
                  <a:pt x="1688" y="450"/>
                </a:lnTo>
                <a:lnTo>
                  <a:pt x="1695" y="458"/>
                </a:lnTo>
                <a:lnTo>
                  <a:pt x="1703" y="465"/>
                </a:lnTo>
                <a:lnTo>
                  <a:pt x="1712" y="473"/>
                </a:lnTo>
                <a:lnTo>
                  <a:pt x="1727" y="499"/>
                </a:lnTo>
                <a:lnTo>
                  <a:pt x="1749" y="545"/>
                </a:lnTo>
                <a:lnTo>
                  <a:pt x="1775" y="598"/>
                </a:lnTo>
                <a:lnTo>
                  <a:pt x="1803" y="653"/>
                </a:lnTo>
                <a:lnTo>
                  <a:pt x="1819" y="677"/>
                </a:lnTo>
                <a:lnTo>
                  <a:pt x="1835" y="699"/>
                </a:lnTo>
                <a:lnTo>
                  <a:pt x="1842" y="709"/>
                </a:lnTo>
                <a:lnTo>
                  <a:pt x="1850" y="718"/>
                </a:lnTo>
                <a:lnTo>
                  <a:pt x="1858" y="724"/>
                </a:lnTo>
                <a:lnTo>
                  <a:pt x="1866" y="729"/>
                </a:lnTo>
                <a:lnTo>
                  <a:pt x="1874" y="735"/>
                </a:lnTo>
                <a:lnTo>
                  <a:pt x="1880" y="737"/>
                </a:lnTo>
                <a:lnTo>
                  <a:pt x="1888" y="737"/>
                </a:lnTo>
                <a:lnTo>
                  <a:pt x="1894" y="736"/>
                </a:lnTo>
                <a:lnTo>
                  <a:pt x="1901" y="733"/>
                </a:lnTo>
                <a:lnTo>
                  <a:pt x="1907" y="727"/>
                </a:lnTo>
                <a:lnTo>
                  <a:pt x="1914" y="719"/>
                </a:lnTo>
                <a:lnTo>
                  <a:pt x="1920" y="710"/>
                </a:lnTo>
                <a:lnTo>
                  <a:pt x="1941" y="701"/>
                </a:lnTo>
                <a:lnTo>
                  <a:pt x="1958" y="696"/>
                </a:lnTo>
                <a:lnTo>
                  <a:pt x="1970" y="692"/>
                </a:lnTo>
                <a:lnTo>
                  <a:pt x="1980" y="690"/>
                </a:lnTo>
                <a:lnTo>
                  <a:pt x="1987" y="690"/>
                </a:lnTo>
                <a:lnTo>
                  <a:pt x="1992" y="692"/>
                </a:lnTo>
                <a:lnTo>
                  <a:pt x="1995" y="696"/>
                </a:lnTo>
                <a:lnTo>
                  <a:pt x="1997" y="699"/>
                </a:lnTo>
                <a:lnTo>
                  <a:pt x="2001" y="710"/>
                </a:lnTo>
                <a:lnTo>
                  <a:pt x="2009" y="722"/>
                </a:lnTo>
                <a:lnTo>
                  <a:pt x="2015" y="728"/>
                </a:lnTo>
                <a:lnTo>
                  <a:pt x="2023" y="733"/>
                </a:lnTo>
                <a:lnTo>
                  <a:pt x="2035" y="740"/>
                </a:lnTo>
                <a:lnTo>
                  <a:pt x="2050" y="744"/>
                </a:lnTo>
                <a:lnTo>
                  <a:pt x="2044" y="759"/>
                </a:lnTo>
                <a:lnTo>
                  <a:pt x="2036" y="774"/>
                </a:lnTo>
                <a:lnTo>
                  <a:pt x="2028" y="788"/>
                </a:lnTo>
                <a:lnTo>
                  <a:pt x="2018" y="801"/>
                </a:lnTo>
                <a:lnTo>
                  <a:pt x="1997" y="828"/>
                </a:lnTo>
                <a:lnTo>
                  <a:pt x="1974" y="854"/>
                </a:lnTo>
                <a:lnTo>
                  <a:pt x="1962" y="867"/>
                </a:lnTo>
                <a:lnTo>
                  <a:pt x="1952" y="882"/>
                </a:lnTo>
                <a:lnTo>
                  <a:pt x="1941" y="896"/>
                </a:lnTo>
                <a:lnTo>
                  <a:pt x="1932" y="910"/>
                </a:lnTo>
                <a:lnTo>
                  <a:pt x="1924" y="925"/>
                </a:lnTo>
                <a:lnTo>
                  <a:pt x="1916" y="940"/>
                </a:lnTo>
                <a:lnTo>
                  <a:pt x="1911" y="957"/>
                </a:lnTo>
                <a:lnTo>
                  <a:pt x="1909" y="975"/>
                </a:lnTo>
                <a:lnTo>
                  <a:pt x="1923" y="980"/>
                </a:lnTo>
                <a:lnTo>
                  <a:pt x="1937" y="986"/>
                </a:lnTo>
                <a:lnTo>
                  <a:pt x="1953" y="992"/>
                </a:lnTo>
                <a:lnTo>
                  <a:pt x="1969" y="997"/>
                </a:lnTo>
                <a:lnTo>
                  <a:pt x="1969" y="1018"/>
                </a:lnTo>
                <a:lnTo>
                  <a:pt x="1967" y="1036"/>
                </a:lnTo>
                <a:lnTo>
                  <a:pt x="1965" y="1053"/>
                </a:lnTo>
                <a:lnTo>
                  <a:pt x="1961" y="1070"/>
                </a:lnTo>
                <a:lnTo>
                  <a:pt x="1957" y="1086"/>
                </a:lnTo>
                <a:lnTo>
                  <a:pt x="1949" y="1103"/>
                </a:lnTo>
                <a:lnTo>
                  <a:pt x="1941" y="1118"/>
                </a:lnTo>
                <a:lnTo>
                  <a:pt x="1931" y="1134"/>
                </a:lnTo>
                <a:lnTo>
                  <a:pt x="1933" y="1148"/>
                </a:lnTo>
                <a:lnTo>
                  <a:pt x="1936" y="1159"/>
                </a:lnTo>
                <a:lnTo>
                  <a:pt x="1940" y="1169"/>
                </a:lnTo>
                <a:lnTo>
                  <a:pt x="1944" y="1177"/>
                </a:lnTo>
                <a:lnTo>
                  <a:pt x="1946" y="1186"/>
                </a:lnTo>
                <a:lnTo>
                  <a:pt x="1946" y="1196"/>
                </a:lnTo>
                <a:lnTo>
                  <a:pt x="1945" y="1203"/>
                </a:lnTo>
                <a:lnTo>
                  <a:pt x="1944" y="1209"/>
                </a:lnTo>
                <a:lnTo>
                  <a:pt x="1940" y="1217"/>
                </a:lnTo>
                <a:lnTo>
                  <a:pt x="1935" y="1225"/>
                </a:lnTo>
                <a:lnTo>
                  <a:pt x="1922" y="1228"/>
                </a:lnTo>
                <a:lnTo>
                  <a:pt x="1909" y="1230"/>
                </a:lnTo>
                <a:lnTo>
                  <a:pt x="1902" y="1217"/>
                </a:lnTo>
                <a:lnTo>
                  <a:pt x="1894" y="1206"/>
                </a:lnTo>
                <a:lnTo>
                  <a:pt x="1885" y="1196"/>
                </a:lnTo>
                <a:lnTo>
                  <a:pt x="1876" y="1190"/>
                </a:lnTo>
                <a:lnTo>
                  <a:pt x="1866" y="1183"/>
                </a:lnTo>
                <a:lnTo>
                  <a:pt x="1854" y="1178"/>
                </a:lnTo>
                <a:lnTo>
                  <a:pt x="1842" y="1174"/>
                </a:lnTo>
                <a:lnTo>
                  <a:pt x="1831" y="1170"/>
                </a:lnTo>
                <a:lnTo>
                  <a:pt x="1805" y="1165"/>
                </a:lnTo>
                <a:lnTo>
                  <a:pt x="1779" y="1159"/>
                </a:lnTo>
                <a:lnTo>
                  <a:pt x="1766" y="1155"/>
                </a:lnTo>
                <a:lnTo>
                  <a:pt x="1754" y="1151"/>
                </a:lnTo>
                <a:lnTo>
                  <a:pt x="1741" y="1146"/>
                </a:lnTo>
                <a:lnTo>
                  <a:pt x="1729" y="1138"/>
                </a:lnTo>
                <a:lnTo>
                  <a:pt x="1719" y="1139"/>
                </a:lnTo>
                <a:lnTo>
                  <a:pt x="1708" y="1142"/>
                </a:lnTo>
                <a:lnTo>
                  <a:pt x="1698" y="1144"/>
                </a:lnTo>
                <a:lnTo>
                  <a:pt x="1689" y="1148"/>
                </a:lnTo>
                <a:lnTo>
                  <a:pt x="1681" y="1152"/>
                </a:lnTo>
                <a:lnTo>
                  <a:pt x="1672" y="1155"/>
                </a:lnTo>
                <a:lnTo>
                  <a:pt x="1664" y="1156"/>
                </a:lnTo>
                <a:lnTo>
                  <a:pt x="1656" y="1156"/>
                </a:lnTo>
                <a:lnTo>
                  <a:pt x="1655" y="1131"/>
                </a:lnTo>
                <a:lnTo>
                  <a:pt x="1652" y="1113"/>
                </a:lnTo>
                <a:lnTo>
                  <a:pt x="1652" y="1105"/>
                </a:lnTo>
                <a:lnTo>
                  <a:pt x="1650" y="1099"/>
                </a:lnTo>
                <a:lnTo>
                  <a:pt x="1648" y="1094"/>
                </a:lnTo>
                <a:lnTo>
                  <a:pt x="1646" y="1087"/>
                </a:lnTo>
                <a:lnTo>
                  <a:pt x="1642" y="1083"/>
                </a:lnTo>
                <a:lnTo>
                  <a:pt x="1638" y="1078"/>
                </a:lnTo>
                <a:lnTo>
                  <a:pt x="1633" y="1074"/>
                </a:lnTo>
                <a:lnTo>
                  <a:pt x="1628" y="1070"/>
                </a:lnTo>
                <a:lnTo>
                  <a:pt x="1611" y="1061"/>
                </a:lnTo>
                <a:lnTo>
                  <a:pt x="1589" y="1052"/>
                </a:lnTo>
                <a:lnTo>
                  <a:pt x="1589" y="1044"/>
                </a:lnTo>
                <a:lnTo>
                  <a:pt x="1589" y="1038"/>
                </a:lnTo>
                <a:lnTo>
                  <a:pt x="1563" y="1022"/>
                </a:lnTo>
                <a:lnTo>
                  <a:pt x="1534" y="1003"/>
                </a:lnTo>
                <a:lnTo>
                  <a:pt x="1503" y="984"/>
                </a:lnTo>
                <a:lnTo>
                  <a:pt x="1470" y="965"/>
                </a:lnTo>
                <a:lnTo>
                  <a:pt x="1455" y="957"/>
                </a:lnTo>
                <a:lnTo>
                  <a:pt x="1438" y="949"/>
                </a:lnTo>
                <a:lnTo>
                  <a:pt x="1422" y="943"/>
                </a:lnTo>
                <a:lnTo>
                  <a:pt x="1405" y="936"/>
                </a:lnTo>
                <a:lnTo>
                  <a:pt x="1388" y="932"/>
                </a:lnTo>
                <a:lnTo>
                  <a:pt x="1373" y="930"/>
                </a:lnTo>
                <a:lnTo>
                  <a:pt x="1357" y="928"/>
                </a:lnTo>
                <a:lnTo>
                  <a:pt x="1341" y="928"/>
                </a:lnTo>
                <a:lnTo>
                  <a:pt x="1340" y="948"/>
                </a:lnTo>
                <a:lnTo>
                  <a:pt x="1340" y="967"/>
                </a:lnTo>
                <a:lnTo>
                  <a:pt x="1343" y="986"/>
                </a:lnTo>
                <a:lnTo>
                  <a:pt x="1345" y="1004"/>
                </a:lnTo>
                <a:lnTo>
                  <a:pt x="1354" y="1039"/>
                </a:lnTo>
                <a:lnTo>
                  <a:pt x="1365" y="1073"/>
                </a:lnTo>
                <a:lnTo>
                  <a:pt x="1375" y="1105"/>
                </a:lnTo>
                <a:lnTo>
                  <a:pt x="1383" y="1138"/>
                </a:lnTo>
                <a:lnTo>
                  <a:pt x="1387" y="1155"/>
                </a:lnTo>
                <a:lnTo>
                  <a:pt x="1388" y="1172"/>
                </a:lnTo>
                <a:lnTo>
                  <a:pt x="1390" y="1190"/>
                </a:lnTo>
                <a:lnTo>
                  <a:pt x="1390" y="1207"/>
                </a:lnTo>
                <a:lnTo>
                  <a:pt x="1373" y="1229"/>
                </a:lnTo>
                <a:lnTo>
                  <a:pt x="1361" y="1248"/>
                </a:lnTo>
                <a:lnTo>
                  <a:pt x="1356" y="1256"/>
                </a:lnTo>
                <a:lnTo>
                  <a:pt x="1352" y="1264"/>
                </a:lnTo>
                <a:lnTo>
                  <a:pt x="1349" y="1273"/>
                </a:lnTo>
                <a:lnTo>
                  <a:pt x="1347" y="1281"/>
                </a:lnTo>
                <a:lnTo>
                  <a:pt x="1344" y="1298"/>
                </a:lnTo>
                <a:lnTo>
                  <a:pt x="1343" y="1317"/>
                </a:lnTo>
                <a:lnTo>
                  <a:pt x="1344" y="1340"/>
                </a:lnTo>
                <a:lnTo>
                  <a:pt x="1345" y="1367"/>
                </a:lnTo>
                <a:lnTo>
                  <a:pt x="1315" y="1379"/>
                </a:lnTo>
                <a:lnTo>
                  <a:pt x="1289" y="1390"/>
                </a:lnTo>
                <a:lnTo>
                  <a:pt x="1266" y="1402"/>
                </a:lnTo>
                <a:lnTo>
                  <a:pt x="1245" y="1414"/>
                </a:lnTo>
                <a:lnTo>
                  <a:pt x="1226" y="1427"/>
                </a:lnTo>
                <a:lnTo>
                  <a:pt x="1206" y="1444"/>
                </a:lnTo>
                <a:lnTo>
                  <a:pt x="1185" y="1462"/>
                </a:lnTo>
                <a:lnTo>
                  <a:pt x="1165" y="1484"/>
                </a:lnTo>
                <a:lnTo>
                  <a:pt x="1166" y="1506"/>
                </a:lnTo>
                <a:lnTo>
                  <a:pt x="1167" y="1528"/>
                </a:lnTo>
                <a:lnTo>
                  <a:pt x="1168" y="1550"/>
                </a:lnTo>
                <a:lnTo>
                  <a:pt x="1170" y="1572"/>
                </a:lnTo>
                <a:lnTo>
                  <a:pt x="1175" y="1578"/>
                </a:lnTo>
                <a:lnTo>
                  <a:pt x="1180" y="1580"/>
                </a:lnTo>
                <a:lnTo>
                  <a:pt x="1187" y="1584"/>
                </a:lnTo>
                <a:lnTo>
                  <a:pt x="1194" y="1588"/>
                </a:lnTo>
                <a:lnTo>
                  <a:pt x="1210" y="1593"/>
                </a:lnTo>
                <a:lnTo>
                  <a:pt x="1228" y="1597"/>
                </a:lnTo>
                <a:lnTo>
                  <a:pt x="1246" y="1600"/>
                </a:lnTo>
                <a:lnTo>
                  <a:pt x="1263" y="1602"/>
                </a:lnTo>
                <a:lnTo>
                  <a:pt x="1280" y="1604"/>
                </a:lnTo>
                <a:lnTo>
                  <a:pt x="1295" y="1604"/>
                </a:lnTo>
                <a:lnTo>
                  <a:pt x="1301" y="1591"/>
                </a:lnTo>
                <a:lnTo>
                  <a:pt x="1308" y="1580"/>
                </a:lnTo>
                <a:lnTo>
                  <a:pt x="1314" y="1570"/>
                </a:lnTo>
                <a:lnTo>
                  <a:pt x="1322" y="1561"/>
                </a:lnTo>
                <a:lnTo>
                  <a:pt x="1330" y="1554"/>
                </a:lnTo>
                <a:lnTo>
                  <a:pt x="1338" y="1548"/>
                </a:lnTo>
                <a:lnTo>
                  <a:pt x="1345" y="1542"/>
                </a:lnTo>
                <a:lnTo>
                  <a:pt x="1354" y="1537"/>
                </a:lnTo>
                <a:lnTo>
                  <a:pt x="1364" y="1533"/>
                </a:lnTo>
                <a:lnTo>
                  <a:pt x="1373" y="1531"/>
                </a:lnTo>
                <a:lnTo>
                  <a:pt x="1384" y="1528"/>
                </a:lnTo>
                <a:lnTo>
                  <a:pt x="1395" y="1527"/>
                </a:lnTo>
                <a:lnTo>
                  <a:pt x="1421" y="1526"/>
                </a:lnTo>
                <a:lnTo>
                  <a:pt x="1451" y="1524"/>
                </a:lnTo>
                <a:lnTo>
                  <a:pt x="1464" y="1552"/>
                </a:lnTo>
                <a:lnTo>
                  <a:pt x="1473" y="1574"/>
                </a:lnTo>
                <a:lnTo>
                  <a:pt x="1475" y="1583"/>
                </a:lnTo>
                <a:lnTo>
                  <a:pt x="1477" y="1592"/>
                </a:lnTo>
                <a:lnTo>
                  <a:pt x="1477" y="1600"/>
                </a:lnTo>
                <a:lnTo>
                  <a:pt x="1477" y="1608"/>
                </a:lnTo>
                <a:lnTo>
                  <a:pt x="1474" y="1614"/>
                </a:lnTo>
                <a:lnTo>
                  <a:pt x="1470" y="1622"/>
                </a:lnTo>
                <a:lnTo>
                  <a:pt x="1465" y="1630"/>
                </a:lnTo>
                <a:lnTo>
                  <a:pt x="1459" y="1636"/>
                </a:lnTo>
                <a:lnTo>
                  <a:pt x="1442" y="1653"/>
                </a:lnTo>
                <a:lnTo>
                  <a:pt x="1420" y="1671"/>
                </a:lnTo>
                <a:lnTo>
                  <a:pt x="1413" y="1680"/>
                </a:lnTo>
                <a:lnTo>
                  <a:pt x="1407" y="1688"/>
                </a:lnTo>
                <a:lnTo>
                  <a:pt x="1399" y="1696"/>
                </a:lnTo>
                <a:lnTo>
                  <a:pt x="1392" y="1702"/>
                </a:lnTo>
                <a:lnTo>
                  <a:pt x="1375" y="1714"/>
                </a:lnTo>
                <a:lnTo>
                  <a:pt x="1358" y="1725"/>
                </a:lnTo>
                <a:lnTo>
                  <a:pt x="1341" y="1734"/>
                </a:lnTo>
                <a:lnTo>
                  <a:pt x="1325" y="1745"/>
                </a:lnTo>
                <a:lnTo>
                  <a:pt x="1315" y="1753"/>
                </a:lnTo>
                <a:lnTo>
                  <a:pt x="1308" y="1760"/>
                </a:lnTo>
                <a:lnTo>
                  <a:pt x="1300" y="1769"/>
                </a:lnTo>
                <a:lnTo>
                  <a:pt x="1293" y="1779"/>
                </a:lnTo>
                <a:lnTo>
                  <a:pt x="1292" y="1801"/>
                </a:lnTo>
                <a:lnTo>
                  <a:pt x="1289" y="1825"/>
                </a:lnTo>
                <a:lnTo>
                  <a:pt x="1288" y="1848"/>
                </a:lnTo>
                <a:lnTo>
                  <a:pt x="1287" y="1873"/>
                </a:lnTo>
                <a:lnTo>
                  <a:pt x="1271" y="1881"/>
                </a:lnTo>
                <a:lnTo>
                  <a:pt x="1258" y="1887"/>
                </a:lnTo>
                <a:lnTo>
                  <a:pt x="1248" y="1895"/>
                </a:lnTo>
                <a:lnTo>
                  <a:pt x="1237" y="1903"/>
                </a:lnTo>
                <a:lnTo>
                  <a:pt x="1219" y="1920"/>
                </a:lnTo>
                <a:lnTo>
                  <a:pt x="1197" y="1938"/>
                </a:lnTo>
                <a:lnTo>
                  <a:pt x="1170" y="1935"/>
                </a:lnTo>
                <a:lnTo>
                  <a:pt x="1142" y="1933"/>
                </a:lnTo>
                <a:lnTo>
                  <a:pt x="1115" y="1930"/>
                </a:lnTo>
                <a:lnTo>
                  <a:pt x="1089" y="1926"/>
                </a:lnTo>
                <a:lnTo>
                  <a:pt x="1073" y="1938"/>
                </a:lnTo>
                <a:lnTo>
                  <a:pt x="1062" y="1944"/>
                </a:lnTo>
                <a:lnTo>
                  <a:pt x="1051" y="1947"/>
                </a:lnTo>
                <a:lnTo>
                  <a:pt x="1037" y="1950"/>
                </a:lnTo>
                <a:close/>
              </a:path>
            </a:pathLst>
          </a:custGeom>
          <a:solidFill>
            <a:srgbClr val="00FF00"/>
          </a:solidFill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54" name="Freeform 127"/>
          <p:cNvSpPr>
            <a:spLocks/>
          </p:cNvSpPr>
          <p:nvPr/>
        </p:nvSpPr>
        <p:spPr bwMode="auto">
          <a:xfrm>
            <a:off x="1211263" y="2093913"/>
            <a:ext cx="250825" cy="388937"/>
          </a:xfrm>
          <a:custGeom>
            <a:avLst/>
            <a:gdLst>
              <a:gd name="T0" fmla="*/ 2147483647 w 634"/>
              <a:gd name="T1" fmla="*/ 2147483647 h 981"/>
              <a:gd name="T2" fmla="*/ 2147483647 w 634"/>
              <a:gd name="T3" fmla="*/ 2147483647 h 981"/>
              <a:gd name="T4" fmla="*/ 2147483647 w 634"/>
              <a:gd name="T5" fmla="*/ 2147483647 h 981"/>
              <a:gd name="T6" fmla="*/ 2147483647 w 634"/>
              <a:gd name="T7" fmla="*/ 2147483647 h 981"/>
              <a:gd name="T8" fmla="*/ 2147483647 w 634"/>
              <a:gd name="T9" fmla="*/ 2147483647 h 981"/>
              <a:gd name="T10" fmla="*/ 2147483647 w 634"/>
              <a:gd name="T11" fmla="*/ 2147483647 h 981"/>
              <a:gd name="T12" fmla="*/ 2147483647 w 634"/>
              <a:gd name="T13" fmla="*/ 2147483647 h 981"/>
              <a:gd name="T14" fmla="*/ 2147483647 w 634"/>
              <a:gd name="T15" fmla="*/ 2147483647 h 981"/>
              <a:gd name="T16" fmla="*/ 2147483647 w 634"/>
              <a:gd name="T17" fmla="*/ 2147483647 h 981"/>
              <a:gd name="T18" fmla="*/ 2147483647 w 634"/>
              <a:gd name="T19" fmla="*/ 2147483647 h 981"/>
              <a:gd name="T20" fmla="*/ 0 w 634"/>
              <a:gd name="T21" fmla="*/ 2147483647 h 981"/>
              <a:gd name="T22" fmla="*/ 2147483647 w 634"/>
              <a:gd name="T23" fmla="*/ 2147483647 h 981"/>
              <a:gd name="T24" fmla="*/ 2147483647 w 634"/>
              <a:gd name="T25" fmla="*/ 2147483647 h 981"/>
              <a:gd name="T26" fmla="*/ 2147483647 w 634"/>
              <a:gd name="T27" fmla="*/ 2147483647 h 981"/>
              <a:gd name="T28" fmla="*/ 2147483647 w 634"/>
              <a:gd name="T29" fmla="*/ 2147483647 h 981"/>
              <a:gd name="T30" fmla="*/ 2147483647 w 634"/>
              <a:gd name="T31" fmla="*/ 2147483647 h 981"/>
              <a:gd name="T32" fmla="*/ 2147483647 w 634"/>
              <a:gd name="T33" fmla="*/ 2147483647 h 981"/>
              <a:gd name="T34" fmla="*/ 2147483647 w 634"/>
              <a:gd name="T35" fmla="*/ 2147483647 h 981"/>
              <a:gd name="T36" fmla="*/ 2147483647 w 634"/>
              <a:gd name="T37" fmla="*/ 2147483647 h 981"/>
              <a:gd name="T38" fmla="*/ 2147483647 w 634"/>
              <a:gd name="T39" fmla="*/ 2147483647 h 981"/>
              <a:gd name="T40" fmla="*/ 2147483647 w 634"/>
              <a:gd name="T41" fmla="*/ 2147483647 h 981"/>
              <a:gd name="T42" fmla="*/ 2147483647 w 634"/>
              <a:gd name="T43" fmla="*/ 2147483647 h 981"/>
              <a:gd name="T44" fmla="*/ 2147483647 w 634"/>
              <a:gd name="T45" fmla="*/ 2147483647 h 981"/>
              <a:gd name="T46" fmla="*/ 2147483647 w 634"/>
              <a:gd name="T47" fmla="*/ 2147483647 h 981"/>
              <a:gd name="T48" fmla="*/ 2147483647 w 634"/>
              <a:gd name="T49" fmla="*/ 2147483647 h 981"/>
              <a:gd name="T50" fmla="*/ 2147483647 w 634"/>
              <a:gd name="T51" fmla="*/ 2147483647 h 981"/>
              <a:gd name="T52" fmla="*/ 2147483647 w 634"/>
              <a:gd name="T53" fmla="*/ 0 h 981"/>
              <a:gd name="T54" fmla="*/ 2147483647 w 634"/>
              <a:gd name="T55" fmla="*/ 2147483647 h 981"/>
              <a:gd name="T56" fmla="*/ 2147483647 w 634"/>
              <a:gd name="T57" fmla="*/ 2147483647 h 981"/>
              <a:gd name="T58" fmla="*/ 2147483647 w 634"/>
              <a:gd name="T59" fmla="*/ 2147483647 h 981"/>
              <a:gd name="T60" fmla="*/ 2147483647 w 634"/>
              <a:gd name="T61" fmla="*/ 2147483647 h 981"/>
              <a:gd name="T62" fmla="*/ 2147483647 w 634"/>
              <a:gd name="T63" fmla="*/ 2147483647 h 981"/>
              <a:gd name="T64" fmla="*/ 2147483647 w 634"/>
              <a:gd name="T65" fmla="*/ 2147483647 h 981"/>
              <a:gd name="T66" fmla="*/ 2147483647 w 634"/>
              <a:gd name="T67" fmla="*/ 2147483647 h 981"/>
              <a:gd name="T68" fmla="*/ 2147483647 w 634"/>
              <a:gd name="T69" fmla="*/ 2147483647 h 981"/>
              <a:gd name="T70" fmla="*/ 2147483647 w 634"/>
              <a:gd name="T71" fmla="*/ 2147483647 h 981"/>
              <a:gd name="T72" fmla="*/ 2147483647 w 634"/>
              <a:gd name="T73" fmla="*/ 2147483647 h 981"/>
              <a:gd name="T74" fmla="*/ 2147483647 w 634"/>
              <a:gd name="T75" fmla="*/ 2147483647 h 981"/>
              <a:gd name="T76" fmla="*/ 2147483647 w 634"/>
              <a:gd name="T77" fmla="*/ 2147483647 h 981"/>
              <a:gd name="T78" fmla="*/ 2147483647 w 634"/>
              <a:gd name="T79" fmla="*/ 2147483647 h 981"/>
              <a:gd name="T80" fmla="*/ 2147483647 w 634"/>
              <a:gd name="T81" fmla="*/ 2147483647 h 981"/>
              <a:gd name="T82" fmla="*/ 2147483647 w 634"/>
              <a:gd name="T83" fmla="*/ 2147483647 h 981"/>
              <a:gd name="T84" fmla="*/ 2147483647 w 634"/>
              <a:gd name="T85" fmla="*/ 2147483647 h 981"/>
              <a:gd name="T86" fmla="*/ 2147483647 w 634"/>
              <a:gd name="T87" fmla="*/ 2147483647 h 981"/>
              <a:gd name="T88" fmla="*/ 2147483647 w 634"/>
              <a:gd name="T89" fmla="*/ 2147483647 h 981"/>
              <a:gd name="T90" fmla="*/ 2147483647 w 634"/>
              <a:gd name="T91" fmla="*/ 2147483647 h 981"/>
              <a:gd name="T92" fmla="*/ 2147483647 w 634"/>
              <a:gd name="T93" fmla="*/ 2147483647 h 981"/>
              <a:gd name="T94" fmla="*/ 2147483647 w 634"/>
              <a:gd name="T95" fmla="*/ 2147483647 h 981"/>
              <a:gd name="T96" fmla="*/ 2147483647 w 634"/>
              <a:gd name="T97" fmla="*/ 2147483647 h 981"/>
              <a:gd name="T98" fmla="*/ 2147483647 w 634"/>
              <a:gd name="T99" fmla="*/ 2147483647 h 981"/>
              <a:gd name="T100" fmla="*/ 2147483647 w 634"/>
              <a:gd name="T101" fmla="*/ 2147483647 h 981"/>
              <a:gd name="T102" fmla="*/ 2147483647 w 634"/>
              <a:gd name="T103" fmla="*/ 2147483647 h 981"/>
              <a:gd name="T104" fmla="*/ 2147483647 w 634"/>
              <a:gd name="T105" fmla="*/ 2147483647 h 981"/>
              <a:gd name="T106" fmla="*/ 2147483647 w 634"/>
              <a:gd name="T107" fmla="*/ 2147483647 h 981"/>
              <a:gd name="T108" fmla="*/ 2147483647 w 634"/>
              <a:gd name="T109" fmla="*/ 2147483647 h 981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634"/>
              <a:gd name="T166" fmla="*/ 0 h 981"/>
              <a:gd name="T167" fmla="*/ 634 w 634"/>
              <a:gd name="T168" fmla="*/ 981 h 981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634" h="981">
                <a:moveTo>
                  <a:pt x="202" y="981"/>
                </a:moveTo>
                <a:lnTo>
                  <a:pt x="196" y="967"/>
                </a:lnTo>
                <a:lnTo>
                  <a:pt x="191" y="954"/>
                </a:lnTo>
                <a:lnTo>
                  <a:pt x="181" y="952"/>
                </a:lnTo>
                <a:lnTo>
                  <a:pt x="170" y="952"/>
                </a:lnTo>
                <a:lnTo>
                  <a:pt x="160" y="952"/>
                </a:lnTo>
                <a:lnTo>
                  <a:pt x="151" y="952"/>
                </a:lnTo>
                <a:lnTo>
                  <a:pt x="150" y="932"/>
                </a:lnTo>
                <a:lnTo>
                  <a:pt x="147" y="913"/>
                </a:lnTo>
                <a:lnTo>
                  <a:pt x="146" y="898"/>
                </a:lnTo>
                <a:lnTo>
                  <a:pt x="143" y="884"/>
                </a:lnTo>
                <a:lnTo>
                  <a:pt x="139" y="872"/>
                </a:lnTo>
                <a:lnTo>
                  <a:pt x="135" y="860"/>
                </a:lnTo>
                <a:lnTo>
                  <a:pt x="130" y="851"/>
                </a:lnTo>
                <a:lnTo>
                  <a:pt x="124" y="842"/>
                </a:lnTo>
                <a:lnTo>
                  <a:pt x="116" y="834"/>
                </a:lnTo>
                <a:lnTo>
                  <a:pt x="108" y="828"/>
                </a:lnTo>
                <a:lnTo>
                  <a:pt x="98" y="821"/>
                </a:lnTo>
                <a:lnTo>
                  <a:pt x="86" y="816"/>
                </a:lnTo>
                <a:lnTo>
                  <a:pt x="59" y="805"/>
                </a:lnTo>
                <a:lnTo>
                  <a:pt x="23" y="794"/>
                </a:lnTo>
                <a:lnTo>
                  <a:pt x="27" y="753"/>
                </a:lnTo>
                <a:lnTo>
                  <a:pt x="33" y="716"/>
                </a:lnTo>
                <a:lnTo>
                  <a:pt x="34" y="696"/>
                </a:lnTo>
                <a:lnTo>
                  <a:pt x="33" y="678"/>
                </a:lnTo>
                <a:lnTo>
                  <a:pt x="31" y="669"/>
                </a:lnTo>
                <a:lnTo>
                  <a:pt x="29" y="660"/>
                </a:lnTo>
                <a:lnTo>
                  <a:pt x="25" y="649"/>
                </a:lnTo>
                <a:lnTo>
                  <a:pt x="19" y="640"/>
                </a:lnTo>
                <a:lnTo>
                  <a:pt x="14" y="614"/>
                </a:lnTo>
                <a:lnTo>
                  <a:pt x="9" y="588"/>
                </a:lnTo>
                <a:lnTo>
                  <a:pt x="5" y="563"/>
                </a:lnTo>
                <a:lnTo>
                  <a:pt x="0" y="539"/>
                </a:lnTo>
                <a:lnTo>
                  <a:pt x="25" y="495"/>
                </a:lnTo>
                <a:lnTo>
                  <a:pt x="49" y="452"/>
                </a:lnTo>
                <a:lnTo>
                  <a:pt x="74" y="410"/>
                </a:lnTo>
                <a:lnTo>
                  <a:pt x="99" y="367"/>
                </a:lnTo>
                <a:lnTo>
                  <a:pt x="131" y="338"/>
                </a:lnTo>
                <a:lnTo>
                  <a:pt x="152" y="320"/>
                </a:lnTo>
                <a:lnTo>
                  <a:pt x="169" y="301"/>
                </a:lnTo>
                <a:lnTo>
                  <a:pt x="193" y="275"/>
                </a:lnTo>
                <a:lnTo>
                  <a:pt x="203" y="245"/>
                </a:lnTo>
                <a:lnTo>
                  <a:pt x="211" y="223"/>
                </a:lnTo>
                <a:lnTo>
                  <a:pt x="215" y="214"/>
                </a:lnTo>
                <a:lnTo>
                  <a:pt x="217" y="207"/>
                </a:lnTo>
                <a:lnTo>
                  <a:pt x="221" y="201"/>
                </a:lnTo>
                <a:lnTo>
                  <a:pt x="225" y="195"/>
                </a:lnTo>
                <a:lnTo>
                  <a:pt x="229" y="191"/>
                </a:lnTo>
                <a:lnTo>
                  <a:pt x="234" y="188"/>
                </a:lnTo>
                <a:lnTo>
                  <a:pt x="241" y="185"/>
                </a:lnTo>
                <a:lnTo>
                  <a:pt x="248" y="181"/>
                </a:lnTo>
                <a:lnTo>
                  <a:pt x="268" y="176"/>
                </a:lnTo>
                <a:lnTo>
                  <a:pt x="294" y="169"/>
                </a:lnTo>
                <a:lnTo>
                  <a:pt x="298" y="172"/>
                </a:lnTo>
                <a:lnTo>
                  <a:pt x="302" y="175"/>
                </a:lnTo>
                <a:lnTo>
                  <a:pt x="304" y="177"/>
                </a:lnTo>
                <a:lnTo>
                  <a:pt x="307" y="182"/>
                </a:lnTo>
                <a:lnTo>
                  <a:pt x="316" y="199"/>
                </a:lnTo>
                <a:lnTo>
                  <a:pt x="329" y="230"/>
                </a:lnTo>
                <a:lnTo>
                  <a:pt x="340" y="230"/>
                </a:lnTo>
                <a:lnTo>
                  <a:pt x="350" y="230"/>
                </a:lnTo>
                <a:lnTo>
                  <a:pt x="359" y="230"/>
                </a:lnTo>
                <a:lnTo>
                  <a:pt x="369" y="230"/>
                </a:lnTo>
                <a:lnTo>
                  <a:pt x="371" y="212"/>
                </a:lnTo>
                <a:lnTo>
                  <a:pt x="373" y="194"/>
                </a:lnTo>
                <a:lnTo>
                  <a:pt x="376" y="177"/>
                </a:lnTo>
                <a:lnTo>
                  <a:pt x="379" y="159"/>
                </a:lnTo>
                <a:lnTo>
                  <a:pt x="371" y="149"/>
                </a:lnTo>
                <a:lnTo>
                  <a:pt x="367" y="139"/>
                </a:lnTo>
                <a:lnTo>
                  <a:pt x="364" y="130"/>
                </a:lnTo>
                <a:lnTo>
                  <a:pt x="362" y="117"/>
                </a:lnTo>
                <a:lnTo>
                  <a:pt x="369" y="108"/>
                </a:lnTo>
                <a:lnTo>
                  <a:pt x="379" y="100"/>
                </a:lnTo>
                <a:lnTo>
                  <a:pt x="389" y="95"/>
                </a:lnTo>
                <a:lnTo>
                  <a:pt x="399" y="93"/>
                </a:lnTo>
                <a:lnTo>
                  <a:pt x="423" y="87"/>
                </a:lnTo>
                <a:lnTo>
                  <a:pt x="446" y="85"/>
                </a:lnTo>
                <a:lnTo>
                  <a:pt x="481" y="56"/>
                </a:lnTo>
                <a:lnTo>
                  <a:pt x="503" y="38"/>
                </a:lnTo>
                <a:lnTo>
                  <a:pt x="520" y="22"/>
                </a:lnTo>
                <a:lnTo>
                  <a:pt x="541" y="0"/>
                </a:lnTo>
                <a:lnTo>
                  <a:pt x="550" y="3"/>
                </a:lnTo>
                <a:lnTo>
                  <a:pt x="562" y="5"/>
                </a:lnTo>
                <a:lnTo>
                  <a:pt x="565" y="24"/>
                </a:lnTo>
                <a:lnTo>
                  <a:pt x="570" y="42"/>
                </a:lnTo>
                <a:lnTo>
                  <a:pt x="576" y="56"/>
                </a:lnTo>
                <a:lnTo>
                  <a:pt x="583" y="72"/>
                </a:lnTo>
                <a:lnTo>
                  <a:pt x="598" y="98"/>
                </a:lnTo>
                <a:lnTo>
                  <a:pt x="614" y="121"/>
                </a:lnTo>
                <a:lnTo>
                  <a:pt x="621" y="134"/>
                </a:lnTo>
                <a:lnTo>
                  <a:pt x="626" y="146"/>
                </a:lnTo>
                <a:lnTo>
                  <a:pt x="630" y="159"/>
                </a:lnTo>
                <a:lnTo>
                  <a:pt x="631" y="172"/>
                </a:lnTo>
                <a:lnTo>
                  <a:pt x="630" y="186"/>
                </a:lnTo>
                <a:lnTo>
                  <a:pt x="627" y="202"/>
                </a:lnTo>
                <a:lnTo>
                  <a:pt x="621" y="219"/>
                </a:lnTo>
                <a:lnTo>
                  <a:pt x="610" y="237"/>
                </a:lnTo>
                <a:lnTo>
                  <a:pt x="610" y="251"/>
                </a:lnTo>
                <a:lnTo>
                  <a:pt x="611" y="266"/>
                </a:lnTo>
                <a:lnTo>
                  <a:pt x="622" y="271"/>
                </a:lnTo>
                <a:lnTo>
                  <a:pt x="634" y="279"/>
                </a:lnTo>
                <a:lnTo>
                  <a:pt x="632" y="286"/>
                </a:lnTo>
                <a:lnTo>
                  <a:pt x="630" y="293"/>
                </a:lnTo>
                <a:lnTo>
                  <a:pt x="626" y="298"/>
                </a:lnTo>
                <a:lnTo>
                  <a:pt x="622" y="303"/>
                </a:lnTo>
                <a:lnTo>
                  <a:pt x="613" y="312"/>
                </a:lnTo>
                <a:lnTo>
                  <a:pt x="601" y="320"/>
                </a:lnTo>
                <a:lnTo>
                  <a:pt x="588" y="328"/>
                </a:lnTo>
                <a:lnTo>
                  <a:pt x="576" y="337"/>
                </a:lnTo>
                <a:lnTo>
                  <a:pt x="570" y="342"/>
                </a:lnTo>
                <a:lnTo>
                  <a:pt x="565" y="348"/>
                </a:lnTo>
                <a:lnTo>
                  <a:pt x="559" y="354"/>
                </a:lnTo>
                <a:lnTo>
                  <a:pt x="554" y="362"/>
                </a:lnTo>
                <a:lnTo>
                  <a:pt x="554" y="376"/>
                </a:lnTo>
                <a:lnTo>
                  <a:pt x="556" y="396"/>
                </a:lnTo>
                <a:lnTo>
                  <a:pt x="558" y="416"/>
                </a:lnTo>
                <a:lnTo>
                  <a:pt x="562" y="439"/>
                </a:lnTo>
                <a:lnTo>
                  <a:pt x="565" y="459"/>
                </a:lnTo>
                <a:lnTo>
                  <a:pt x="567" y="478"/>
                </a:lnTo>
                <a:lnTo>
                  <a:pt x="569" y="492"/>
                </a:lnTo>
                <a:lnTo>
                  <a:pt x="567" y="500"/>
                </a:lnTo>
                <a:lnTo>
                  <a:pt x="559" y="504"/>
                </a:lnTo>
                <a:lnTo>
                  <a:pt x="553" y="506"/>
                </a:lnTo>
                <a:lnTo>
                  <a:pt x="548" y="511"/>
                </a:lnTo>
                <a:lnTo>
                  <a:pt x="544" y="517"/>
                </a:lnTo>
                <a:lnTo>
                  <a:pt x="539" y="528"/>
                </a:lnTo>
                <a:lnTo>
                  <a:pt x="531" y="544"/>
                </a:lnTo>
                <a:lnTo>
                  <a:pt x="514" y="552"/>
                </a:lnTo>
                <a:lnTo>
                  <a:pt x="500" y="558"/>
                </a:lnTo>
                <a:lnTo>
                  <a:pt x="489" y="563"/>
                </a:lnTo>
                <a:lnTo>
                  <a:pt x="483" y="571"/>
                </a:lnTo>
                <a:lnTo>
                  <a:pt x="477" y="579"/>
                </a:lnTo>
                <a:lnTo>
                  <a:pt x="474" y="590"/>
                </a:lnTo>
                <a:lnTo>
                  <a:pt x="470" y="604"/>
                </a:lnTo>
                <a:lnTo>
                  <a:pt x="466" y="621"/>
                </a:lnTo>
                <a:lnTo>
                  <a:pt x="450" y="632"/>
                </a:lnTo>
                <a:lnTo>
                  <a:pt x="438" y="642"/>
                </a:lnTo>
                <a:lnTo>
                  <a:pt x="429" y="649"/>
                </a:lnTo>
                <a:lnTo>
                  <a:pt x="424" y="658"/>
                </a:lnTo>
                <a:lnTo>
                  <a:pt x="420" y="668"/>
                </a:lnTo>
                <a:lnTo>
                  <a:pt x="418" y="679"/>
                </a:lnTo>
                <a:lnTo>
                  <a:pt x="416" y="694"/>
                </a:lnTo>
                <a:lnTo>
                  <a:pt x="414" y="712"/>
                </a:lnTo>
                <a:lnTo>
                  <a:pt x="402" y="714"/>
                </a:lnTo>
                <a:lnTo>
                  <a:pt x="390" y="717"/>
                </a:lnTo>
                <a:lnTo>
                  <a:pt x="380" y="720"/>
                </a:lnTo>
                <a:lnTo>
                  <a:pt x="369" y="724"/>
                </a:lnTo>
                <a:lnTo>
                  <a:pt x="368" y="738"/>
                </a:lnTo>
                <a:lnTo>
                  <a:pt x="367" y="752"/>
                </a:lnTo>
                <a:lnTo>
                  <a:pt x="366" y="766"/>
                </a:lnTo>
                <a:lnTo>
                  <a:pt x="364" y="782"/>
                </a:lnTo>
                <a:lnTo>
                  <a:pt x="356" y="789"/>
                </a:lnTo>
                <a:lnTo>
                  <a:pt x="351" y="794"/>
                </a:lnTo>
                <a:lnTo>
                  <a:pt x="346" y="800"/>
                </a:lnTo>
                <a:lnTo>
                  <a:pt x="341" y="808"/>
                </a:lnTo>
                <a:lnTo>
                  <a:pt x="336" y="824"/>
                </a:lnTo>
                <a:lnTo>
                  <a:pt x="332" y="841"/>
                </a:lnTo>
                <a:lnTo>
                  <a:pt x="328" y="877"/>
                </a:lnTo>
                <a:lnTo>
                  <a:pt x="324" y="911"/>
                </a:lnTo>
                <a:lnTo>
                  <a:pt x="312" y="923"/>
                </a:lnTo>
                <a:lnTo>
                  <a:pt x="298" y="933"/>
                </a:lnTo>
                <a:lnTo>
                  <a:pt x="284" y="943"/>
                </a:lnTo>
                <a:lnTo>
                  <a:pt x="267" y="954"/>
                </a:lnTo>
                <a:lnTo>
                  <a:pt x="250" y="963"/>
                </a:lnTo>
                <a:lnTo>
                  <a:pt x="234" y="971"/>
                </a:lnTo>
                <a:lnTo>
                  <a:pt x="217" y="977"/>
                </a:lnTo>
                <a:lnTo>
                  <a:pt x="202" y="981"/>
                </a:lnTo>
                <a:close/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55" name="Freeform 128"/>
          <p:cNvSpPr>
            <a:spLocks/>
          </p:cNvSpPr>
          <p:nvPr/>
        </p:nvSpPr>
        <p:spPr bwMode="auto">
          <a:xfrm>
            <a:off x="2178050" y="1370013"/>
            <a:ext cx="458788" cy="606425"/>
          </a:xfrm>
          <a:custGeom>
            <a:avLst/>
            <a:gdLst>
              <a:gd name="T0" fmla="*/ 2147483647 w 1158"/>
              <a:gd name="T1" fmla="*/ 2147483647 h 1525"/>
              <a:gd name="T2" fmla="*/ 2147483647 w 1158"/>
              <a:gd name="T3" fmla="*/ 2147483647 h 1525"/>
              <a:gd name="T4" fmla="*/ 2147483647 w 1158"/>
              <a:gd name="T5" fmla="*/ 2147483647 h 1525"/>
              <a:gd name="T6" fmla="*/ 2147483647 w 1158"/>
              <a:gd name="T7" fmla="*/ 2147483647 h 1525"/>
              <a:gd name="T8" fmla="*/ 2147483647 w 1158"/>
              <a:gd name="T9" fmla="*/ 2147483647 h 1525"/>
              <a:gd name="T10" fmla="*/ 2147483647 w 1158"/>
              <a:gd name="T11" fmla="*/ 2147483647 h 1525"/>
              <a:gd name="T12" fmla="*/ 2147483647 w 1158"/>
              <a:gd name="T13" fmla="*/ 2147483647 h 1525"/>
              <a:gd name="T14" fmla="*/ 2147483647 w 1158"/>
              <a:gd name="T15" fmla="*/ 2147483647 h 1525"/>
              <a:gd name="T16" fmla="*/ 2147483647 w 1158"/>
              <a:gd name="T17" fmla="*/ 2147483647 h 1525"/>
              <a:gd name="T18" fmla="*/ 2147483647 w 1158"/>
              <a:gd name="T19" fmla="*/ 2147483647 h 1525"/>
              <a:gd name="T20" fmla="*/ 2147483647 w 1158"/>
              <a:gd name="T21" fmla="*/ 2147483647 h 1525"/>
              <a:gd name="T22" fmla="*/ 2147483647 w 1158"/>
              <a:gd name="T23" fmla="*/ 2147483647 h 1525"/>
              <a:gd name="T24" fmla="*/ 2147483647 w 1158"/>
              <a:gd name="T25" fmla="*/ 2147483647 h 1525"/>
              <a:gd name="T26" fmla="*/ 2147483647 w 1158"/>
              <a:gd name="T27" fmla="*/ 2147483647 h 1525"/>
              <a:gd name="T28" fmla="*/ 2147483647 w 1158"/>
              <a:gd name="T29" fmla="*/ 2147483647 h 1525"/>
              <a:gd name="T30" fmla="*/ 2147483647 w 1158"/>
              <a:gd name="T31" fmla="*/ 2147483647 h 1525"/>
              <a:gd name="T32" fmla="*/ 2147483647 w 1158"/>
              <a:gd name="T33" fmla="*/ 2147483647 h 1525"/>
              <a:gd name="T34" fmla="*/ 2147483647 w 1158"/>
              <a:gd name="T35" fmla="*/ 2147483647 h 1525"/>
              <a:gd name="T36" fmla="*/ 2147483647 w 1158"/>
              <a:gd name="T37" fmla="*/ 2147483647 h 1525"/>
              <a:gd name="T38" fmla="*/ 2147483647 w 1158"/>
              <a:gd name="T39" fmla="*/ 2147483647 h 1525"/>
              <a:gd name="T40" fmla="*/ 2147483647 w 1158"/>
              <a:gd name="T41" fmla="*/ 2147483647 h 1525"/>
              <a:gd name="T42" fmla="*/ 2147483647 w 1158"/>
              <a:gd name="T43" fmla="*/ 2147483647 h 1525"/>
              <a:gd name="T44" fmla="*/ 2147483647 w 1158"/>
              <a:gd name="T45" fmla="*/ 2147483647 h 1525"/>
              <a:gd name="T46" fmla="*/ 2147483647 w 1158"/>
              <a:gd name="T47" fmla="*/ 2147483647 h 1525"/>
              <a:gd name="T48" fmla="*/ 2147483647 w 1158"/>
              <a:gd name="T49" fmla="*/ 2147483647 h 1525"/>
              <a:gd name="T50" fmla="*/ 2147483647 w 1158"/>
              <a:gd name="T51" fmla="*/ 2147483647 h 1525"/>
              <a:gd name="T52" fmla="*/ 2147483647 w 1158"/>
              <a:gd name="T53" fmla="*/ 2147483647 h 1525"/>
              <a:gd name="T54" fmla="*/ 2147483647 w 1158"/>
              <a:gd name="T55" fmla="*/ 2147483647 h 1525"/>
              <a:gd name="T56" fmla="*/ 2147483647 w 1158"/>
              <a:gd name="T57" fmla="*/ 0 h 1525"/>
              <a:gd name="T58" fmla="*/ 2147483647 w 1158"/>
              <a:gd name="T59" fmla="*/ 2147483647 h 1525"/>
              <a:gd name="T60" fmla="*/ 2147483647 w 1158"/>
              <a:gd name="T61" fmla="*/ 2147483647 h 1525"/>
              <a:gd name="T62" fmla="*/ 2147483647 w 1158"/>
              <a:gd name="T63" fmla="*/ 2147483647 h 1525"/>
              <a:gd name="T64" fmla="*/ 2147483647 w 1158"/>
              <a:gd name="T65" fmla="*/ 2147483647 h 1525"/>
              <a:gd name="T66" fmla="*/ 2147483647 w 1158"/>
              <a:gd name="T67" fmla="*/ 2147483647 h 1525"/>
              <a:gd name="T68" fmla="*/ 2147483647 w 1158"/>
              <a:gd name="T69" fmla="*/ 2147483647 h 1525"/>
              <a:gd name="T70" fmla="*/ 2147483647 w 1158"/>
              <a:gd name="T71" fmla="*/ 2147483647 h 1525"/>
              <a:gd name="T72" fmla="*/ 2147483647 w 1158"/>
              <a:gd name="T73" fmla="*/ 2147483647 h 1525"/>
              <a:gd name="T74" fmla="*/ 2147483647 w 1158"/>
              <a:gd name="T75" fmla="*/ 2147483647 h 1525"/>
              <a:gd name="T76" fmla="*/ 2147483647 w 1158"/>
              <a:gd name="T77" fmla="*/ 2147483647 h 1525"/>
              <a:gd name="T78" fmla="*/ 2147483647 w 1158"/>
              <a:gd name="T79" fmla="*/ 2147483647 h 1525"/>
              <a:gd name="T80" fmla="*/ 2147483647 w 1158"/>
              <a:gd name="T81" fmla="*/ 2147483647 h 1525"/>
              <a:gd name="T82" fmla="*/ 2147483647 w 1158"/>
              <a:gd name="T83" fmla="*/ 2147483647 h 1525"/>
              <a:gd name="T84" fmla="*/ 2147483647 w 1158"/>
              <a:gd name="T85" fmla="*/ 2147483647 h 1525"/>
              <a:gd name="T86" fmla="*/ 2147483647 w 1158"/>
              <a:gd name="T87" fmla="*/ 2147483647 h 1525"/>
              <a:gd name="T88" fmla="*/ 2147483647 w 1158"/>
              <a:gd name="T89" fmla="*/ 2147483647 h 1525"/>
              <a:gd name="T90" fmla="*/ 2147483647 w 1158"/>
              <a:gd name="T91" fmla="*/ 2147483647 h 1525"/>
              <a:gd name="T92" fmla="*/ 2147483647 w 1158"/>
              <a:gd name="T93" fmla="*/ 2147483647 h 1525"/>
              <a:gd name="T94" fmla="*/ 2147483647 w 1158"/>
              <a:gd name="T95" fmla="*/ 2147483647 h 1525"/>
              <a:gd name="T96" fmla="*/ 2147483647 w 1158"/>
              <a:gd name="T97" fmla="*/ 2147483647 h 1525"/>
              <a:gd name="T98" fmla="*/ 2147483647 w 1158"/>
              <a:gd name="T99" fmla="*/ 2147483647 h 1525"/>
              <a:gd name="T100" fmla="*/ 2147483647 w 1158"/>
              <a:gd name="T101" fmla="*/ 2147483647 h 1525"/>
              <a:gd name="T102" fmla="*/ 2147483647 w 1158"/>
              <a:gd name="T103" fmla="*/ 2147483647 h 1525"/>
              <a:gd name="T104" fmla="*/ 2147483647 w 1158"/>
              <a:gd name="T105" fmla="*/ 2147483647 h 1525"/>
              <a:gd name="T106" fmla="*/ 2147483647 w 1158"/>
              <a:gd name="T107" fmla="*/ 2147483647 h 1525"/>
              <a:gd name="T108" fmla="*/ 2147483647 w 1158"/>
              <a:gd name="T109" fmla="*/ 2147483647 h 1525"/>
              <a:gd name="T110" fmla="*/ 2147483647 w 1158"/>
              <a:gd name="T111" fmla="*/ 2147483647 h 1525"/>
              <a:gd name="T112" fmla="*/ 2147483647 w 1158"/>
              <a:gd name="T113" fmla="*/ 2147483647 h 1525"/>
              <a:gd name="T114" fmla="*/ 2147483647 w 1158"/>
              <a:gd name="T115" fmla="*/ 2147483647 h 1525"/>
              <a:gd name="T116" fmla="*/ 2147483647 w 1158"/>
              <a:gd name="T117" fmla="*/ 2147483647 h 1525"/>
              <a:gd name="T118" fmla="*/ 2147483647 w 1158"/>
              <a:gd name="T119" fmla="*/ 2147483647 h 1525"/>
              <a:gd name="T120" fmla="*/ 2147483647 w 1158"/>
              <a:gd name="T121" fmla="*/ 2147483647 h 1525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158"/>
              <a:gd name="T184" fmla="*/ 0 h 1525"/>
              <a:gd name="T185" fmla="*/ 1158 w 1158"/>
              <a:gd name="T186" fmla="*/ 1525 h 1525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158" h="1525">
                <a:moveTo>
                  <a:pt x="774" y="1525"/>
                </a:moveTo>
                <a:lnTo>
                  <a:pt x="718" y="1493"/>
                </a:lnTo>
                <a:lnTo>
                  <a:pt x="681" y="1473"/>
                </a:lnTo>
                <a:lnTo>
                  <a:pt x="650" y="1452"/>
                </a:lnTo>
                <a:lnTo>
                  <a:pt x="609" y="1421"/>
                </a:lnTo>
                <a:lnTo>
                  <a:pt x="589" y="1391"/>
                </a:lnTo>
                <a:lnTo>
                  <a:pt x="575" y="1362"/>
                </a:lnTo>
                <a:lnTo>
                  <a:pt x="555" y="1320"/>
                </a:lnTo>
                <a:lnTo>
                  <a:pt x="525" y="1250"/>
                </a:lnTo>
                <a:lnTo>
                  <a:pt x="512" y="1236"/>
                </a:lnTo>
                <a:lnTo>
                  <a:pt x="501" y="1221"/>
                </a:lnTo>
                <a:lnTo>
                  <a:pt x="492" y="1206"/>
                </a:lnTo>
                <a:lnTo>
                  <a:pt x="482" y="1192"/>
                </a:lnTo>
                <a:lnTo>
                  <a:pt x="468" y="1160"/>
                </a:lnTo>
                <a:lnTo>
                  <a:pt x="455" y="1128"/>
                </a:lnTo>
                <a:lnTo>
                  <a:pt x="443" y="1095"/>
                </a:lnTo>
                <a:lnTo>
                  <a:pt x="430" y="1063"/>
                </a:lnTo>
                <a:lnTo>
                  <a:pt x="424" y="1046"/>
                </a:lnTo>
                <a:lnTo>
                  <a:pt x="416" y="1030"/>
                </a:lnTo>
                <a:lnTo>
                  <a:pt x="407" y="1015"/>
                </a:lnTo>
                <a:lnTo>
                  <a:pt x="397" y="999"/>
                </a:lnTo>
                <a:lnTo>
                  <a:pt x="393" y="972"/>
                </a:lnTo>
                <a:lnTo>
                  <a:pt x="387" y="946"/>
                </a:lnTo>
                <a:lnTo>
                  <a:pt x="381" y="921"/>
                </a:lnTo>
                <a:lnTo>
                  <a:pt x="373" y="895"/>
                </a:lnTo>
                <a:lnTo>
                  <a:pt x="367" y="870"/>
                </a:lnTo>
                <a:lnTo>
                  <a:pt x="360" y="844"/>
                </a:lnTo>
                <a:lnTo>
                  <a:pt x="355" y="817"/>
                </a:lnTo>
                <a:lnTo>
                  <a:pt x="352" y="788"/>
                </a:lnTo>
                <a:lnTo>
                  <a:pt x="356" y="773"/>
                </a:lnTo>
                <a:lnTo>
                  <a:pt x="360" y="760"/>
                </a:lnTo>
                <a:lnTo>
                  <a:pt x="363" y="747"/>
                </a:lnTo>
                <a:lnTo>
                  <a:pt x="364" y="735"/>
                </a:lnTo>
                <a:lnTo>
                  <a:pt x="363" y="725"/>
                </a:lnTo>
                <a:lnTo>
                  <a:pt x="359" y="713"/>
                </a:lnTo>
                <a:lnTo>
                  <a:pt x="354" y="702"/>
                </a:lnTo>
                <a:lnTo>
                  <a:pt x="345" y="689"/>
                </a:lnTo>
                <a:lnTo>
                  <a:pt x="328" y="691"/>
                </a:lnTo>
                <a:lnTo>
                  <a:pt x="312" y="692"/>
                </a:lnTo>
                <a:lnTo>
                  <a:pt x="298" y="770"/>
                </a:lnTo>
                <a:lnTo>
                  <a:pt x="290" y="813"/>
                </a:lnTo>
                <a:lnTo>
                  <a:pt x="285" y="836"/>
                </a:lnTo>
                <a:lnTo>
                  <a:pt x="277" y="853"/>
                </a:lnTo>
                <a:lnTo>
                  <a:pt x="265" y="846"/>
                </a:lnTo>
                <a:lnTo>
                  <a:pt x="252" y="839"/>
                </a:lnTo>
                <a:lnTo>
                  <a:pt x="239" y="835"/>
                </a:lnTo>
                <a:lnTo>
                  <a:pt x="225" y="833"/>
                </a:lnTo>
                <a:lnTo>
                  <a:pt x="198" y="829"/>
                </a:lnTo>
                <a:lnTo>
                  <a:pt x="168" y="826"/>
                </a:lnTo>
                <a:lnTo>
                  <a:pt x="166" y="793"/>
                </a:lnTo>
                <a:lnTo>
                  <a:pt x="166" y="761"/>
                </a:lnTo>
                <a:lnTo>
                  <a:pt x="165" y="730"/>
                </a:lnTo>
                <a:lnTo>
                  <a:pt x="165" y="697"/>
                </a:lnTo>
                <a:lnTo>
                  <a:pt x="134" y="659"/>
                </a:lnTo>
                <a:lnTo>
                  <a:pt x="95" y="609"/>
                </a:lnTo>
                <a:lnTo>
                  <a:pt x="73" y="584"/>
                </a:lnTo>
                <a:lnTo>
                  <a:pt x="52" y="561"/>
                </a:lnTo>
                <a:lnTo>
                  <a:pt x="43" y="550"/>
                </a:lnTo>
                <a:lnTo>
                  <a:pt x="32" y="542"/>
                </a:lnTo>
                <a:lnTo>
                  <a:pt x="24" y="536"/>
                </a:lnTo>
                <a:lnTo>
                  <a:pt x="15" y="531"/>
                </a:lnTo>
                <a:lnTo>
                  <a:pt x="9" y="515"/>
                </a:lnTo>
                <a:lnTo>
                  <a:pt x="0" y="499"/>
                </a:lnTo>
                <a:lnTo>
                  <a:pt x="9" y="481"/>
                </a:lnTo>
                <a:lnTo>
                  <a:pt x="18" y="463"/>
                </a:lnTo>
                <a:lnTo>
                  <a:pt x="26" y="446"/>
                </a:lnTo>
                <a:lnTo>
                  <a:pt x="35" y="428"/>
                </a:lnTo>
                <a:lnTo>
                  <a:pt x="69" y="423"/>
                </a:lnTo>
                <a:lnTo>
                  <a:pt x="87" y="419"/>
                </a:lnTo>
                <a:lnTo>
                  <a:pt x="97" y="416"/>
                </a:lnTo>
                <a:lnTo>
                  <a:pt x="106" y="411"/>
                </a:lnTo>
                <a:lnTo>
                  <a:pt x="155" y="408"/>
                </a:lnTo>
                <a:lnTo>
                  <a:pt x="194" y="406"/>
                </a:lnTo>
                <a:lnTo>
                  <a:pt x="211" y="403"/>
                </a:lnTo>
                <a:lnTo>
                  <a:pt x="225" y="399"/>
                </a:lnTo>
                <a:lnTo>
                  <a:pt x="237" y="394"/>
                </a:lnTo>
                <a:lnTo>
                  <a:pt x="248" y="389"/>
                </a:lnTo>
                <a:lnTo>
                  <a:pt x="259" y="381"/>
                </a:lnTo>
                <a:lnTo>
                  <a:pt x="268" y="372"/>
                </a:lnTo>
                <a:lnTo>
                  <a:pt x="276" y="360"/>
                </a:lnTo>
                <a:lnTo>
                  <a:pt x="283" y="347"/>
                </a:lnTo>
                <a:lnTo>
                  <a:pt x="291" y="332"/>
                </a:lnTo>
                <a:lnTo>
                  <a:pt x="298" y="313"/>
                </a:lnTo>
                <a:lnTo>
                  <a:pt x="304" y="293"/>
                </a:lnTo>
                <a:lnTo>
                  <a:pt x="312" y="269"/>
                </a:lnTo>
                <a:lnTo>
                  <a:pt x="317" y="269"/>
                </a:lnTo>
                <a:lnTo>
                  <a:pt x="324" y="269"/>
                </a:lnTo>
                <a:lnTo>
                  <a:pt x="324" y="242"/>
                </a:lnTo>
                <a:lnTo>
                  <a:pt x="324" y="216"/>
                </a:lnTo>
                <a:lnTo>
                  <a:pt x="325" y="191"/>
                </a:lnTo>
                <a:lnTo>
                  <a:pt x="326" y="166"/>
                </a:lnTo>
                <a:lnTo>
                  <a:pt x="330" y="143"/>
                </a:lnTo>
                <a:lnTo>
                  <a:pt x="334" y="118"/>
                </a:lnTo>
                <a:lnTo>
                  <a:pt x="342" y="94"/>
                </a:lnTo>
                <a:lnTo>
                  <a:pt x="350" y="69"/>
                </a:lnTo>
                <a:lnTo>
                  <a:pt x="381" y="57"/>
                </a:lnTo>
                <a:lnTo>
                  <a:pt x="411" y="45"/>
                </a:lnTo>
                <a:lnTo>
                  <a:pt x="441" y="35"/>
                </a:lnTo>
                <a:lnTo>
                  <a:pt x="472" y="25"/>
                </a:lnTo>
                <a:lnTo>
                  <a:pt x="472" y="12"/>
                </a:lnTo>
                <a:lnTo>
                  <a:pt x="472" y="0"/>
                </a:lnTo>
                <a:lnTo>
                  <a:pt x="485" y="0"/>
                </a:lnTo>
                <a:lnTo>
                  <a:pt x="497" y="3"/>
                </a:lnTo>
                <a:lnTo>
                  <a:pt x="507" y="6"/>
                </a:lnTo>
                <a:lnTo>
                  <a:pt x="518" y="12"/>
                </a:lnTo>
                <a:lnTo>
                  <a:pt x="527" y="16"/>
                </a:lnTo>
                <a:lnTo>
                  <a:pt x="537" y="19"/>
                </a:lnTo>
                <a:lnTo>
                  <a:pt x="547" y="22"/>
                </a:lnTo>
                <a:lnTo>
                  <a:pt x="558" y="22"/>
                </a:lnTo>
                <a:lnTo>
                  <a:pt x="566" y="16"/>
                </a:lnTo>
                <a:lnTo>
                  <a:pt x="572" y="10"/>
                </a:lnTo>
                <a:lnTo>
                  <a:pt x="580" y="6"/>
                </a:lnTo>
                <a:lnTo>
                  <a:pt x="587" y="4"/>
                </a:lnTo>
                <a:lnTo>
                  <a:pt x="594" y="1"/>
                </a:lnTo>
                <a:lnTo>
                  <a:pt x="601" y="0"/>
                </a:lnTo>
                <a:lnTo>
                  <a:pt x="609" y="0"/>
                </a:lnTo>
                <a:lnTo>
                  <a:pt x="615" y="1"/>
                </a:lnTo>
                <a:lnTo>
                  <a:pt x="648" y="8"/>
                </a:lnTo>
                <a:lnTo>
                  <a:pt x="685" y="16"/>
                </a:lnTo>
                <a:lnTo>
                  <a:pt x="706" y="8"/>
                </a:lnTo>
                <a:lnTo>
                  <a:pt x="721" y="3"/>
                </a:lnTo>
                <a:lnTo>
                  <a:pt x="735" y="1"/>
                </a:lnTo>
                <a:lnTo>
                  <a:pt x="754" y="0"/>
                </a:lnTo>
                <a:lnTo>
                  <a:pt x="756" y="14"/>
                </a:lnTo>
                <a:lnTo>
                  <a:pt x="757" y="23"/>
                </a:lnTo>
                <a:lnTo>
                  <a:pt x="760" y="30"/>
                </a:lnTo>
                <a:lnTo>
                  <a:pt x="763" y="38"/>
                </a:lnTo>
                <a:lnTo>
                  <a:pt x="776" y="38"/>
                </a:lnTo>
                <a:lnTo>
                  <a:pt x="786" y="36"/>
                </a:lnTo>
                <a:lnTo>
                  <a:pt x="793" y="34"/>
                </a:lnTo>
                <a:lnTo>
                  <a:pt x="800" y="31"/>
                </a:lnTo>
                <a:lnTo>
                  <a:pt x="813" y="22"/>
                </a:lnTo>
                <a:lnTo>
                  <a:pt x="831" y="13"/>
                </a:lnTo>
                <a:lnTo>
                  <a:pt x="839" y="29"/>
                </a:lnTo>
                <a:lnTo>
                  <a:pt x="845" y="44"/>
                </a:lnTo>
                <a:lnTo>
                  <a:pt x="853" y="61"/>
                </a:lnTo>
                <a:lnTo>
                  <a:pt x="860" y="77"/>
                </a:lnTo>
                <a:lnTo>
                  <a:pt x="881" y="78"/>
                </a:lnTo>
                <a:lnTo>
                  <a:pt x="900" y="81"/>
                </a:lnTo>
                <a:lnTo>
                  <a:pt x="921" y="83"/>
                </a:lnTo>
                <a:lnTo>
                  <a:pt x="940" y="86"/>
                </a:lnTo>
                <a:lnTo>
                  <a:pt x="949" y="116"/>
                </a:lnTo>
                <a:lnTo>
                  <a:pt x="959" y="147"/>
                </a:lnTo>
                <a:lnTo>
                  <a:pt x="962" y="161"/>
                </a:lnTo>
                <a:lnTo>
                  <a:pt x="964" y="177"/>
                </a:lnTo>
                <a:lnTo>
                  <a:pt x="964" y="185"/>
                </a:lnTo>
                <a:lnTo>
                  <a:pt x="964" y="191"/>
                </a:lnTo>
                <a:lnTo>
                  <a:pt x="962" y="199"/>
                </a:lnTo>
                <a:lnTo>
                  <a:pt x="960" y="205"/>
                </a:lnTo>
                <a:lnTo>
                  <a:pt x="948" y="208"/>
                </a:lnTo>
                <a:lnTo>
                  <a:pt x="939" y="211"/>
                </a:lnTo>
                <a:lnTo>
                  <a:pt x="931" y="190"/>
                </a:lnTo>
                <a:lnTo>
                  <a:pt x="926" y="168"/>
                </a:lnTo>
                <a:lnTo>
                  <a:pt x="920" y="147"/>
                </a:lnTo>
                <a:lnTo>
                  <a:pt x="914" y="126"/>
                </a:lnTo>
                <a:lnTo>
                  <a:pt x="903" y="133"/>
                </a:lnTo>
                <a:lnTo>
                  <a:pt x="894" y="138"/>
                </a:lnTo>
                <a:lnTo>
                  <a:pt x="886" y="144"/>
                </a:lnTo>
                <a:lnTo>
                  <a:pt x="881" y="151"/>
                </a:lnTo>
                <a:lnTo>
                  <a:pt x="875" y="159"/>
                </a:lnTo>
                <a:lnTo>
                  <a:pt x="871" y="168"/>
                </a:lnTo>
                <a:lnTo>
                  <a:pt x="869" y="178"/>
                </a:lnTo>
                <a:lnTo>
                  <a:pt x="866" y="192"/>
                </a:lnTo>
                <a:lnTo>
                  <a:pt x="878" y="207"/>
                </a:lnTo>
                <a:lnTo>
                  <a:pt x="888" y="220"/>
                </a:lnTo>
                <a:lnTo>
                  <a:pt x="899" y="233"/>
                </a:lnTo>
                <a:lnTo>
                  <a:pt x="907" y="246"/>
                </a:lnTo>
                <a:lnTo>
                  <a:pt x="909" y="252"/>
                </a:lnTo>
                <a:lnTo>
                  <a:pt x="912" y="260"/>
                </a:lnTo>
                <a:lnTo>
                  <a:pt x="913" y="268"/>
                </a:lnTo>
                <a:lnTo>
                  <a:pt x="914" y="276"/>
                </a:lnTo>
                <a:lnTo>
                  <a:pt x="914" y="284"/>
                </a:lnTo>
                <a:lnTo>
                  <a:pt x="913" y="293"/>
                </a:lnTo>
                <a:lnTo>
                  <a:pt x="910" y="303"/>
                </a:lnTo>
                <a:lnTo>
                  <a:pt x="908" y="313"/>
                </a:lnTo>
                <a:lnTo>
                  <a:pt x="896" y="320"/>
                </a:lnTo>
                <a:lnTo>
                  <a:pt x="887" y="326"/>
                </a:lnTo>
                <a:lnTo>
                  <a:pt x="879" y="333"/>
                </a:lnTo>
                <a:lnTo>
                  <a:pt x="874" y="341"/>
                </a:lnTo>
                <a:lnTo>
                  <a:pt x="869" y="349"/>
                </a:lnTo>
                <a:lnTo>
                  <a:pt x="868" y="359"/>
                </a:lnTo>
                <a:lnTo>
                  <a:pt x="866" y="371"/>
                </a:lnTo>
                <a:lnTo>
                  <a:pt x="868" y="386"/>
                </a:lnTo>
                <a:lnTo>
                  <a:pt x="892" y="375"/>
                </a:lnTo>
                <a:lnTo>
                  <a:pt x="912" y="367"/>
                </a:lnTo>
                <a:lnTo>
                  <a:pt x="921" y="364"/>
                </a:lnTo>
                <a:lnTo>
                  <a:pt x="927" y="364"/>
                </a:lnTo>
                <a:lnTo>
                  <a:pt x="935" y="364"/>
                </a:lnTo>
                <a:lnTo>
                  <a:pt x="940" y="365"/>
                </a:lnTo>
                <a:lnTo>
                  <a:pt x="947" y="368"/>
                </a:lnTo>
                <a:lnTo>
                  <a:pt x="952" y="372"/>
                </a:lnTo>
                <a:lnTo>
                  <a:pt x="957" y="378"/>
                </a:lnTo>
                <a:lnTo>
                  <a:pt x="962" y="385"/>
                </a:lnTo>
                <a:lnTo>
                  <a:pt x="974" y="403"/>
                </a:lnTo>
                <a:lnTo>
                  <a:pt x="987" y="428"/>
                </a:lnTo>
                <a:lnTo>
                  <a:pt x="1015" y="460"/>
                </a:lnTo>
                <a:lnTo>
                  <a:pt x="1031" y="480"/>
                </a:lnTo>
                <a:lnTo>
                  <a:pt x="1044" y="497"/>
                </a:lnTo>
                <a:lnTo>
                  <a:pt x="1057" y="519"/>
                </a:lnTo>
                <a:lnTo>
                  <a:pt x="1068" y="574"/>
                </a:lnTo>
                <a:lnTo>
                  <a:pt x="1076" y="628"/>
                </a:lnTo>
                <a:lnTo>
                  <a:pt x="1083" y="684"/>
                </a:lnTo>
                <a:lnTo>
                  <a:pt x="1090" y="739"/>
                </a:lnTo>
                <a:lnTo>
                  <a:pt x="1096" y="795"/>
                </a:lnTo>
                <a:lnTo>
                  <a:pt x="1100" y="851"/>
                </a:lnTo>
                <a:lnTo>
                  <a:pt x="1104" y="905"/>
                </a:lnTo>
                <a:lnTo>
                  <a:pt x="1108" y="961"/>
                </a:lnTo>
                <a:lnTo>
                  <a:pt x="1113" y="982"/>
                </a:lnTo>
                <a:lnTo>
                  <a:pt x="1119" y="1004"/>
                </a:lnTo>
                <a:lnTo>
                  <a:pt x="1121" y="1025"/>
                </a:lnTo>
                <a:lnTo>
                  <a:pt x="1124" y="1046"/>
                </a:lnTo>
                <a:lnTo>
                  <a:pt x="1128" y="1065"/>
                </a:lnTo>
                <a:lnTo>
                  <a:pt x="1133" y="1085"/>
                </a:lnTo>
                <a:lnTo>
                  <a:pt x="1137" y="1094"/>
                </a:lnTo>
                <a:lnTo>
                  <a:pt x="1142" y="1103"/>
                </a:lnTo>
                <a:lnTo>
                  <a:pt x="1147" y="1112"/>
                </a:lnTo>
                <a:lnTo>
                  <a:pt x="1154" y="1121"/>
                </a:lnTo>
                <a:lnTo>
                  <a:pt x="1154" y="1163"/>
                </a:lnTo>
                <a:lnTo>
                  <a:pt x="1154" y="1189"/>
                </a:lnTo>
                <a:lnTo>
                  <a:pt x="1151" y="1210"/>
                </a:lnTo>
                <a:lnTo>
                  <a:pt x="1146" y="1236"/>
                </a:lnTo>
                <a:lnTo>
                  <a:pt x="1150" y="1247"/>
                </a:lnTo>
                <a:lnTo>
                  <a:pt x="1154" y="1258"/>
                </a:lnTo>
                <a:lnTo>
                  <a:pt x="1155" y="1268"/>
                </a:lnTo>
                <a:lnTo>
                  <a:pt x="1156" y="1279"/>
                </a:lnTo>
                <a:lnTo>
                  <a:pt x="1158" y="1289"/>
                </a:lnTo>
                <a:lnTo>
                  <a:pt x="1158" y="1298"/>
                </a:lnTo>
                <a:lnTo>
                  <a:pt x="1158" y="1309"/>
                </a:lnTo>
                <a:lnTo>
                  <a:pt x="1156" y="1318"/>
                </a:lnTo>
                <a:lnTo>
                  <a:pt x="1152" y="1336"/>
                </a:lnTo>
                <a:lnTo>
                  <a:pt x="1146" y="1354"/>
                </a:lnTo>
                <a:lnTo>
                  <a:pt x="1137" y="1371"/>
                </a:lnTo>
                <a:lnTo>
                  <a:pt x="1128" y="1387"/>
                </a:lnTo>
                <a:lnTo>
                  <a:pt x="1116" y="1402"/>
                </a:lnTo>
                <a:lnTo>
                  <a:pt x="1103" y="1418"/>
                </a:lnTo>
                <a:lnTo>
                  <a:pt x="1089" y="1432"/>
                </a:lnTo>
                <a:lnTo>
                  <a:pt x="1074" y="1445"/>
                </a:lnTo>
                <a:lnTo>
                  <a:pt x="1042" y="1471"/>
                </a:lnTo>
                <a:lnTo>
                  <a:pt x="1009" y="1496"/>
                </a:lnTo>
                <a:lnTo>
                  <a:pt x="979" y="1500"/>
                </a:lnTo>
                <a:lnTo>
                  <a:pt x="951" y="1504"/>
                </a:lnTo>
                <a:lnTo>
                  <a:pt x="921" y="1508"/>
                </a:lnTo>
                <a:lnTo>
                  <a:pt x="892" y="1513"/>
                </a:lnTo>
                <a:lnTo>
                  <a:pt x="864" y="1517"/>
                </a:lnTo>
                <a:lnTo>
                  <a:pt x="834" y="1519"/>
                </a:lnTo>
                <a:lnTo>
                  <a:pt x="804" y="1523"/>
                </a:lnTo>
                <a:lnTo>
                  <a:pt x="774" y="1525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56" name="Freeform 129"/>
          <p:cNvSpPr>
            <a:spLocks/>
          </p:cNvSpPr>
          <p:nvPr/>
        </p:nvSpPr>
        <p:spPr bwMode="auto">
          <a:xfrm>
            <a:off x="2751138" y="3609975"/>
            <a:ext cx="406400" cy="306388"/>
          </a:xfrm>
          <a:custGeom>
            <a:avLst/>
            <a:gdLst>
              <a:gd name="T0" fmla="*/ 2147483647 w 1026"/>
              <a:gd name="T1" fmla="*/ 2147483647 h 773"/>
              <a:gd name="T2" fmla="*/ 2147483647 w 1026"/>
              <a:gd name="T3" fmla="*/ 2147483647 h 773"/>
              <a:gd name="T4" fmla="*/ 2147483647 w 1026"/>
              <a:gd name="T5" fmla="*/ 2147483647 h 773"/>
              <a:gd name="T6" fmla="*/ 2147483647 w 1026"/>
              <a:gd name="T7" fmla="*/ 2147483647 h 773"/>
              <a:gd name="T8" fmla="*/ 2147483647 w 1026"/>
              <a:gd name="T9" fmla="*/ 2147483647 h 773"/>
              <a:gd name="T10" fmla="*/ 2147483647 w 1026"/>
              <a:gd name="T11" fmla="*/ 2147483647 h 773"/>
              <a:gd name="T12" fmla="*/ 2147483647 w 1026"/>
              <a:gd name="T13" fmla="*/ 2147483647 h 773"/>
              <a:gd name="T14" fmla="*/ 2147483647 w 1026"/>
              <a:gd name="T15" fmla="*/ 2147483647 h 773"/>
              <a:gd name="T16" fmla="*/ 2147483647 w 1026"/>
              <a:gd name="T17" fmla="*/ 2147483647 h 773"/>
              <a:gd name="T18" fmla="*/ 2147483647 w 1026"/>
              <a:gd name="T19" fmla="*/ 2147483647 h 773"/>
              <a:gd name="T20" fmla="*/ 2147483647 w 1026"/>
              <a:gd name="T21" fmla="*/ 2147483647 h 773"/>
              <a:gd name="T22" fmla="*/ 2147483647 w 1026"/>
              <a:gd name="T23" fmla="*/ 2147483647 h 773"/>
              <a:gd name="T24" fmla="*/ 2147483647 w 1026"/>
              <a:gd name="T25" fmla="*/ 2147483647 h 773"/>
              <a:gd name="T26" fmla="*/ 2147483647 w 1026"/>
              <a:gd name="T27" fmla="*/ 2147483647 h 773"/>
              <a:gd name="T28" fmla="*/ 2147483647 w 1026"/>
              <a:gd name="T29" fmla="*/ 2147483647 h 773"/>
              <a:gd name="T30" fmla="*/ 2147483647 w 1026"/>
              <a:gd name="T31" fmla="*/ 2147483647 h 773"/>
              <a:gd name="T32" fmla="*/ 2147483647 w 1026"/>
              <a:gd name="T33" fmla="*/ 2147483647 h 773"/>
              <a:gd name="T34" fmla="*/ 2147483647 w 1026"/>
              <a:gd name="T35" fmla="*/ 2147483647 h 773"/>
              <a:gd name="T36" fmla="*/ 2147483647 w 1026"/>
              <a:gd name="T37" fmla="*/ 2147483647 h 773"/>
              <a:gd name="T38" fmla="*/ 2147483647 w 1026"/>
              <a:gd name="T39" fmla="*/ 2147483647 h 773"/>
              <a:gd name="T40" fmla="*/ 2147483647 w 1026"/>
              <a:gd name="T41" fmla="*/ 2147483647 h 773"/>
              <a:gd name="T42" fmla="*/ 2147483647 w 1026"/>
              <a:gd name="T43" fmla="*/ 2147483647 h 773"/>
              <a:gd name="T44" fmla="*/ 2147483647 w 1026"/>
              <a:gd name="T45" fmla="*/ 2147483647 h 773"/>
              <a:gd name="T46" fmla="*/ 2147483647 w 1026"/>
              <a:gd name="T47" fmla="*/ 2147483647 h 773"/>
              <a:gd name="T48" fmla="*/ 2147483647 w 1026"/>
              <a:gd name="T49" fmla="*/ 2147483647 h 773"/>
              <a:gd name="T50" fmla="*/ 2147483647 w 1026"/>
              <a:gd name="T51" fmla="*/ 0 h 773"/>
              <a:gd name="T52" fmla="*/ 2147483647 w 1026"/>
              <a:gd name="T53" fmla="*/ 2147483647 h 773"/>
              <a:gd name="T54" fmla="*/ 2147483647 w 1026"/>
              <a:gd name="T55" fmla="*/ 2147483647 h 773"/>
              <a:gd name="T56" fmla="*/ 2147483647 w 1026"/>
              <a:gd name="T57" fmla="*/ 2147483647 h 773"/>
              <a:gd name="T58" fmla="*/ 2147483647 w 1026"/>
              <a:gd name="T59" fmla="*/ 2147483647 h 773"/>
              <a:gd name="T60" fmla="*/ 2147483647 w 1026"/>
              <a:gd name="T61" fmla="*/ 2147483647 h 773"/>
              <a:gd name="T62" fmla="*/ 2147483647 w 1026"/>
              <a:gd name="T63" fmla="*/ 2147483647 h 773"/>
              <a:gd name="T64" fmla="*/ 2147483647 w 1026"/>
              <a:gd name="T65" fmla="*/ 2147483647 h 773"/>
              <a:gd name="T66" fmla="*/ 2147483647 w 1026"/>
              <a:gd name="T67" fmla="*/ 2147483647 h 773"/>
              <a:gd name="T68" fmla="*/ 2147483647 w 1026"/>
              <a:gd name="T69" fmla="*/ 2147483647 h 773"/>
              <a:gd name="T70" fmla="*/ 2147483647 w 1026"/>
              <a:gd name="T71" fmla="*/ 2147483647 h 773"/>
              <a:gd name="T72" fmla="*/ 2147483647 w 1026"/>
              <a:gd name="T73" fmla="*/ 2147483647 h 773"/>
              <a:gd name="T74" fmla="*/ 2147483647 w 1026"/>
              <a:gd name="T75" fmla="*/ 2147483647 h 773"/>
              <a:gd name="T76" fmla="*/ 2147483647 w 1026"/>
              <a:gd name="T77" fmla="*/ 2147483647 h 773"/>
              <a:gd name="T78" fmla="*/ 2147483647 w 1026"/>
              <a:gd name="T79" fmla="*/ 2147483647 h 773"/>
              <a:gd name="T80" fmla="*/ 2147483647 w 1026"/>
              <a:gd name="T81" fmla="*/ 2147483647 h 773"/>
              <a:gd name="T82" fmla="*/ 2147483647 w 1026"/>
              <a:gd name="T83" fmla="*/ 2147483647 h 773"/>
              <a:gd name="T84" fmla="*/ 2147483647 w 1026"/>
              <a:gd name="T85" fmla="*/ 2147483647 h 773"/>
              <a:gd name="T86" fmla="*/ 2147483647 w 1026"/>
              <a:gd name="T87" fmla="*/ 2147483647 h 773"/>
              <a:gd name="T88" fmla="*/ 2147483647 w 1026"/>
              <a:gd name="T89" fmla="*/ 2147483647 h 773"/>
              <a:gd name="T90" fmla="*/ 2147483647 w 1026"/>
              <a:gd name="T91" fmla="*/ 2147483647 h 773"/>
              <a:gd name="T92" fmla="*/ 2147483647 w 1026"/>
              <a:gd name="T93" fmla="*/ 2147483647 h 773"/>
              <a:gd name="T94" fmla="*/ 2147483647 w 1026"/>
              <a:gd name="T95" fmla="*/ 2147483647 h 773"/>
              <a:gd name="T96" fmla="*/ 2147483647 w 1026"/>
              <a:gd name="T97" fmla="*/ 2147483647 h 773"/>
              <a:gd name="T98" fmla="*/ 2147483647 w 1026"/>
              <a:gd name="T99" fmla="*/ 2147483647 h 773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026"/>
              <a:gd name="T151" fmla="*/ 0 h 773"/>
              <a:gd name="T152" fmla="*/ 1026 w 1026"/>
              <a:gd name="T153" fmla="*/ 773 h 773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026" h="773">
                <a:moveTo>
                  <a:pt x="873" y="773"/>
                </a:moveTo>
                <a:lnTo>
                  <a:pt x="862" y="768"/>
                </a:lnTo>
                <a:lnTo>
                  <a:pt x="849" y="762"/>
                </a:lnTo>
                <a:lnTo>
                  <a:pt x="834" y="759"/>
                </a:lnTo>
                <a:lnTo>
                  <a:pt x="820" y="755"/>
                </a:lnTo>
                <a:lnTo>
                  <a:pt x="790" y="749"/>
                </a:lnTo>
                <a:lnTo>
                  <a:pt x="759" y="745"/>
                </a:lnTo>
                <a:lnTo>
                  <a:pt x="726" y="743"/>
                </a:lnTo>
                <a:lnTo>
                  <a:pt x="695" y="740"/>
                </a:lnTo>
                <a:lnTo>
                  <a:pt x="665" y="739"/>
                </a:lnTo>
                <a:lnTo>
                  <a:pt x="637" y="736"/>
                </a:lnTo>
                <a:lnTo>
                  <a:pt x="600" y="723"/>
                </a:lnTo>
                <a:lnTo>
                  <a:pt x="562" y="710"/>
                </a:lnTo>
                <a:lnTo>
                  <a:pt x="526" y="697"/>
                </a:lnTo>
                <a:lnTo>
                  <a:pt x="490" y="686"/>
                </a:lnTo>
                <a:lnTo>
                  <a:pt x="466" y="688"/>
                </a:lnTo>
                <a:lnTo>
                  <a:pt x="445" y="692"/>
                </a:lnTo>
                <a:lnTo>
                  <a:pt x="423" y="696"/>
                </a:lnTo>
                <a:lnTo>
                  <a:pt x="401" y="701"/>
                </a:lnTo>
                <a:lnTo>
                  <a:pt x="391" y="703"/>
                </a:lnTo>
                <a:lnTo>
                  <a:pt x="380" y="704"/>
                </a:lnTo>
                <a:lnTo>
                  <a:pt x="371" y="705"/>
                </a:lnTo>
                <a:lnTo>
                  <a:pt x="361" y="705"/>
                </a:lnTo>
                <a:lnTo>
                  <a:pt x="350" y="704"/>
                </a:lnTo>
                <a:lnTo>
                  <a:pt x="341" y="701"/>
                </a:lnTo>
                <a:lnTo>
                  <a:pt x="331" y="697"/>
                </a:lnTo>
                <a:lnTo>
                  <a:pt x="322" y="692"/>
                </a:lnTo>
                <a:lnTo>
                  <a:pt x="296" y="684"/>
                </a:lnTo>
                <a:lnTo>
                  <a:pt x="270" y="678"/>
                </a:lnTo>
                <a:lnTo>
                  <a:pt x="245" y="671"/>
                </a:lnTo>
                <a:lnTo>
                  <a:pt x="219" y="664"/>
                </a:lnTo>
                <a:lnTo>
                  <a:pt x="194" y="657"/>
                </a:lnTo>
                <a:lnTo>
                  <a:pt x="168" y="651"/>
                </a:lnTo>
                <a:lnTo>
                  <a:pt x="143" y="644"/>
                </a:lnTo>
                <a:lnTo>
                  <a:pt x="117" y="638"/>
                </a:lnTo>
                <a:lnTo>
                  <a:pt x="112" y="608"/>
                </a:lnTo>
                <a:lnTo>
                  <a:pt x="110" y="588"/>
                </a:lnTo>
                <a:lnTo>
                  <a:pt x="110" y="572"/>
                </a:lnTo>
                <a:lnTo>
                  <a:pt x="110" y="553"/>
                </a:lnTo>
                <a:lnTo>
                  <a:pt x="125" y="540"/>
                </a:lnTo>
                <a:lnTo>
                  <a:pt x="134" y="531"/>
                </a:lnTo>
                <a:lnTo>
                  <a:pt x="141" y="523"/>
                </a:lnTo>
                <a:lnTo>
                  <a:pt x="146" y="513"/>
                </a:lnTo>
                <a:lnTo>
                  <a:pt x="142" y="502"/>
                </a:lnTo>
                <a:lnTo>
                  <a:pt x="138" y="493"/>
                </a:lnTo>
                <a:lnTo>
                  <a:pt x="134" y="485"/>
                </a:lnTo>
                <a:lnTo>
                  <a:pt x="129" y="479"/>
                </a:lnTo>
                <a:lnTo>
                  <a:pt x="124" y="474"/>
                </a:lnTo>
                <a:lnTo>
                  <a:pt x="119" y="468"/>
                </a:lnTo>
                <a:lnTo>
                  <a:pt x="112" y="464"/>
                </a:lnTo>
                <a:lnTo>
                  <a:pt x="106" y="462"/>
                </a:lnTo>
                <a:lnTo>
                  <a:pt x="93" y="458"/>
                </a:lnTo>
                <a:lnTo>
                  <a:pt x="76" y="455"/>
                </a:lnTo>
                <a:lnTo>
                  <a:pt x="58" y="454"/>
                </a:lnTo>
                <a:lnTo>
                  <a:pt x="37" y="451"/>
                </a:lnTo>
                <a:lnTo>
                  <a:pt x="25" y="436"/>
                </a:lnTo>
                <a:lnTo>
                  <a:pt x="16" y="427"/>
                </a:lnTo>
                <a:lnTo>
                  <a:pt x="9" y="420"/>
                </a:lnTo>
                <a:lnTo>
                  <a:pt x="0" y="415"/>
                </a:lnTo>
                <a:lnTo>
                  <a:pt x="3" y="399"/>
                </a:lnTo>
                <a:lnTo>
                  <a:pt x="7" y="384"/>
                </a:lnTo>
                <a:lnTo>
                  <a:pt x="9" y="368"/>
                </a:lnTo>
                <a:lnTo>
                  <a:pt x="13" y="354"/>
                </a:lnTo>
                <a:lnTo>
                  <a:pt x="26" y="347"/>
                </a:lnTo>
                <a:lnTo>
                  <a:pt x="41" y="344"/>
                </a:lnTo>
                <a:lnTo>
                  <a:pt x="43" y="329"/>
                </a:lnTo>
                <a:lnTo>
                  <a:pt x="47" y="316"/>
                </a:lnTo>
                <a:lnTo>
                  <a:pt x="58" y="311"/>
                </a:lnTo>
                <a:lnTo>
                  <a:pt x="67" y="304"/>
                </a:lnTo>
                <a:lnTo>
                  <a:pt x="73" y="298"/>
                </a:lnTo>
                <a:lnTo>
                  <a:pt x="80" y="291"/>
                </a:lnTo>
                <a:lnTo>
                  <a:pt x="86" y="285"/>
                </a:lnTo>
                <a:lnTo>
                  <a:pt x="91" y="277"/>
                </a:lnTo>
                <a:lnTo>
                  <a:pt x="97" y="268"/>
                </a:lnTo>
                <a:lnTo>
                  <a:pt x="102" y="258"/>
                </a:lnTo>
                <a:lnTo>
                  <a:pt x="112" y="256"/>
                </a:lnTo>
                <a:lnTo>
                  <a:pt x="123" y="256"/>
                </a:lnTo>
                <a:lnTo>
                  <a:pt x="132" y="255"/>
                </a:lnTo>
                <a:lnTo>
                  <a:pt x="140" y="252"/>
                </a:lnTo>
                <a:lnTo>
                  <a:pt x="147" y="250"/>
                </a:lnTo>
                <a:lnTo>
                  <a:pt x="154" y="246"/>
                </a:lnTo>
                <a:lnTo>
                  <a:pt x="160" y="243"/>
                </a:lnTo>
                <a:lnTo>
                  <a:pt x="166" y="238"/>
                </a:lnTo>
                <a:lnTo>
                  <a:pt x="175" y="229"/>
                </a:lnTo>
                <a:lnTo>
                  <a:pt x="183" y="217"/>
                </a:lnTo>
                <a:lnTo>
                  <a:pt x="188" y="206"/>
                </a:lnTo>
                <a:lnTo>
                  <a:pt x="193" y="191"/>
                </a:lnTo>
                <a:lnTo>
                  <a:pt x="196" y="176"/>
                </a:lnTo>
                <a:lnTo>
                  <a:pt x="197" y="160"/>
                </a:lnTo>
                <a:lnTo>
                  <a:pt x="198" y="143"/>
                </a:lnTo>
                <a:lnTo>
                  <a:pt x="199" y="126"/>
                </a:lnTo>
                <a:lnTo>
                  <a:pt x="199" y="91"/>
                </a:lnTo>
                <a:lnTo>
                  <a:pt x="201" y="57"/>
                </a:lnTo>
                <a:lnTo>
                  <a:pt x="210" y="43"/>
                </a:lnTo>
                <a:lnTo>
                  <a:pt x="222" y="31"/>
                </a:lnTo>
                <a:lnTo>
                  <a:pt x="233" y="21"/>
                </a:lnTo>
                <a:lnTo>
                  <a:pt x="246" y="12"/>
                </a:lnTo>
                <a:lnTo>
                  <a:pt x="254" y="8"/>
                </a:lnTo>
                <a:lnTo>
                  <a:pt x="261" y="5"/>
                </a:lnTo>
                <a:lnTo>
                  <a:pt x="268" y="3"/>
                </a:lnTo>
                <a:lnTo>
                  <a:pt x="276" y="1"/>
                </a:lnTo>
                <a:lnTo>
                  <a:pt x="284" y="0"/>
                </a:lnTo>
                <a:lnTo>
                  <a:pt x="293" y="0"/>
                </a:lnTo>
                <a:lnTo>
                  <a:pt x="301" y="0"/>
                </a:lnTo>
                <a:lnTo>
                  <a:pt x="310" y="1"/>
                </a:lnTo>
                <a:lnTo>
                  <a:pt x="313" y="8"/>
                </a:lnTo>
                <a:lnTo>
                  <a:pt x="317" y="17"/>
                </a:lnTo>
                <a:lnTo>
                  <a:pt x="331" y="18"/>
                </a:lnTo>
                <a:lnTo>
                  <a:pt x="346" y="22"/>
                </a:lnTo>
                <a:lnTo>
                  <a:pt x="361" y="26"/>
                </a:lnTo>
                <a:lnTo>
                  <a:pt x="376" y="31"/>
                </a:lnTo>
                <a:lnTo>
                  <a:pt x="392" y="37"/>
                </a:lnTo>
                <a:lnTo>
                  <a:pt x="406" y="43"/>
                </a:lnTo>
                <a:lnTo>
                  <a:pt x="419" y="51"/>
                </a:lnTo>
                <a:lnTo>
                  <a:pt x="431" y="59"/>
                </a:lnTo>
                <a:lnTo>
                  <a:pt x="438" y="72"/>
                </a:lnTo>
                <a:lnTo>
                  <a:pt x="443" y="82"/>
                </a:lnTo>
                <a:lnTo>
                  <a:pt x="449" y="90"/>
                </a:lnTo>
                <a:lnTo>
                  <a:pt x="454" y="96"/>
                </a:lnTo>
                <a:lnTo>
                  <a:pt x="461" y="102"/>
                </a:lnTo>
                <a:lnTo>
                  <a:pt x="467" y="105"/>
                </a:lnTo>
                <a:lnTo>
                  <a:pt x="474" y="108"/>
                </a:lnTo>
                <a:lnTo>
                  <a:pt x="480" y="109"/>
                </a:lnTo>
                <a:lnTo>
                  <a:pt x="487" y="109"/>
                </a:lnTo>
                <a:lnTo>
                  <a:pt x="493" y="108"/>
                </a:lnTo>
                <a:lnTo>
                  <a:pt x="500" y="107"/>
                </a:lnTo>
                <a:lnTo>
                  <a:pt x="506" y="104"/>
                </a:lnTo>
                <a:lnTo>
                  <a:pt x="521" y="98"/>
                </a:lnTo>
                <a:lnTo>
                  <a:pt x="535" y="89"/>
                </a:lnTo>
                <a:lnTo>
                  <a:pt x="548" y="81"/>
                </a:lnTo>
                <a:lnTo>
                  <a:pt x="562" y="72"/>
                </a:lnTo>
                <a:lnTo>
                  <a:pt x="577" y="65"/>
                </a:lnTo>
                <a:lnTo>
                  <a:pt x="590" y="60"/>
                </a:lnTo>
                <a:lnTo>
                  <a:pt x="596" y="59"/>
                </a:lnTo>
                <a:lnTo>
                  <a:pt x="603" y="59"/>
                </a:lnTo>
                <a:lnTo>
                  <a:pt x="609" y="60"/>
                </a:lnTo>
                <a:lnTo>
                  <a:pt x="616" y="61"/>
                </a:lnTo>
                <a:lnTo>
                  <a:pt x="622" y="65"/>
                </a:lnTo>
                <a:lnTo>
                  <a:pt x="629" y="70"/>
                </a:lnTo>
                <a:lnTo>
                  <a:pt x="635" y="76"/>
                </a:lnTo>
                <a:lnTo>
                  <a:pt x="640" y="85"/>
                </a:lnTo>
                <a:lnTo>
                  <a:pt x="630" y="121"/>
                </a:lnTo>
                <a:lnTo>
                  <a:pt x="622" y="151"/>
                </a:lnTo>
                <a:lnTo>
                  <a:pt x="620" y="163"/>
                </a:lnTo>
                <a:lnTo>
                  <a:pt x="618" y="174"/>
                </a:lnTo>
                <a:lnTo>
                  <a:pt x="618" y="185"/>
                </a:lnTo>
                <a:lnTo>
                  <a:pt x="620" y="194"/>
                </a:lnTo>
                <a:lnTo>
                  <a:pt x="622" y="203"/>
                </a:lnTo>
                <a:lnTo>
                  <a:pt x="626" y="212"/>
                </a:lnTo>
                <a:lnTo>
                  <a:pt x="631" y="221"/>
                </a:lnTo>
                <a:lnTo>
                  <a:pt x="638" y="230"/>
                </a:lnTo>
                <a:lnTo>
                  <a:pt x="656" y="251"/>
                </a:lnTo>
                <a:lnTo>
                  <a:pt x="681" y="276"/>
                </a:lnTo>
                <a:lnTo>
                  <a:pt x="689" y="297"/>
                </a:lnTo>
                <a:lnTo>
                  <a:pt x="696" y="316"/>
                </a:lnTo>
                <a:lnTo>
                  <a:pt x="704" y="337"/>
                </a:lnTo>
                <a:lnTo>
                  <a:pt x="712" y="358"/>
                </a:lnTo>
                <a:lnTo>
                  <a:pt x="726" y="362"/>
                </a:lnTo>
                <a:lnTo>
                  <a:pt x="737" y="367"/>
                </a:lnTo>
                <a:lnTo>
                  <a:pt x="742" y="371"/>
                </a:lnTo>
                <a:lnTo>
                  <a:pt x="746" y="376"/>
                </a:lnTo>
                <a:lnTo>
                  <a:pt x="750" y="381"/>
                </a:lnTo>
                <a:lnTo>
                  <a:pt x="752" y="388"/>
                </a:lnTo>
                <a:lnTo>
                  <a:pt x="774" y="390"/>
                </a:lnTo>
                <a:lnTo>
                  <a:pt x="794" y="394"/>
                </a:lnTo>
                <a:lnTo>
                  <a:pt x="811" y="401"/>
                </a:lnTo>
                <a:lnTo>
                  <a:pt x="825" y="407"/>
                </a:lnTo>
                <a:lnTo>
                  <a:pt x="838" y="415"/>
                </a:lnTo>
                <a:lnTo>
                  <a:pt x="849" y="425"/>
                </a:lnTo>
                <a:lnTo>
                  <a:pt x="859" y="435"/>
                </a:lnTo>
                <a:lnTo>
                  <a:pt x="867" y="446"/>
                </a:lnTo>
                <a:lnTo>
                  <a:pt x="882" y="471"/>
                </a:lnTo>
                <a:lnTo>
                  <a:pt x="897" y="498"/>
                </a:lnTo>
                <a:lnTo>
                  <a:pt x="905" y="513"/>
                </a:lnTo>
                <a:lnTo>
                  <a:pt x="914" y="527"/>
                </a:lnTo>
                <a:lnTo>
                  <a:pt x="924" y="541"/>
                </a:lnTo>
                <a:lnTo>
                  <a:pt x="936" y="556"/>
                </a:lnTo>
                <a:lnTo>
                  <a:pt x="945" y="559"/>
                </a:lnTo>
                <a:lnTo>
                  <a:pt x="955" y="563"/>
                </a:lnTo>
                <a:lnTo>
                  <a:pt x="966" y="569"/>
                </a:lnTo>
                <a:lnTo>
                  <a:pt x="977" y="572"/>
                </a:lnTo>
                <a:lnTo>
                  <a:pt x="980" y="596"/>
                </a:lnTo>
                <a:lnTo>
                  <a:pt x="983" y="615"/>
                </a:lnTo>
                <a:lnTo>
                  <a:pt x="987" y="634"/>
                </a:lnTo>
                <a:lnTo>
                  <a:pt x="992" y="651"/>
                </a:lnTo>
                <a:lnTo>
                  <a:pt x="998" y="667"/>
                </a:lnTo>
                <a:lnTo>
                  <a:pt x="1006" y="684"/>
                </a:lnTo>
                <a:lnTo>
                  <a:pt x="1015" y="703"/>
                </a:lnTo>
                <a:lnTo>
                  <a:pt x="1026" y="722"/>
                </a:lnTo>
                <a:lnTo>
                  <a:pt x="1015" y="723"/>
                </a:lnTo>
                <a:lnTo>
                  <a:pt x="1003" y="722"/>
                </a:lnTo>
                <a:lnTo>
                  <a:pt x="984" y="718"/>
                </a:lnTo>
                <a:lnTo>
                  <a:pt x="950" y="709"/>
                </a:lnTo>
                <a:lnTo>
                  <a:pt x="942" y="723"/>
                </a:lnTo>
                <a:lnTo>
                  <a:pt x="933" y="738"/>
                </a:lnTo>
                <a:lnTo>
                  <a:pt x="925" y="752"/>
                </a:lnTo>
                <a:lnTo>
                  <a:pt x="918" y="766"/>
                </a:lnTo>
                <a:lnTo>
                  <a:pt x="906" y="769"/>
                </a:lnTo>
                <a:lnTo>
                  <a:pt x="895" y="770"/>
                </a:lnTo>
                <a:lnTo>
                  <a:pt x="884" y="772"/>
                </a:lnTo>
                <a:lnTo>
                  <a:pt x="873" y="773"/>
                </a:lnTo>
                <a:close/>
              </a:path>
            </a:pathLst>
          </a:custGeom>
          <a:noFill/>
          <a:ln w="3175">
            <a:solidFill>
              <a:srgbClr val="3399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57" name="Freeform 130"/>
          <p:cNvSpPr>
            <a:spLocks/>
          </p:cNvSpPr>
          <p:nvPr/>
        </p:nvSpPr>
        <p:spPr bwMode="auto">
          <a:xfrm>
            <a:off x="941388" y="3365500"/>
            <a:ext cx="395287" cy="454025"/>
          </a:xfrm>
          <a:custGeom>
            <a:avLst/>
            <a:gdLst>
              <a:gd name="T0" fmla="*/ 2147483647 w 995"/>
              <a:gd name="T1" fmla="*/ 2147483647 h 1141"/>
              <a:gd name="T2" fmla="*/ 2147483647 w 995"/>
              <a:gd name="T3" fmla="*/ 2147483647 h 1141"/>
              <a:gd name="T4" fmla="*/ 2147483647 w 995"/>
              <a:gd name="T5" fmla="*/ 2147483647 h 1141"/>
              <a:gd name="T6" fmla="*/ 2147483647 w 995"/>
              <a:gd name="T7" fmla="*/ 2147483647 h 1141"/>
              <a:gd name="T8" fmla="*/ 2147483647 w 995"/>
              <a:gd name="T9" fmla="*/ 2147483647 h 1141"/>
              <a:gd name="T10" fmla="*/ 2147483647 w 995"/>
              <a:gd name="T11" fmla="*/ 2147483647 h 1141"/>
              <a:gd name="T12" fmla="*/ 2147483647 w 995"/>
              <a:gd name="T13" fmla="*/ 2147483647 h 1141"/>
              <a:gd name="T14" fmla="*/ 2147483647 w 995"/>
              <a:gd name="T15" fmla="*/ 2147483647 h 1141"/>
              <a:gd name="T16" fmla="*/ 2147483647 w 995"/>
              <a:gd name="T17" fmla="*/ 2147483647 h 1141"/>
              <a:gd name="T18" fmla="*/ 2147483647 w 995"/>
              <a:gd name="T19" fmla="*/ 2147483647 h 1141"/>
              <a:gd name="T20" fmla="*/ 2147483647 w 995"/>
              <a:gd name="T21" fmla="*/ 2147483647 h 1141"/>
              <a:gd name="T22" fmla="*/ 2147483647 w 995"/>
              <a:gd name="T23" fmla="*/ 2147483647 h 1141"/>
              <a:gd name="T24" fmla="*/ 2147483647 w 995"/>
              <a:gd name="T25" fmla="*/ 2147483647 h 1141"/>
              <a:gd name="T26" fmla="*/ 2147483647 w 995"/>
              <a:gd name="T27" fmla="*/ 2147483647 h 1141"/>
              <a:gd name="T28" fmla="*/ 2147483647 w 995"/>
              <a:gd name="T29" fmla="*/ 2147483647 h 1141"/>
              <a:gd name="T30" fmla="*/ 2147483647 w 995"/>
              <a:gd name="T31" fmla="*/ 2147483647 h 1141"/>
              <a:gd name="T32" fmla="*/ 2147483647 w 995"/>
              <a:gd name="T33" fmla="*/ 2147483647 h 1141"/>
              <a:gd name="T34" fmla="*/ 0 w 995"/>
              <a:gd name="T35" fmla="*/ 2147483647 h 1141"/>
              <a:gd name="T36" fmla="*/ 2147483647 w 995"/>
              <a:gd name="T37" fmla="*/ 2147483647 h 1141"/>
              <a:gd name="T38" fmla="*/ 2147483647 w 995"/>
              <a:gd name="T39" fmla="*/ 2147483647 h 1141"/>
              <a:gd name="T40" fmla="*/ 2147483647 w 995"/>
              <a:gd name="T41" fmla="*/ 2147483647 h 1141"/>
              <a:gd name="T42" fmla="*/ 2147483647 w 995"/>
              <a:gd name="T43" fmla="*/ 2147483647 h 1141"/>
              <a:gd name="T44" fmla="*/ 2147483647 w 995"/>
              <a:gd name="T45" fmla="*/ 2147483647 h 1141"/>
              <a:gd name="T46" fmla="*/ 2147483647 w 995"/>
              <a:gd name="T47" fmla="*/ 2147483647 h 1141"/>
              <a:gd name="T48" fmla="*/ 2147483647 w 995"/>
              <a:gd name="T49" fmla="*/ 2147483647 h 1141"/>
              <a:gd name="T50" fmla="*/ 2147483647 w 995"/>
              <a:gd name="T51" fmla="*/ 2147483647 h 1141"/>
              <a:gd name="T52" fmla="*/ 2147483647 w 995"/>
              <a:gd name="T53" fmla="*/ 2147483647 h 1141"/>
              <a:gd name="T54" fmla="*/ 2147483647 w 995"/>
              <a:gd name="T55" fmla="*/ 2147483647 h 1141"/>
              <a:gd name="T56" fmla="*/ 2147483647 w 995"/>
              <a:gd name="T57" fmla="*/ 2147483647 h 1141"/>
              <a:gd name="T58" fmla="*/ 2147483647 w 995"/>
              <a:gd name="T59" fmla="*/ 2147483647 h 1141"/>
              <a:gd name="T60" fmla="*/ 2147483647 w 995"/>
              <a:gd name="T61" fmla="*/ 2147483647 h 1141"/>
              <a:gd name="T62" fmla="*/ 2147483647 w 995"/>
              <a:gd name="T63" fmla="*/ 2147483647 h 1141"/>
              <a:gd name="T64" fmla="*/ 2147483647 w 995"/>
              <a:gd name="T65" fmla="*/ 2147483647 h 1141"/>
              <a:gd name="T66" fmla="*/ 2147483647 w 995"/>
              <a:gd name="T67" fmla="*/ 2147483647 h 1141"/>
              <a:gd name="T68" fmla="*/ 2147483647 w 995"/>
              <a:gd name="T69" fmla="*/ 2147483647 h 1141"/>
              <a:gd name="T70" fmla="*/ 2147483647 w 995"/>
              <a:gd name="T71" fmla="*/ 2147483647 h 1141"/>
              <a:gd name="T72" fmla="*/ 2147483647 w 995"/>
              <a:gd name="T73" fmla="*/ 2147483647 h 1141"/>
              <a:gd name="T74" fmla="*/ 2147483647 w 995"/>
              <a:gd name="T75" fmla="*/ 2147483647 h 1141"/>
              <a:gd name="T76" fmla="*/ 2147483647 w 995"/>
              <a:gd name="T77" fmla="*/ 2147483647 h 1141"/>
              <a:gd name="T78" fmla="*/ 2147483647 w 995"/>
              <a:gd name="T79" fmla="*/ 2147483647 h 1141"/>
              <a:gd name="T80" fmla="*/ 2147483647 w 995"/>
              <a:gd name="T81" fmla="*/ 2147483647 h 1141"/>
              <a:gd name="T82" fmla="*/ 2147483647 w 995"/>
              <a:gd name="T83" fmla="*/ 2147483647 h 1141"/>
              <a:gd name="T84" fmla="*/ 2147483647 w 995"/>
              <a:gd name="T85" fmla="*/ 2147483647 h 1141"/>
              <a:gd name="T86" fmla="*/ 2147483647 w 995"/>
              <a:gd name="T87" fmla="*/ 2147483647 h 1141"/>
              <a:gd name="T88" fmla="*/ 2147483647 w 995"/>
              <a:gd name="T89" fmla="*/ 2147483647 h 1141"/>
              <a:gd name="T90" fmla="*/ 2147483647 w 995"/>
              <a:gd name="T91" fmla="*/ 2147483647 h 1141"/>
              <a:gd name="T92" fmla="*/ 2147483647 w 995"/>
              <a:gd name="T93" fmla="*/ 2147483647 h 1141"/>
              <a:gd name="T94" fmla="*/ 2147483647 w 995"/>
              <a:gd name="T95" fmla="*/ 2147483647 h 1141"/>
              <a:gd name="T96" fmla="*/ 2147483647 w 995"/>
              <a:gd name="T97" fmla="*/ 2147483647 h 1141"/>
              <a:gd name="T98" fmla="*/ 2147483647 w 995"/>
              <a:gd name="T99" fmla="*/ 2147483647 h 1141"/>
              <a:gd name="T100" fmla="*/ 2147483647 w 995"/>
              <a:gd name="T101" fmla="*/ 2147483647 h 1141"/>
              <a:gd name="T102" fmla="*/ 2147483647 w 995"/>
              <a:gd name="T103" fmla="*/ 2147483647 h 1141"/>
              <a:gd name="T104" fmla="*/ 2147483647 w 995"/>
              <a:gd name="T105" fmla="*/ 2147483647 h 1141"/>
              <a:gd name="T106" fmla="*/ 2147483647 w 995"/>
              <a:gd name="T107" fmla="*/ 2147483647 h 1141"/>
              <a:gd name="T108" fmla="*/ 2147483647 w 995"/>
              <a:gd name="T109" fmla="*/ 2147483647 h 1141"/>
              <a:gd name="T110" fmla="*/ 2147483647 w 995"/>
              <a:gd name="T111" fmla="*/ 2147483647 h 1141"/>
              <a:gd name="T112" fmla="*/ 2147483647 w 995"/>
              <a:gd name="T113" fmla="*/ 2147483647 h 1141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995"/>
              <a:gd name="T172" fmla="*/ 0 h 1141"/>
              <a:gd name="T173" fmla="*/ 995 w 995"/>
              <a:gd name="T174" fmla="*/ 1141 h 1141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995" h="1141">
                <a:moveTo>
                  <a:pt x="618" y="1141"/>
                </a:moveTo>
                <a:lnTo>
                  <a:pt x="596" y="1135"/>
                </a:lnTo>
                <a:lnTo>
                  <a:pt x="575" y="1128"/>
                </a:lnTo>
                <a:lnTo>
                  <a:pt x="555" y="1122"/>
                </a:lnTo>
                <a:lnTo>
                  <a:pt x="534" y="1117"/>
                </a:lnTo>
                <a:lnTo>
                  <a:pt x="528" y="1098"/>
                </a:lnTo>
                <a:lnTo>
                  <a:pt x="523" y="1079"/>
                </a:lnTo>
                <a:lnTo>
                  <a:pt x="520" y="1062"/>
                </a:lnTo>
                <a:lnTo>
                  <a:pt x="516" y="1044"/>
                </a:lnTo>
                <a:lnTo>
                  <a:pt x="512" y="1027"/>
                </a:lnTo>
                <a:lnTo>
                  <a:pt x="506" y="1011"/>
                </a:lnTo>
                <a:lnTo>
                  <a:pt x="501" y="1003"/>
                </a:lnTo>
                <a:lnTo>
                  <a:pt x="495" y="996"/>
                </a:lnTo>
                <a:lnTo>
                  <a:pt x="489" y="989"/>
                </a:lnTo>
                <a:lnTo>
                  <a:pt x="481" y="981"/>
                </a:lnTo>
                <a:lnTo>
                  <a:pt x="477" y="964"/>
                </a:lnTo>
                <a:lnTo>
                  <a:pt x="471" y="946"/>
                </a:lnTo>
                <a:lnTo>
                  <a:pt x="463" y="928"/>
                </a:lnTo>
                <a:lnTo>
                  <a:pt x="454" y="912"/>
                </a:lnTo>
                <a:lnTo>
                  <a:pt x="449" y="904"/>
                </a:lnTo>
                <a:lnTo>
                  <a:pt x="442" y="898"/>
                </a:lnTo>
                <a:lnTo>
                  <a:pt x="435" y="893"/>
                </a:lnTo>
                <a:lnTo>
                  <a:pt x="428" y="889"/>
                </a:lnTo>
                <a:lnTo>
                  <a:pt x="420" y="886"/>
                </a:lnTo>
                <a:lnTo>
                  <a:pt x="412" y="884"/>
                </a:lnTo>
                <a:lnTo>
                  <a:pt x="403" y="884"/>
                </a:lnTo>
                <a:lnTo>
                  <a:pt x="393" y="885"/>
                </a:lnTo>
                <a:lnTo>
                  <a:pt x="390" y="901"/>
                </a:lnTo>
                <a:lnTo>
                  <a:pt x="386" y="919"/>
                </a:lnTo>
                <a:lnTo>
                  <a:pt x="363" y="916"/>
                </a:lnTo>
                <a:lnTo>
                  <a:pt x="338" y="912"/>
                </a:lnTo>
                <a:lnTo>
                  <a:pt x="326" y="911"/>
                </a:lnTo>
                <a:lnTo>
                  <a:pt x="315" y="910"/>
                </a:lnTo>
                <a:lnTo>
                  <a:pt x="303" y="910"/>
                </a:lnTo>
                <a:lnTo>
                  <a:pt x="292" y="911"/>
                </a:lnTo>
                <a:lnTo>
                  <a:pt x="282" y="920"/>
                </a:lnTo>
                <a:lnTo>
                  <a:pt x="272" y="925"/>
                </a:lnTo>
                <a:lnTo>
                  <a:pt x="262" y="929"/>
                </a:lnTo>
                <a:lnTo>
                  <a:pt x="253" y="929"/>
                </a:lnTo>
                <a:lnTo>
                  <a:pt x="243" y="928"/>
                </a:lnTo>
                <a:lnTo>
                  <a:pt x="233" y="927"/>
                </a:lnTo>
                <a:lnTo>
                  <a:pt x="221" y="923"/>
                </a:lnTo>
                <a:lnTo>
                  <a:pt x="208" y="919"/>
                </a:lnTo>
                <a:lnTo>
                  <a:pt x="208" y="890"/>
                </a:lnTo>
                <a:lnTo>
                  <a:pt x="208" y="863"/>
                </a:lnTo>
                <a:lnTo>
                  <a:pt x="209" y="850"/>
                </a:lnTo>
                <a:lnTo>
                  <a:pt x="212" y="837"/>
                </a:lnTo>
                <a:lnTo>
                  <a:pt x="214" y="824"/>
                </a:lnTo>
                <a:lnTo>
                  <a:pt x="220" y="808"/>
                </a:lnTo>
                <a:lnTo>
                  <a:pt x="207" y="808"/>
                </a:lnTo>
                <a:lnTo>
                  <a:pt x="195" y="808"/>
                </a:lnTo>
                <a:lnTo>
                  <a:pt x="191" y="789"/>
                </a:lnTo>
                <a:lnTo>
                  <a:pt x="188" y="770"/>
                </a:lnTo>
                <a:lnTo>
                  <a:pt x="177" y="763"/>
                </a:lnTo>
                <a:lnTo>
                  <a:pt x="167" y="755"/>
                </a:lnTo>
                <a:lnTo>
                  <a:pt x="160" y="747"/>
                </a:lnTo>
                <a:lnTo>
                  <a:pt x="154" y="739"/>
                </a:lnTo>
                <a:lnTo>
                  <a:pt x="151" y="733"/>
                </a:lnTo>
                <a:lnTo>
                  <a:pt x="148" y="725"/>
                </a:lnTo>
                <a:lnTo>
                  <a:pt x="147" y="717"/>
                </a:lnTo>
                <a:lnTo>
                  <a:pt x="147" y="709"/>
                </a:lnTo>
                <a:lnTo>
                  <a:pt x="147" y="694"/>
                </a:lnTo>
                <a:lnTo>
                  <a:pt x="149" y="677"/>
                </a:lnTo>
                <a:lnTo>
                  <a:pt x="149" y="668"/>
                </a:lnTo>
                <a:lnTo>
                  <a:pt x="149" y="659"/>
                </a:lnTo>
                <a:lnTo>
                  <a:pt x="148" y="648"/>
                </a:lnTo>
                <a:lnTo>
                  <a:pt x="147" y="638"/>
                </a:lnTo>
                <a:lnTo>
                  <a:pt x="160" y="626"/>
                </a:lnTo>
                <a:lnTo>
                  <a:pt x="167" y="621"/>
                </a:lnTo>
                <a:lnTo>
                  <a:pt x="174" y="618"/>
                </a:lnTo>
                <a:lnTo>
                  <a:pt x="181" y="616"/>
                </a:lnTo>
                <a:lnTo>
                  <a:pt x="178" y="605"/>
                </a:lnTo>
                <a:lnTo>
                  <a:pt x="175" y="595"/>
                </a:lnTo>
                <a:lnTo>
                  <a:pt x="170" y="586"/>
                </a:lnTo>
                <a:lnTo>
                  <a:pt x="166" y="577"/>
                </a:lnTo>
                <a:lnTo>
                  <a:pt x="153" y="561"/>
                </a:lnTo>
                <a:lnTo>
                  <a:pt x="139" y="545"/>
                </a:lnTo>
                <a:lnTo>
                  <a:pt x="123" y="531"/>
                </a:lnTo>
                <a:lnTo>
                  <a:pt x="108" y="517"/>
                </a:lnTo>
                <a:lnTo>
                  <a:pt x="93" y="502"/>
                </a:lnTo>
                <a:lnTo>
                  <a:pt x="79" y="486"/>
                </a:lnTo>
                <a:lnTo>
                  <a:pt x="67" y="484"/>
                </a:lnTo>
                <a:lnTo>
                  <a:pt x="57" y="486"/>
                </a:lnTo>
                <a:lnTo>
                  <a:pt x="44" y="491"/>
                </a:lnTo>
                <a:lnTo>
                  <a:pt x="22" y="501"/>
                </a:lnTo>
                <a:lnTo>
                  <a:pt x="18" y="488"/>
                </a:lnTo>
                <a:lnTo>
                  <a:pt x="15" y="476"/>
                </a:lnTo>
                <a:lnTo>
                  <a:pt x="7" y="473"/>
                </a:lnTo>
                <a:lnTo>
                  <a:pt x="0" y="470"/>
                </a:lnTo>
                <a:lnTo>
                  <a:pt x="0" y="462"/>
                </a:lnTo>
                <a:lnTo>
                  <a:pt x="0" y="454"/>
                </a:lnTo>
                <a:lnTo>
                  <a:pt x="10" y="449"/>
                </a:lnTo>
                <a:lnTo>
                  <a:pt x="22" y="443"/>
                </a:lnTo>
                <a:lnTo>
                  <a:pt x="24" y="430"/>
                </a:lnTo>
                <a:lnTo>
                  <a:pt x="27" y="418"/>
                </a:lnTo>
                <a:lnTo>
                  <a:pt x="52" y="419"/>
                </a:lnTo>
                <a:lnTo>
                  <a:pt x="76" y="421"/>
                </a:lnTo>
                <a:lnTo>
                  <a:pt x="100" y="423"/>
                </a:lnTo>
                <a:lnTo>
                  <a:pt x="125" y="424"/>
                </a:lnTo>
                <a:lnTo>
                  <a:pt x="139" y="402"/>
                </a:lnTo>
                <a:lnTo>
                  <a:pt x="147" y="388"/>
                </a:lnTo>
                <a:lnTo>
                  <a:pt x="151" y="376"/>
                </a:lnTo>
                <a:lnTo>
                  <a:pt x="156" y="361"/>
                </a:lnTo>
                <a:lnTo>
                  <a:pt x="130" y="345"/>
                </a:lnTo>
                <a:lnTo>
                  <a:pt x="104" y="328"/>
                </a:lnTo>
                <a:lnTo>
                  <a:pt x="78" y="313"/>
                </a:lnTo>
                <a:lnTo>
                  <a:pt x="52" y="297"/>
                </a:lnTo>
                <a:lnTo>
                  <a:pt x="52" y="284"/>
                </a:lnTo>
                <a:lnTo>
                  <a:pt x="52" y="271"/>
                </a:lnTo>
                <a:lnTo>
                  <a:pt x="52" y="259"/>
                </a:lnTo>
                <a:lnTo>
                  <a:pt x="52" y="248"/>
                </a:lnTo>
                <a:lnTo>
                  <a:pt x="66" y="238"/>
                </a:lnTo>
                <a:lnTo>
                  <a:pt x="79" y="231"/>
                </a:lnTo>
                <a:lnTo>
                  <a:pt x="92" y="225"/>
                </a:lnTo>
                <a:lnTo>
                  <a:pt x="102" y="222"/>
                </a:lnTo>
                <a:lnTo>
                  <a:pt x="112" y="219"/>
                </a:lnTo>
                <a:lnTo>
                  <a:pt x="121" y="216"/>
                </a:lnTo>
                <a:lnTo>
                  <a:pt x="130" y="216"/>
                </a:lnTo>
                <a:lnTo>
                  <a:pt x="139" y="216"/>
                </a:lnTo>
                <a:lnTo>
                  <a:pt x="178" y="224"/>
                </a:lnTo>
                <a:lnTo>
                  <a:pt x="235" y="237"/>
                </a:lnTo>
                <a:lnTo>
                  <a:pt x="252" y="249"/>
                </a:lnTo>
                <a:lnTo>
                  <a:pt x="268" y="259"/>
                </a:lnTo>
                <a:lnTo>
                  <a:pt x="282" y="270"/>
                </a:lnTo>
                <a:lnTo>
                  <a:pt x="296" y="281"/>
                </a:lnTo>
                <a:lnTo>
                  <a:pt x="309" y="293"/>
                </a:lnTo>
                <a:lnTo>
                  <a:pt x="322" y="306"/>
                </a:lnTo>
                <a:lnTo>
                  <a:pt x="335" y="319"/>
                </a:lnTo>
                <a:lnTo>
                  <a:pt x="348" y="333"/>
                </a:lnTo>
                <a:lnTo>
                  <a:pt x="378" y="320"/>
                </a:lnTo>
                <a:lnTo>
                  <a:pt x="406" y="305"/>
                </a:lnTo>
                <a:lnTo>
                  <a:pt x="433" y="288"/>
                </a:lnTo>
                <a:lnTo>
                  <a:pt x="460" y="268"/>
                </a:lnTo>
                <a:lnTo>
                  <a:pt x="463" y="245"/>
                </a:lnTo>
                <a:lnTo>
                  <a:pt x="467" y="222"/>
                </a:lnTo>
                <a:lnTo>
                  <a:pt x="471" y="199"/>
                </a:lnTo>
                <a:lnTo>
                  <a:pt x="475" y="176"/>
                </a:lnTo>
                <a:lnTo>
                  <a:pt x="489" y="169"/>
                </a:lnTo>
                <a:lnTo>
                  <a:pt x="504" y="164"/>
                </a:lnTo>
                <a:lnTo>
                  <a:pt x="519" y="162"/>
                </a:lnTo>
                <a:lnTo>
                  <a:pt x="533" y="158"/>
                </a:lnTo>
                <a:lnTo>
                  <a:pt x="547" y="154"/>
                </a:lnTo>
                <a:lnTo>
                  <a:pt x="559" y="147"/>
                </a:lnTo>
                <a:lnTo>
                  <a:pt x="564" y="143"/>
                </a:lnTo>
                <a:lnTo>
                  <a:pt x="570" y="140"/>
                </a:lnTo>
                <a:lnTo>
                  <a:pt x="573" y="134"/>
                </a:lnTo>
                <a:lnTo>
                  <a:pt x="577" y="128"/>
                </a:lnTo>
                <a:lnTo>
                  <a:pt x="598" y="119"/>
                </a:lnTo>
                <a:lnTo>
                  <a:pt x="614" y="114"/>
                </a:lnTo>
                <a:lnTo>
                  <a:pt x="633" y="110"/>
                </a:lnTo>
                <a:lnTo>
                  <a:pt x="663" y="104"/>
                </a:lnTo>
                <a:lnTo>
                  <a:pt x="666" y="93"/>
                </a:lnTo>
                <a:lnTo>
                  <a:pt x="670" y="80"/>
                </a:lnTo>
                <a:lnTo>
                  <a:pt x="674" y="65"/>
                </a:lnTo>
                <a:lnTo>
                  <a:pt x="679" y="51"/>
                </a:lnTo>
                <a:lnTo>
                  <a:pt x="684" y="37"/>
                </a:lnTo>
                <a:lnTo>
                  <a:pt x="688" y="22"/>
                </a:lnTo>
                <a:lnTo>
                  <a:pt x="689" y="11"/>
                </a:lnTo>
                <a:lnTo>
                  <a:pt x="689" y="0"/>
                </a:lnTo>
                <a:lnTo>
                  <a:pt x="701" y="7"/>
                </a:lnTo>
                <a:lnTo>
                  <a:pt x="714" y="12"/>
                </a:lnTo>
                <a:lnTo>
                  <a:pt x="724" y="28"/>
                </a:lnTo>
                <a:lnTo>
                  <a:pt x="736" y="42"/>
                </a:lnTo>
                <a:lnTo>
                  <a:pt x="749" y="54"/>
                </a:lnTo>
                <a:lnTo>
                  <a:pt x="763" y="65"/>
                </a:lnTo>
                <a:lnTo>
                  <a:pt x="778" y="76"/>
                </a:lnTo>
                <a:lnTo>
                  <a:pt x="792" y="84"/>
                </a:lnTo>
                <a:lnTo>
                  <a:pt x="808" y="90"/>
                </a:lnTo>
                <a:lnTo>
                  <a:pt x="823" y="95"/>
                </a:lnTo>
                <a:lnTo>
                  <a:pt x="840" y="98"/>
                </a:lnTo>
                <a:lnTo>
                  <a:pt x="856" y="99"/>
                </a:lnTo>
                <a:lnTo>
                  <a:pt x="873" y="99"/>
                </a:lnTo>
                <a:lnTo>
                  <a:pt x="890" y="97"/>
                </a:lnTo>
                <a:lnTo>
                  <a:pt x="908" y="93"/>
                </a:lnTo>
                <a:lnTo>
                  <a:pt x="925" y="86"/>
                </a:lnTo>
                <a:lnTo>
                  <a:pt x="942" y="77"/>
                </a:lnTo>
                <a:lnTo>
                  <a:pt x="957" y="67"/>
                </a:lnTo>
                <a:lnTo>
                  <a:pt x="959" y="78"/>
                </a:lnTo>
                <a:lnTo>
                  <a:pt x="960" y="89"/>
                </a:lnTo>
                <a:lnTo>
                  <a:pt x="962" y="101"/>
                </a:lnTo>
                <a:lnTo>
                  <a:pt x="966" y="112"/>
                </a:lnTo>
                <a:lnTo>
                  <a:pt x="974" y="134"/>
                </a:lnTo>
                <a:lnTo>
                  <a:pt x="982" y="158"/>
                </a:lnTo>
                <a:lnTo>
                  <a:pt x="986" y="169"/>
                </a:lnTo>
                <a:lnTo>
                  <a:pt x="988" y="181"/>
                </a:lnTo>
                <a:lnTo>
                  <a:pt x="992" y="193"/>
                </a:lnTo>
                <a:lnTo>
                  <a:pt x="994" y="206"/>
                </a:lnTo>
                <a:lnTo>
                  <a:pt x="995" y="218"/>
                </a:lnTo>
                <a:lnTo>
                  <a:pt x="994" y="231"/>
                </a:lnTo>
                <a:lnTo>
                  <a:pt x="992" y="244"/>
                </a:lnTo>
                <a:lnTo>
                  <a:pt x="988" y="257"/>
                </a:lnTo>
                <a:lnTo>
                  <a:pt x="979" y="261"/>
                </a:lnTo>
                <a:lnTo>
                  <a:pt x="972" y="264"/>
                </a:lnTo>
                <a:lnTo>
                  <a:pt x="964" y="268"/>
                </a:lnTo>
                <a:lnTo>
                  <a:pt x="956" y="274"/>
                </a:lnTo>
                <a:lnTo>
                  <a:pt x="944" y="284"/>
                </a:lnTo>
                <a:lnTo>
                  <a:pt x="932" y="294"/>
                </a:lnTo>
                <a:lnTo>
                  <a:pt x="922" y="306"/>
                </a:lnTo>
                <a:lnTo>
                  <a:pt x="912" y="318"/>
                </a:lnTo>
                <a:lnTo>
                  <a:pt x="899" y="328"/>
                </a:lnTo>
                <a:lnTo>
                  <a:pt x="884" y="340"/>
                </a:lnTo>
                <a:lnTo>
                  <a:pt x="891" y="366"/>
                </a:lnTo>
                <a:lnTo>
                  <a:pt x="903" y="400"/>
                </a:lnTo>
                <a:lnTo>
                  <a:pt x="908" y="417"/>
                </a:lnTo>
                <a:lnTo>
                  <a:pt x="913" y="434"/>
                </a:lnTo>
                <a:lnTo>
                  <a:pt x="916" y="448"/>
                </a:lnTo>
                <a:lnTo>
                  <a:pt x="917" y="458"/>
                </a:lnTo>
                <a:lnTo>
                  <a:pt x="908" y="474"/>
                </a:lnTo>
                <a:lnTo>
                  <a:pt x="899" y="488"/>
                </a:lnTo>
                <a:lnTo>
                  <a:pt x="890" y="504"/>
                </a:lnTo>
                <a:lnTo>
                  <a:pt x="880" y="521"/>
                </a:lnTo>
                <a:lnTo>
                  <a:pt x="866" y="519"/>
                </a:lnTo>
                <a:lnTo>
                  <a:pt x="852" y="517"/>
                </a:lnTo>
                <a:lnTo>
                  <a:pt x="839" y="514"/>
                </a:lnTo>
                <a:lnTo>
                  <a:pt x="827" y="510"/>
                </a:lnTo>
                <a:lnTo>
                  <a:pt x="804" y="502"/>
                </a:lnTo>
                <a:lnTo>
                  <a:pt x="782" y="497"/>
                </a:lnTo>
                <a:lnTo>
                  <a:pt x="771" y="496"/>
                </a:lnTo>
                <a:lnTo>
                  <a:pt x="761" y="497"/>
                </a:lnTo>
                <a:lnTo>
                  <a:pt x="750" y="500"/>
                </a:lnTo>
                <a:lnTo>
                  <a:pt x="740" y="504"/>
                </a:lnTo>
                <a:lnTo>
                  <a:pt x="730" y="512"/>
                </a:lnTo>
                <a:lnTo>
                  <a:pt x="719" y="522"/>
                </a:lnTo>
                <a:lnTo>
                  <a:pt x="707" y="535"/>
                </a:lnTo>
                <a:lnTo>
                  <a:pt x="696" y="553"/>
                </a:lnTo>
                <a:lnTo>
                  <a:pt x="694" y="569"/>
                </a:lnTo>
                <a:lnTo>
                  <a:pt x="693" y="582"/>
                </a:lnTo>
                <a:lnTo>
                  <a:pt x="693" y="594"/>
                </a:lnTo>
                <a:lnTo>
                  <a:pt x="696" y="604"/>
                </a:lnTo>
                <a:lnTo>
                  <a:pt x="698" y="609"/>
                </a:lnTo>
                <a:lnTo>
                  <a:pt x="701" y="613"/>
                </a:lnTo>
                <a:lnTo>
                  <a:pt x="704" y="617"/>
                </a:lnTo>
                <a:lnTo>
                  <a:pt x="707" y="622"/>
                </a:lnTo>
                <a:lnTo>
                  <a:pt x="718" y="630"/>
                </a:lnTo>
                <a:lnTo>
                  <a:pt x="733" y="639"/>
                </a:lnTo>
                <a:lnTo>
                  <a:pt x="733" y="672"/>
                </a:lnTo>
                <a:lnTo>
                  <a:pt x="733" y="704"/>
                </a:lnTo>
                <a:lnTo>
                  <a:pt x="733" y="737"/>
                </a:lnTo>
                <a:lnTo>
                  <a:pt x="733" y="770"/>
                </a:lnTo>
                <a:lnTo>
                  <a:pt x="726" y="770"/>
                </a:lnTo>
                <a:lnTo>
                  <a:pt x="719" y="770"/>
                </a:lnTo>
                <a:lnTo>
                  <a:pt x="719" y="786"/>
                </a:lnTo>
                <a:lnTo>
                  <a:pt x="719" y="803"/>
                </a:lnTo>
                <a:lnTo>
                  <a:pt x="732" y="806"/>
                </a:lnTo>
                <a:lnTo>
                  <a:pt x="746" y="808"/>
                </a:lnTo>
                <a:lnTo>
                  <a:pt x="748" y="819"/>
                </a:lnTo>
                <a:lnTo>
                  <a:pt x="749" y="830"/>
                </a:lnTo>
                <a:lnTo>
                  <a:pt x="750" y="841"/>
                </a:lnTo>
                <a:lnTo>
                  <a:pt x="752" y="852"/>
                </a:lnTo>
                <a:lnTo>
                  <a:pt x="770" y="856"/>
                </a:lnTo>
                <a:lnTo>
                  <a:pt x="787" y="859"/>
                </a:lnTo>
                <a:lnTo>
                  <a:pt x="776" y="886"/>
                </a:lnTo>
                <a:lnTo>
                  <a:pt x="771" y="907"/>
                </a:lnTo>
                <a:lnTo>
                  <a:pt x="771" y="917"/>
                </a:lnTo>
                <a:lnTo>
                  <a:pt x="774" y="928"/>
                </a:lnTo>
                <a:lnTo>
                  <a:pt x="778" y="941"/>
                </a:lnTo>
                <a:lnTo>
                  <a:pt x="784" y="957"/>
                </a:lnTo>
                <a:lnTo>
                  <a:pt x="800" y="957"/>
                </a:lnTo>
                <a:lnTo>
                  <a:pt x="813" y="955"/>
                </a:lnTo>
                <a:lnTo>
                  <a:pt x="824" y="953"/>
                </a:lnTo>
                <a:lnTo>
                  <a:pt x="835" y="949"/>
                </a:lnTo>
                <a:lnTo>
                  <a:pt x="856" y="938"/>
                </a:lnTo>
                <a:lnTo>
                  <a:pt x="880" y="924"/>
                </a:lnTo>
                <a:lnTo>
                  <a:pt x="880" y="934"/>
                </a:lnTo>
                <a:lnTo>
                  <a:pt x="879" y="946"/>
                </a:lnTo>
                <a:lnTo>
                  <a:pt x="877" y="955"/>
                </a:lnTo>
                <a:lnTo>
                  <a:pt x="874" y="966"/>
                </a:lnTo>
                <a:lnTo>
                  <a:pt x="865" y="984"/>
                </a:lnTo>
                <a:lnTo>
                  <a:pt x="856" y="1002"/>
                </a:lnTo>
                <a:lnTo>
                  <a:pt x="832" y="1038"/>
                </a:lnTo>
                <a:lnTo>
                  <a:pt x="810" y="1077"/>
                </a:lnTo>
                <a:lnTo>
                  <a:pt x="776" y="1076"/>
                </a:lnTo>
                <a:lnTo>
                  <a:pt x="745" y="1075"/>
                </a:lnTo>
                <a:lnTo>
                  <a:pt x="713" y="1075"/>
                </a:lnTo>
                <a:lnTo>
                  <a:pt x="681" y="1074"/>
                </a:lnTo>
                <a:lnTo>
                  <a:pt x="676" y="1077"/>
                </a:lnTo>
                <a:lnTo>
                  <a:pt x="671" y="1080"/>
                </a:lnTo>
                <a:lnTo>
                  <a:pt x="667" y="1084"/>
                </a:lnTo>
                <a:lnTo>
                  <a:pt x="663" y="1089"/>
                </a:lnTo>
                <a:lnTo>
                  <a:pt x="655" y="1100"/>
                </a:lnTo>
                <a:lnTo>
                  <a:pt x="649" y="1110"/>
                </a:lnTo>
                <a:lnTo>
                  <a:pt x="641" y="1120"/>
                </a:lnTo>
                <a:lnTo>
                  <a:pt x="635" y="1130"/>
                </a:lnTo>
                <a:lnTo>
                  <a:pt x="631" y="1133"/>
                </a:lnTo>
                <a:lnTo>
                  <a:pt x="627" y="1137"/>
                </a:lnTo>
                <a:lnTo>
                  <a:pt x="623" y="1140"/>
                </a:lnTo>
                <a:lnTo>
                  <a:pt x="618" y="1141"/>
                </a:lnTo>
                <a:close/>
              </a:path>
            </a:pathLst>
          </a:custGeom>
          <a:noFill/>
          <a:ln w="3175">
            <a:solidFill>
              <a:srgbClr val="3399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58" name="Freeform 131"/>
          <p:cNvSpPr>
            <a:spLocks/>
          </p:cNvSpPr>
          <p:nvPr/>
        </p:nvSpPr>
        <p:spPr bwMode="auto">
          <a:xfrm>
            <a:off x="1636713" y="2724150"/>
            <a:ext cx="201612" cy="260350"/>
          </a:xfrm>
          <a:custGeom>
            <a:avLst/>
            <a:gdLst>
              <a:gd name="T0" fmla="*/ 2147483647 w 509"/>
              <a:gd name="T1" fmla="*/ 2147483647 h 657"/>
              <a:gd name="T2" fmla="*/ 2147483647 w 509"/>
              <a:gd name="T3" fmla="*/ 2147483647 h 657"/>
              <a:gd name="T4" fmla="*/ 2147483647 w 509"/>
              <a:gd name="T5" fmla="*/ 2147483647 h 657"/>
              <a:gd name="T6" fmla="*/ 2147483647 w 509"/>
              <a:gd name="T7" fmla="*/ 2147483647 h 657"/>
              <a:gd name="T8" fmla="*/ 2147483647 w 509"/>
              <a:gd name="T9" fmla="*/ 2147483647 h 657"/>
              <a:gd name="T10" fmla="*/ 2147483647 w 509"/>
              <a:gd name="T11" fmla="*/ 2147483647 h 657"/>
              <a:gd name="T12" fmla="*/ 2147483647 w 509"/>
              <a:gd name="T13" fmla="*/ 2147483647 h 657"/>
              <a:gd name="T14" fmla="*/ 2147483647 w 509"/>
              <a:gd name="T15" fmla="*/ 2147483647 h 657"/>
              <a:gd name="T16" fmla="*/ 2147483647 w 509"/>
              <a:gd name="T17" fmla="*/ 2147483647 h 657"/>
              <a:gd name="T18" fmla="*/ 2147483647 w 509"/>
              <a:gd name="T19" fmla="*/ 2147483647 h 657"/>
              <a:gd name="T20" fmla="*/ 2147483647 w 509"/>
              <a:gd name="T21" fmla="*/ 2147483647 h 657"/>
              <a:gd name="T22" fmla="*/ 2147483647 w 509"/>
              <a:gd name="T23" fmla="*/ 2147483647 h 657"/>
              <a:gd name="T24" fmla="*/ 2147483647 w 509"/>
              <a:gd name="T25" fmla="*/ 2147483647 h 657"/>
              <a:gd name="T26" fmla="*/ 2147483647 w 509"/>
              <a:gd name="T27" fmla="*/ 2147483647 h 657"/>
              <a:gd name="T28" fmla="*/ 2147483647 w 509"/>
              <a:gd name="T29" fmla="*/ 2147483647 h 657"/>
              <a:gd name="T30" fmla="*/ 2147483647 w 509"/>
              <a:gd name="T31" fmla="*/ 2147483647 h 657"/>
              <a:gd name="T32" fmla="*/ 2147483647 w 509"/>
              <a:gd name="T33" fmla="*/ 2147483647 h 657"/>
              <a:gd name="T34" fmla="*/ 2147483647 w 509"/>
              <a:gd name="T35" fmla="*/ 2147483647 h 657"/>
              <a:gd name="T36" fmla="*/ 2147483647 w 509"/>
              <a:gd name="T37" fmla="*/ 2147483647 h 657"/>
              <a:gd name="T38" fmla="*/ 2147483647 w 509"/>
              <a:gd name="T39" fmla="*/ 2147483647 h 657"/>
              <a:gd name="T40" fmla="*/ 2147483647 w 509"/>
              <a:gd name="T41" fmla="*/ 2147483647 h 657"/>
              <a:gd name="T42" fmla="*/ 2147483647 w 509"/>
              <a:gd name="T43" fmla="*/ 2147483647 h 657"/>
              <a:gd name="T44" fmla="*/ 2147483647 w 509"/>
              <a:gd name="T45" fmla="*/ 2147483647 h 657"/>
              <a:gd name="T46" fmla="*/ 2147483647 w 509"/>
              <a:gd name="T47" fmla="*/ 2147483647 h 657"/>
              <a:gd name="T48" fmla="*/ 2147483647 w 509"/>
              <a:gd name="T49" fmla="*/ 2147483647 h 657"/>
              <a:gd name="T50" fmla="*/ 2147483647 w 509"/>
              <a:gd name="T51" fmla="*/ 2147483647 h 657"/>
              <a:gd name="T52" fmla="*/ 2147483647 w 509"/>
              <a:gd name="T53" fmla="*/ 2147483647 h 657"/>
              <a:gd name="T54" fmla="*/ 2147483647 w 509"/>
              <a:gd name="T55" fmla="*/ 2147483647 h 657"/>
              <a:gd name="T56" fmla="*/ 2147483647 w 509"/>
              <a:gd name="T57" fmla="*/ 2147483647 h 657"/>
              <a:gd name="T58" fmla="*/ 2147483647 w 509"/>
              <a:gd name="T59" fmla="*/ 2147483647 h 657"/>
              <a:gd name="T60" fmla="*/ 2147483647 w 509"/>
              <a:gd name="T61" fmla="*/ 2147483647 h 657"/>
              <a:gd name="T62" fmla="*/ 2147483647 w 509"/>
              <a:gd name="T63" fmla="*/ 2147483647 h 657"/>
              <a:gd name="T64" fmla="*/ 2147483647 w 509"/>
              <a:gd name="T65" fmla="*/ 2147483647 h 657"/>
              <a:gd name="T66" fmla="*/ 2147483647 w 509"/>
              <a:gd name="T67" fmla="*/ 2147483647 h 657"/>
              <a:gd name="T68" fmla="*/ 2147483647 w 509"/>
              <a:gd name="T69" fmla="*/ 2147483647 h 657"/>
              <a:gd name="T70" fmla="*/ 2147483647 w 509"/>
              <a:gd name="T71" fmla="*/ 2147483647 h 657"/>
              <a:gd name="T72" fmla="*/ 2147483647 w 509"/>
              <a:gd name="T73" fmla="*/ 2147483647 h 657"/>
              <a:gd name="T74" fmla="*/ 2147483647 w 509"/>
              <a:gd name="T75" fmla="*/ 2147483647 h 657"/>
              <a:gd name="T76" fmla="*/ 2147483647 w 509"/>
              <a:gd name="T77" fmla="*/ 2147483647 h 657"/>
              <a:gd name="T78" fmla="*/ 2147483647 w 509"/>
              <a:gd name="T79" fmla="*/ 2147483647 h 657"/>
              <a:gd name="T80" fmla="*/ 2147483647 w 509"/>
              <a:gd name="T81" fmla="*/ 2147483647 h 657"/>
              <a:gd name="T82" fmla="*/ 2147483647 w 509"/>
              <a:gd name="T83" fmla="*/ 2147483647 h 657"/>
              <a:gd name="T84" fmla="*/ 2147483647 w 509"/>
              <a:gd name="T85" fmla="*/ 2147483647 h 657"/>
              <a:gd name="T86" fmla="*/ 2147483647 w 509"/>
              <a:gd name="T87" fmla="*/ 2147483647 h 657"/>
              <a:gd name="T88" fmla="*/ 2147483647 w 509"/>
              <a:gd name="T89" fmla="*/ 2147483647 h 657"/>
              <a:gd name="T90" fmla="*/ 2147483647 w 509"/>
              <a:gd name="T91" fmla="*/ 2147483647 h 657"/>
              <a:gd name="T92" fmla="*/ 2147483647 w 509"/>
              <a:gd name="T93" fmla="*/ 2147483647 h 657"/>
              <a:gd name="T94" fmla="*/ 2147483647 w 509"/>
              <a:gd name="T95" fmla="*/ 2147483647 h 657"/>
              <a:gd name="T96" fmla="*/ 2147483647 w 509"/>
              <a:gd name="T97" fmla="*/ 2147483647 h 657"/>
              <a:gd name="T98" fmla="*/ 2147483647 w 509"/>
              <a:gd name="T99" fmla="*/ 2147483647 h 657"/>
              <a:gd name="T100" fmla="*/ 2147483647 w 509"/>
              <a:gd name="T101" fmla="*/ 2147483647 h 657"/>
              <a:gd name="T102" fmla="*/ 2147483647 w 509"/>
              <a:gd name="T103" fmla="*/ 2147483647 h 657"/>
              <a:gd name="T104" fmla="*/ 2147483647 w 509"/>
              <a:gd name="T105" fmla="*/ 2147483647 h 657"/>
              <a:gd name="T106" fmla="*/ 2147483647 w 509"/>
              <a:gd name="T107" fmla="*/ 2147483647 h 657"/>
              <a:gd name="T108" fmla="*/ 2147483647 w 509"/>
              <a:gd name="T109" fmla="*/ 2147483647 h 657"/>
              <a:gd name="T110" fmla="*/ 2147483647 w 509"/>
              <a:gd name="T111" fmla="*/ 2147483647 h 657"/>
              <a:gd name="T112" fmla="*/ 2147483647 w 509"/>
              <a:gd name="T113" fmla="*/ 2147483647 h 657"/>
              <a:gd name="T114" fmla="*/ 2147483647 w 509"/>
              <a:gd name="T115" fmla="*/ 2147483647 h 657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509"/>
              <a:gd name="T175" fmla="*/ 0 h 657"/>
              <a:gd name="T176" fmla="*/ 509 w 509"/>
              <a:gd name="T177" fmla="*/ 657 h 657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509" h="657">
                <a:moveTo>
                  <a:pt x="194" y="657"/>
                </a:moveTo>
                <a:lnTo>
                  <a:pt x="181" y="643"/>
                </a:lnTo>
                <a:lnTo>
                  <a:pt x="172" y="631"/>
                </a:lnTo>
                <a:lnTo>
                  <a:pt x="162" y="615"/>
                </a:lnTo>
                <a:lnTo>
                  <a:pt x="149" y="589"/>
                </a:lnTo>
                <a:lnTo>
                  <a:pt x="139" y="587"/>
                </a:lnTo>
                <a:lnTo>
                  <a:pt x="130" y="587"/>
                </a:lnTo>
                <a:lnTo>
                  <a:pt x="129" y="571"/>
                </a:lnTo>
                <a:lnTo>
                  <a:pt x="129" y="557"/>
                </a:lnTo>
                <a:lnTo>
                  <a:pt x="109" y="549"/>
                </a:lnTo>
                <a:lnTo>
                  <a:pt x="92" y="542"/>
                </a:lnTo>
                <a:lnTo>
                  <a:pt x="91" y="528"/>
                </a:lnTo>
                <a:lnTo>
                  <a:pt x="88" y="516"/>
                </a:lnTo>
                <a:lnTo>
                  <a:pt x="83" y="509"/>
                </a:lnTo>
                <a:lnTo>
                  <a:pt x="78" y="501"/>
                </a:lnTo>
                <a:lnTo>
                  <a:pt x="73" y="493"/>
                </a:lnTo>
                <a:lnTo>
                  <a:pt x="66" y="485"/>
                </a:lnTo>
                <a:lnTo>
                  <a:pt x="60" y="476"/>
                </a:lnTo>
                <a:lnTo>
                  <a:pt x="53" y="464"/>
                </a:lnTo>
                <a:lnTo>
                  <a:pt x="61" y="461"/>
                </a:lnTo>
                <a:lnTo>
                  <a:pt x="69" y="454"/>
                </a:lnTo>
                <a:lnTo>
                  <a:pt x="74" y="446"/>
                </a:lnTo>
                <a:lnTo>
                  <a:pt x="79" y="437"/>
                </a:lnTo>
                <a:lnTo>
                  <a:pt x="82" y="428"/>
                </a:lnTo>
                <a:lnTo>
                  <a:pt x="84" y="418"/>
                </a:lnTo>
                <a:lnTo>
                  <a:pt x="87" y="407"/>
                </a:lnTo>
                <a:lnTo>
                  <a:pt x="87" y="397"/>
                </a:lnTo>
                <a:lnTo>
                  <a:pt x="87" y="375"/>
                </a:lnTo>
                <a:lnTo>
                  <a:pt x="83" y="353"/>
                </a:lnTo>
                <a:lnTo>
                  <a:pt x="78" y="332"/>
                </a:lnTo>
                <a:lnTo>
                  <a:pt x="73" y="315"/>
                </a:lnTo>
                <a:lnTo>
                  <a:pt x="60" y="308"/>
                </a:lnTo>
                <a:lnTo>
                  <a:pt x="49" y="301"/>
                </a:lnTo>
                <a:lnTo>
                  <a:pt x="39" y="294"/>
                </a:lnTo>
                <a:lnTo>
                  <a:pt x="31" y="285"/>
                </a:lnTo>
                <a:lnTo>
                  <a:pt x="23" y="277"/>
                </a:lnTo>
                <a:lnTo>
                  <a:pt x="17" y="268"/>
                </a:lnTo>
                <a:lnTo>
                  <a:pt x="12" y="259"/>
                </a:lnTo>
                <a:lnTo>
                  <a:pt x="8" y="250"/>
                </a:lnTo>
                <a:lnTo>
                  <a:pt x="5" y="241"/>
                </a:lnTo>
                <a:lnTo>
                  <a:pt x="2" y="230"/>
                </a:lnTo>
                <a:lnTo>
                  <a:pt x="1" y="220"/>
                </a:lnTo>
                <a:lnTo>
                  <a:pt x="0" y="209"/>
                </a:lnTo>
                <a:lnTo>
                  <a:pt x="1" y="189"/>
                </a:lnTo>
                <a:lnTo>
                  <a:pt x="4" y="168"/>
                </a:lnTo>
                <a:lnTo>
                  <a:pt x="10" y="146"/>
                </a:lnTo>
                <a:lnTo>
                  <a:pt x="17" y="124"/>
                </a:lnTo>
                <a:lnTo>
                  <a:pt x="26" y="101"/>
                </a:lnTo>
                <a:lnTo>
                  <a:pt x="36" y="79"/>
                </a:lnTo>
                <a:lnTo>
                  <a:pt x="57" y="38"/>
                </a:lnTo>
                <a:lnTo>
                  <a:pt x="77" y="0"/>
                </a:lnTo>
                <a:lnTo>
                  <a:pt x="82" y="1"/>
                </a:lnTo>
                <a:lnTo>
                  <a:pt x="87" y="4"/>
                </a:lnTo>
                <a:lnTo>
                  <a:pt x="90" y="9"/>
                </a:lnTo>
                <a:lnTo>
                  <a:pt x="92" y="16"/>
                </a:lnTo>
                <a:lnTo>
                  <a:pt x="96" y="30"/>
                </a:lnTo>
                <a:lnTo>
                  <a:pt x="99" y="42"/>
                </a:lnTo>
                <a:lnTo>
                  <a:pt x="110" y="57"/>
                </a:lnTo>
                <a:lnTo>
                  <a:pt x="121" y="70"/>
                </a:lnTo>
                <a:lnTo>
                  <a:pt x="130" y="79"/>
                </a:lnTo>
                <a:lnTo>
                  <a:pt x="138" y="86"/>
                </a:lnTo>
                <a:lnTo>
                  <a:pt x="146" y="91"/>
                </a:lnTo>
                <a:lnTo>
                  <a:pt x="153" y="95"/>
                </a:lnTo>
                <a:lnTo>
                  <a:pt x="160" y="96"/>
                </a:lnTo>
                <a:lnTo>
                  <a:pt x="168" y="98"/>
                </a:lnTo>
                <a:lnTo>
                  <a:pt x="182" y="98"/>
                </a:lnTo>
                <a:lnTo>
                  <a:pt x="198" y="98"/>
                </a:lnTo>
                <a:lnTo>
                  <a:pt x="207" y="98"/>
                </a:lnTo>
                <a:lnTo>
                  <a:pt x="216" y="100"/>
                </a:lnTo>
                <a:lnTo>
                  <a:pt x="227" y="104"/>
                </a:lnTo>
                <a:lnTo>
                  <a:pt x="239" y="109"/>
                </a:lnTo>
                <a:lnTo>
                  <a:pt x="238" y="126"/>
                </a:lnTo>
                <a:lnTo>
                  <a:pt x="235" y="142"/>
                </a:lnTo>
                <a:lnTo>
                  <a:pt x="231" y="156"/>
                </a:lnTo>
                <a:lnTo>
                  <a:pt x="227" y="170"/>
                </a:lnTo>
                <a:lnTo>
                  <a:pt x="222" y="185"/>
                </a:lnTo>
                <a:lnTo>
                  <a:pt x="220" y="199"/>
                </a:lnTo>
                <a:lnTo>
                  <a:pt x="218" y="216"/>
                </a:lnTo>
                <a:lnTo>
                  <a:pt x="218" y="234"/>
                </a:lnTo>
                <a:lnTo>
                  <a:pt x="246" y="245"/>
                </a:lnTo>
                <a:lnTo>
                  <a:pt x="273" y="255"/>
                </a:lnTo>
                <a:lnTo>
                  <a:pt x="300" y="265"/>
                </a:lnTo>
                <a:lnTo>
                  <a:pt x="328" y="276"/>
                </a:lnTo>
                <a:lnTo>
                  <a:pt x="339" y="297"/>
                </a:lnTo>
                <a:lnTo>
                  <a:pt x="351" y="314"/>
                </a:lnTo>
                <a:lnTo>
                  <a:pt x="361" y="329"/>
                </a:lnTo>
                <a:lnTo>
                  <a:pt x="373" y="342"/>
                </a:lnTo>
                <a:lnTo>
                  <a:pt x="385" y="354"/>
                </a:lnTo>
                <a:lnTo>
                  <a:pt x="398" y="367"/>
                </a:lnTo>
                <a:lnTo>
                  <a:pt x="414" y="379"/>
                </a:lnTo>
                <a:lnTo>
                  <a:pt x="432" y="392"/>
                </a:lnTo>
                <a:lnTo>
                  <a:pt x="437" y="412"/>
                </a:lnTo>
                <a:lnTo>
                  <a:pt x="442" y="428"/>
                </a:lnTo>
                <a:lnTo>
                  <a:pt x="445" y="435"/>
                </a:lnTo>
                <a:lnTo>
                  <a:pt x="449" y="441"/>
                </a:lnTo>
                <a:lnTo>
                  <a:pt x="453" y="445"/>
                </a:lnTo>
                <a:lnTo>
                  <a:pt x="456" y="450"/>
                </a:lnTo>
                <a:lnTo>
                  <a:pt x="479" y="467"/>
                </a:lnTo>
                <a:lnTo>
                  <a:pt x="509" y="488"/>
                </a:lnTo>
                <a:lnTo>
                  <a:pt x="507" y="506"/>
                </a:lnTo>
                <a:lnTo>
                  <a:pt x="507" y="524"/>
                </a:lnTo>
                <a:lnTo>
                  <a:pt x="507" y="542"/>
                </a:lnTo>
                <a:lnTo>
                  <a:pt x="507" y="561"/>
                </a:lnTo>
                <a:lnTo>
                  <a:pt x="485" y="565"/>
                </a:lnTo>
                <a:lnTo>
                  <a:pt x="464" y="567"/>
                </a:lnTo>
                <a:lnTo>
                  <a:pt x="442" y="569"/>
                </a:lnTo>
                <a:lnTo>
                  <a:pt x="420" y="569"/>
                </a:lnTo>
                <a:lnTo>
                  <a:pt x="399" y="570"/>
                </a:lnTo>
                <a:lnTo>
                  <a:pt x="377" y="572"/>
                </a:lnTo>
                <a:lnTo>
                  <a:pt x="355" y="576"/>
                </a:lnTo>
                <a:lnTo>
                  <a:pt x="334" y="583"/>
                </a:lnTo>
                <a:lnTo>
                  <a:pt x="300" y="606"/>
                </a:lnTo>
                <a:lnTo>
                  <a:pt x="268" y="626"/>
                </a:lnTo>
                <a:lnTo>
                  <a:pt x="251" y="635"/>
                </a:lnTo>
                <a:lnTo>
                  <a:pt x="233" y="643"/>
                </a:lnTo>
                <a:lnTo>
                  <a:pt x="214" y="650"/>
                </a:lnTo>
                <a:lnTo>
                  <a:pt x="194" y="657"/>
                </a:lnTo>
                <a:close/>
              </a:path>
            </a:pathLst>
          </a:custGeom>
          <a:noFill/>
          <a:ln w="3175">
            <a:solidFill>
              <a:srgbClr val="3399FF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59" name="Freeform 132"/>
          <p:cNvSpPr>
            <a:spLocks/>
          </p:cNvSpPr>
          <p:nvPr/>
        </p:nvSpPr>
        <p:spPr bwMode="auto">
          <a:xfrm>
            <a:off x="1565275" y="2716213"/>
            <a:ext cx="30163" cy="28575"/>
          </a:xfrm>
          <a:custGeom>
            <a:avLst/>
            <a:gdLst>
              <a:gd name="T0" fmla="*/ 2147483647 w 74"/>
              <a:gd name="T1" fmla="*/ 2147483647 h 71"/>
              <a:gd name="T2" fmla="*/ 2147483647 w 74"/>
              <a:gd name="T3" fmla="*/ 2147483647 h 71"/>
              <a:gd name="T4" fmla="*/ 2147483647 w 74"/>
              <a:gd name="T5" fmla="*/ 2147483647 h 71"/>
              <a:gd name="T6" fmla="*/ 2147483647 w 74"/>
              <a:gd name="T7" fmla="*/ 2147483647 h 71"/>
              <a:gd name="T8" fmla="*/ 2147483647 w 74"/>
              <a:gd name="T9" fmla="*/ 2147483647 h 71"/>
              <a:gd name="T10" fmla="*/ 0 w 74"/>
              <a:gd name="T11" fmla="*/ 2147483647 h 71"/>
              <a:gd name="T12" fmla="*/ 2147483647 w 74"/>
              <a:gd name="T13" fmla="*/ 2147483647 h 71"/>
              <a:gd name="T14" fmla="*/ 2147483647 w 74"/>
              <a:gd name="T15" fmla="*/ 2147483647 h 71"/>
              <a:gd name="T16" fmla="*/ 2147483647 w 74"/>
              <a:gd name="T17" fmla="*/ 2147483647 h 71"/>
              <a:gd name="T18" fmla="*/ 2147483647 w 74"/>
              <a:gd name="T19" fmla="*/ 0 h 71"/>
              <a:gd name="T20" fmla="*/ 2147483647 w 74"/>
              <a:gd name="T21" fmla="*/ 0 h 71"/>
              <a:gd name="T22" fmla="*/ 2147483647 w 74"/>
              <a:gd name="T23" fmla="*/ 2147483647 h 71"/>
              <a:gd name="T24" fmla="*/ 2147483647 w 74"/>
              <a:gd name="T25" fmla="*/ 2147483647 h 71"/>
              <a:gd name="T26" fmla="*/ 2147483647 w 74"/>
              <a:gd name="T27" fmla="*/ 2147483647 h 71"/>
              <a:gd name="T28" fmla="*/ 2147483647 w 74"/>
              <a:gd name="T29" fmla="*/ 2147483647 h 71"/>
              <a:gd name="T30" fmla="*/ 2147483647 w 74"/>
              <a:gd name="T31" fmla="*/ 2147483647 h 71"/>
              <a:gd name="T32" fmla="*/ 2147483647 w 74"/>
              <a:gd name="T33" fmla="*/ 2147483647 h 71"/>
              <a:gd name="T34" fmla="*/ 2147483647 w 74"/>
              <a:gd name="T35" fmla="*/ 2147483647 h 71"/>
              <a:gd name="T36" fmla="*/ 2147483647 w 74"/>
              <a:gd name="T37" fmla="*/ 2147483647 h 71"/>
              <a:gd name="T38" fmla="*/ 2147483647 w 74"/>
              <a:gd name="T39" fmla="*/ 2147483647 h 71"/>
              <a:gd name="T40" fmla="*/ 2147483647 w 74"/>
              <a:gd name="T41" fmla="*/ 2147483647 h 71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74"/>
              <a:gd name="T64" fmla="*/ 0 h 71"/>
              <a:gd name="T65" fmla="*/ 74 w 74"/>
              <a:gd name="T66" fmla="*/ 71 h 71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74" h="71">
                <a:moveTo>
                  <a:pt x="26" y="71"/>
                </a:moveTo>
                <a:lnTo>
                  <a:pt x="16" y="64"/>
                </a:lnTo>
                <a:lnTo>
                  <a:pt x="9" y="56"/>
                </a:lnTo>
                <a:lnTo>
                  <a:pt x="5" y="48"/>
                </a:lnTo>
                <a:lnTo>
                  <a:pt x="1" y="40"/>
                </a:lnTo>
                <a:lnTo>
                  <a:pt x="0" y="31"/>
                </a:lnTo>
                <a:lnTo>
                  <a:pt x="1" y="22"/>
                </a:lnTo>
                <a:lnTo>
                  <a:pt x="2" y="13"/>
                </a:lnTo>
                <a:lnTo>
                  <a:pt x="6" y="2"/>
                </a:lnTo>
                <a:lnTo>
                  <a:pt x="32" y="0"/>
                </a:lnTo>
                <a:lnTo>
                  <a:pt x="46" y="0"/>
                </a:lnTo>
                <a:lnTo>
                  <a:pt x="56" y="1"/>
                </a:lnTo>
                <a:lnTo>
                  <a:pt x="63" y="6"/>
                </a:lnTo>
                <a:lnTo>
                  <a:pt x="67" y="23"/>
                </a:lnTo>
                <a:lnTo>
                  <a:pt x="74" y="40"/>
                </a:lnTo>
                <a:lnTo>
                  <a:pt x="69" y="47"/>
                </a:lnTo>
                <a:lnTo>
                  <a:pt x="63" y="52"/>
                </a:lnTo>
                <a:lnTo>
                  <a:pt x="58" y="57"/>
                </a:lnTo>
                <a:lnTo>
                  <a:pt x="52" y="61"/>
                </a:lnTo>
                <a:lnTo>
                  <a:pt x="40" y="66"/>
                </a:lnTo>
                <a:lnTo>
                  <a:pt x="26" y="71"/>
                </a:lnTo>
              </a:path>
            </a:pathLst>
          </a:custGeom>
          <a:noFill/>
          <a:ln w="1905">
            <a:solidFill>
              <a:srgbClr val="3399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32860" name="AutoShape 133"/>
          <p:cNvSpPr>
            <a:spLocks/>
          </p:cNvSpPr>
          <p:nvPr/>
        </p:nvSpPr>
        <p:spPr bwMode="auto">
          <a:xfrm>
            <a:off x="2697163" y="4581525"/>
            <a:ext cx="1741487" cy="598488"/>
          </a:xfrm>
          <a:prstGeom prst="borderCallout1">
            <a:avLst>
              <a:gd name="adj1" fmla="val 80903"/>
              <a:gd name="adj2" fmla="val -4042"/>
              <a:gd name="adj3" fmla="val -217505"/>
              <a:gd name="adj4" fmla="val -4042"/>
            </a:avLst>
          </a:prstGeom>
          <a:solidFill>
            <a:srgbClr val="CCECFF"/>
          </a:solidFill>
          <a:ln w="9525">
            <a:solidFill>
              <a:schemeClr val="tx1"/>
            </a:solidFill>
            <a:miter lim="800000"/>
            <a:headEnd type="oval" w="sm" len="sm"/>
            <a:tailEnd/>
          </a:ln>
        </p:spPr>
        <p:txBody>
          <a:bodyPr lIns="90000" tIns="46800" rIns="90000" bIns="46800"/>
          <a:lstStyle/>
          <a:p>
            <a:pPr algn="ctr"/>
            <a:r>
              <a:rPr lang="ru-RU" sz="1000">
                <a:latin typeface="Verdana" pitchFamily="34" charset="0"/>
              </a:rPr>
              <a:t>Пермский край</a:t>
            </a:r>
          </a:p>
          <a:p>
            <a:pPr algn="ctr"/>
            <a:r>
              <a:rPr lang="ru-RU" sz="1000">
                <a:latin typeface="Verdana" pitchFamily="34" charset="0"/>
              </a:rPr>
              <a:t>Химическая   промышленность</a:t>
            </a:r>
          </a:p>
        </p:txBody>
      </p:sp>
      <p:sp>
        <p:nvSpPr>
          <p:cNvPr id="2932861" name="AutoShape 134"/>
          <p:cNvSpPr>
            <a:spLocks/>
          </p:cNvSpPr>
          <p:nvPr/>
        </p:nvSpPr>
        <p:spPr bwMode="auto">
          <a:xfrm>
            <a:off x="333375" y="5229225"/>
            <a:ext cx="1644650" cy="431800"/>
          </a:xfrm>
          <a:prstGeom prst="borderCallout1">
            <a:avLst>
              <a:gd name="adj1" fmla="val 73528"/>
              <a:gd name="adj2" fmla="val 104278"/>
              <a:gd name="adj3" fmla="val -394486"/>
              <a:gd name="adj4" fmla="val 104278"/>
            </a:avLst>
          </a:prstGeom>
          <a:solidFill>
            <a:srgbClr val="CCECFF"/>
          </a:solidFill>
          <a:ln w="9525">
            <a:solidFill>
              <a:schemeClr val="tx1"/>
            </a:solidFill>
            <a:miter lim="800000"/>
            <a:headEnd type="oval" w="sm" len="sm"/>
            <a:tailEnd/>
          </a:ln>
        </p:spPr>
        <p:txBody>
          <a:bodyPr/>
          <a:lstStyle/>
          <a:p>
            <a:pPr algn="ctr"/>
            <a:r>
              <a:rPr lang="ru-RU" sz="1000">
                <a:latin typeface="Verdana" pitchFamily="34" charset="0"/>
              </a:rPr>
              <a:t>Самарская область</a:t>
            </a:r>
          </a:p>
          <a:p>
            <a:pPr algn="ctr"/>
            <a:r>
              <a:rPr lang="ru-RU" sz="1000">
                <a:latin typeface="Verdana" pitchFamily="34" charset="0"/>
              </a:rPr>
              <a:t>Автомобилестроение</a:t>
            </a:r>
            <a:endParaRPr lang="ru-RU" sz="1000" u="sng">
              <a:latin typeface="Verdana" pitchFamily="34" charset="0"/>
            </a:endParaRPr>
          </a:p>
        </p:txBody>
      </p:sp>
      <p:sp>
        <p:nvSpPr>
          <p:cNvPr id="2932862" name="AutoShape 135"/>
          <p:cNvSpPr>
            <a:spLocks/>
          </p:cNvSpPr>
          <p:nvPr/>
        </p:nvSpPr>
        <p:spPr bwMode="auto">
          <a:xfrm>
            <a:off x="2746375" y="1700213"/>
            <a:ext cx="1457325" cy="542925"/>
          </a:xfrm>
          <a:prstGeom prst="borderCallout1">
            <a:avLst>
              <a:gd name="adj1" fmla="val 21051"/>
              <a:gd name="adj2" fmla="val -5227"/>
              <a:gd name="adj3" fmla="val 102926"/>
              <a:gd name="adj4" fmla="val -5227"/>
            </a:avLst>
          </a:prstGeom>
          <a:solidFill>
            <a:srgbClr val="CCECFF"/>
          </a:solidFill>
          <a:ln w="9525">
            <a:solidFill>
              <a:schemeClr val="tx1"/>
            </a:solidFill>
            <a:miter lim="800000"/>
            <a:headEnd type="oval" w="sm" len="sm"/>
            <a:tailEnd/>
          </a:ln>
        </p:spPr>
        <p:txBody>
          <a:bodyPr/>
          <a:lstStyle/>
          <a:p>
            <a:pPr algn="ctr"/>
            <a:r>
              <a:rPr lang="ru-RU" sz="1000">
                <a:latin typeface="Verdana" pitchFamily="34" charset="0"/>
              </a:rPr>
              <a:t>Архангельская область</a:t>
            </a:r>
          </a:p>
          <a:p>
            <a:pPr algn="ctr"/>
            <a:r>
              <a:rPr lang="ru-RU" sz="1000">
                <a:latin typeface="Verdana" pitchFamily="34" charset="0"/>
              </a:rPr>
              <a:t>Лесопереработка</a:t>
            </a:r>
          </a:p>
        </p:txBody>
      </p:sp>
      <p:sp>
        <p:nvSpPr>
          <p:cNvPr id="2932863" name="AutoShape 136"/>
          <p:cNvSpPr>
            <a:spLocks/>
          </p:cNvSpPr>
          <p:nvPr/>
        </p:nvSpPr>
        <p:spPr bwMode="auto">
          <a:xfrm>
            <a:off x="2278063" y="5267325"/>
            <a:ext cx="2006600" cy="393700"/>
          </a:xfrm>
          <a:prstGeom prst="borderCallout1">
            <a:avLst>
              <a:gd name="adj1" fmla="val 70968"/>
              <a:gd name="adj2" fmla="val -3505"/>
              <a:gd name="adj3" fmla="val -481454"/>
              <a:gd name="adj4" fmla="val -3505"/>
            </a:avLst>
          </a:prstGeom>
          <a:solidFill>
            <a:srgbClr val="CCECFF"/>
          </a:solidFill>
          <a:ln w="9525">
            <a:solidFill>
              <a:schemeClr val="tx1"/>
            </a:solidFill>
            <a:miter lim="800000"/>
            <a:headEnd type="oval" w="sm" len="sm"/>
            <a:tailEnd/>
          </a:ln>
        </p:spPr>
        <p:txBody>
          <a:bodyPr/>
          <a:lstStyle/>
          <a:p>
            <a:pPr algn="ctr"/>
            <a:r>
              <a:rPr lang="ru-RU" sz="1000">
                <a:latin typeface="Verdana" pitchFamily="34" charset="0"/>
              </a:rPr>
              <a:t>Республика Татарстан</a:t>
            </a:r>
          </a:p>
          <a:p>
            <a:pPr algn="ctr"/>
            <a:r>
              <a:rPr lang="ru-RU" sz="1000">
                <a:latin typeface="Verdana" pitchFamily="34" charset="0"/>
              </a:rPr>
              <a:t>Автомобилестроение</a:t>
            </a:r>
          </a:p>
        </p:txBody>
      </p:sp>
      <p:sp>
        <p:nvSpPr>
          <p:cNvPr id="2932864" name="AutoShape 137"/>
          <p:cNvSpPr>
            <a:spLocks/>
          </p:cNvSpPr>
          <p:nvPr/>
        </p:nvSpPr>
        <p:spPr bwMode="auto">
          <a:xfrm>
            <a:off x="0" y="3068638"/>
            <a:ext cx="1566863" cy="547687"/>
          </a:xfrm>
          <a:prstGeom prst="borderCallout1">
            <a:avLst>
              <a:gd name="adj1" fmla="val -23769"/>
              <a:gd name="adj2" fmla="val 6736"/>
              <a:gd name="adj3" fmla="val -23769"/>
              <a:gd name="adj4" fmla="val 125444"/>
            </a:avLst>
          </a:prstGeom>
          <a:solidFill>
            <a:srgbClr val="CCECFF"/>
          </a:solidFill>
          <a:ln w="9525">
            <a:solidFill>
              <a:schemeClr val="tx1"/>
            </a:solidFill>
            <a:miter lim="800000"/>
            <a:headEnd type="oval" w="sm" len="sm"/>
            <a:tailEnd/>
          </a:ln>
        </p:spPr>
        <p:txBody>
          <a:bodyPr/>
          <a:lstStyle/>
          <a:p>
            <a:pPr algn="ctr"/>
            <a:r>
              <a:rPr lang="ru-RU" sz="1000">
                <a:latin typeface="Verdana" pitchFamily="34" charset="0"/>
              </a:rPr>
              <a:t>Нижегородская область</a:t>
            </a:r>
          </a:p>
          <a:p>
            <a:pPr algn="ctr"/>
            <a:r>
              <a:rPr lang="ru-RU" sz="1000">
                <a:latin typeface="Verdana" pitchFamily="34" charset="0"/>
              </a:rPr>
              <a:t>автомобилестроение</a:t>
            </a:r>
          </a:p>
        </p:txBody>
      </p:sp>
      <p:sp>
        <p:nvSpPr>
          <p:cNvPr id="2932865" name="AutoShape 138"/>
          <p:cNvSpPr>
            <a:spLocks/>
          </p:cNvSpPr>
          <p:nvPr/>
        </p:nvSpPr>
        <p:spPr bwMode="auto">
          <a:xfrm>
            <a:off x="890588" y="4221163"/>
            <a:ext cx="1377950" cy="863600"/>
          </a:xfrm>
          <a:prstGeom prst="borderCallout1">
            <a:avLst>
              <a:gd name="adj1" fmla="val 84208"/>
              <a:gd name="adj2" fmla="val -5528"/>
              <a:gd name="adj3" fmla="val -80921"/>
              <a:gd name="adj4" fmla="val -5528"/>
            </a:avLst>
          </a:prstGeom>
          <a:solidFill>
            <a:srgbClr val="CCECFF"/>
          </a:solidFill>
          <a:ln w="9525">
            <a:solidFill>
              <a:schemeClr val="tx1"/>
            </a:solidFill>
            <a:miter lim="800000"/>
            <a:headEnd type="oval" w="sm" len="sm"/>
            <a:tailEnd/>
          </a:ln>
        </p:spPr>
        <p:txBody>
          <a:bodyPr/>
          <a:lstStyle/>
          <a:p>
            <a:pPr algn="ctr"/>
            <a:r>
              <a:rPr lang="ru-RU" sz="1000">
                <a:latin typeface="Verdana" pitchFamily="34" charset="0"/>
              </a:rPr>
              <a:t>Краснодарский край</a:t>
            </a:r>
          </a:p>
          <a:p>
            <a:pPr algn="ctr"/>
            <a:r>
              <a:rPr lang="ru-RU" sz="1000">
                <a:latin typeface="Verdana" pitchFamily="34" charset="0"/>
              </a:rPr>
              <a:t>Пищевая промышленность, с/х</a:t>
            </a:r>
          </a:p>
        </p:txBody>
      </p:sp>
      <p:sp>
        <p:nvSpPr>
          <p:cNvPr id="2932866" name="AutoShape 139"/>
          <p:cNvSpPr>
            <a:spLocks/>
          </p:cNvSpPr>
          <p:nvPr/>
        </p:nvSpPr>
        <p:spPr bwMode="auto">
          <a:xfrm>
            <a:off x="5435600" y="3573463"/>
            <a:ext cx="1784350" cy="581025"/>
          </a:xfrm>
          <a:prstGeom prst="borderCallout1">
            <a:avLst>
              <a:gd name="adj1" fmla="val -13116"/>
              <a:gd name="adj2" fmla="val 94088"/>
              <a:gd name="adj3" fmla="val -13116"/>
              <a:gd name="adj4" fmla="val -66009"/>
            </a:avLst>
          </a:prstGeom>
          <a:solidFill>
            <a:srgbClr val="CCECFF"/>
          </a:solidFill>
          <a:ln w="9525">
            <a:solidFill>
              <a:schemeClr val="tx1"/>
            </a:solidFill>
            <a:miter lim="800000"/>
            <a:headEnd type="oval" w="sm" len="sm"/>
            <a:tailEnd/>
          </a:ln>
        </p:spPr>
        <p:txBody>
          <a:bodyPr/>
          <a:lstStyle/>
          <a:p>
            <a:pPr algn="ctr"/>
            <a:r>
              <a:rPr lang="ru-RU" sz="1000">
                <a:latin typeface="Verdana" pitchFamily="34" charset="0"/>
              </a:rPr>
              <a:t>Томская область</a:t>
            </a:r>
          </a:p>
          <a:p>
            <a:pPr algn="ctr"/>
            <a:r>
              <a:rPr lang="ru-RU" sz="1000">
                <a:latin typeface="Verdana" pitchFamily="34" charset="0"/>
              </a:rPr>
              <a:t>Программно-аппаратное обеспечение</a:t>
            </a:r>
          </a:p>
        </p:txBody>
      </p:sp>
      <p:sp>
        <p:nvSpPr>
          <p:cNvPr id="2932867" name="AutoShape 140"/>
          <p:cNvSpPr>
            <a:spLocks/>
          </p:cNvSpPr>
          <p:nvPr/>
        </p:nvSpPr>
        <p:spPr bwMode="auto">
          <a:xfrm>
            <a:off x="1616075" y="1052513"/>
            <a:ext cx="2084388" cy="465137"/>
          </a:xfrm>
          <a:prstGeom prst="borderCallout1">
            <a:avLst>
              <a:gd name="adj1" fmla="val 24574"/>
              <a:gd name="adj2" fmla="val -3657"/>
              <a:gd name="adj3" fmla="val 230375"/>
              <a:gd name="adj4" fmla="val -3657"/>
            </a:avLst>
          </a:prstGeom>
          <a:solidFill>
            <a:srgbClr val="CCECFF"/>
          </a:solidFill>
          <a:ln w="9525">
            <a:solidFill>
              <a:schemeClr val="tx1"/>
            </a:solidFill>
            <a:miter lim="800000"/>
            <a:headEnd type="oval" w="sm" len="sm"/>
            <a:tailEnd/>
          </a:ln>
        </p:spPr>
        <p:txBody>
          <a:bodyPr/>
          <a:lstStyle/>
          <a:p>
            <a:pPr algn="ctr"/>
            <a:r>
              <a:rPr lang="ru-RU" sz="1000">
                <a:latin typeface="Verdana" pitchFamily="34" charset="0"/>
              </a:rPr>
              <a:t>Санкт-Петербург</a:t>
            </a:r>
          </a:p>
          <a:p>
            <a:pPr algn="ctr"/>
            <a:r>
              <a:rPr lang="ru-RU" sz="1000">
                <a:latin typeface="Verdana" pitchFamily="34" charset="0"/>
              </a:rPr>
              <a:t>Биотехнологии</a:t>
            </a:r>
          </a:p>
        </p:txBody>
      </p:sp>
      <p:sp>
        <p:nvSpPr>
          <p:cNvPr id="2932868" name="AutoShape 141"/>
          <p:cNvSpPr>
            <a:spLocks/>
          </p:cNvSpPr>
          <p:nvPr/>
        </p:nvSpPr>
        <p:spPr bwMode="auto">
          <a:xfrm>
            <a:off x="3175000" y="3068638"/>
            <a:ext cx="1863725" cy="506412"/>
          </a:xfrm>
          <a:prstGeom prst="borderCallout1">
            <a:avLst>
              <a:gd name="adj1" fmla="val 115046"/>
              <a:gd name="adj2" fmla="val 94333"/>
              <a:gd name="adj3" fmla="val 115046"/>
              <a:gd name="adj4" fmla="val -56569"/>
            </a:avLst>
          </a:prstGeom>
          <a:solidFill>
            <a:srgbClr val="CCECFF"/>
          </a:solidFill>
          <a:ln w="9525">
            <a:solidFill>
              <a:schemeClr val="tx1"/>
            </a:solidFill>
            <a:miter lim="800000"/>
            <a:headEnd type="oval" w="sm" len="sm"/>
            <a:tailEnd/>
          </a:ln>
        </p:spPr>
        <p:txBody>
          <a:bodyPr lIns="90000" tIns="46800" rIns="90000" bIns="46800"/>
          <a:lstStyle/>
          <a:p>
            <a:pPr algn="ctr"/>
            <a:r>
              <a:rPr lang="ru-RU" sz="1000">
                <a:latin typeface="Verdana" pitchFamily="34" charset="0"/>
              </a:rPr>
              <a:t>Оренбургская область</a:t>
            </a:r>
          </a:p>
          <a:p>
            <a:pPr algn="ctr"/>
            <a:r>
              <a:rPr lang="ru-RU" sz="1000">
                <a:latin typeface="Verdana" pitchFamily="34" charset="0"/>
              </a:rPr>
              <a:t>Транспорт и логистика</a:t>
            </a:r>
          </a:p>
        </p:txBody>
      </p:sp>
      <p:sp>
        <p:nvSpPr>
          <p:cNvPr id="2932869" name="AutoShape 142"/>
          <p:cNvSpPr>
            <a:spLocks/>
          </p:cNvSpPr>
          <p:nvPr/>
        </p:nvSpPr>
        <p:spPr bwMode="auto">
          <a:xfrm>
            <a:off x="119063" y="1484313"/>
            <a:ext cx="1360487" cy="720725"/>
          </a:xfrm>
          <a:prstGeom prst="borderCallout1">
            <a:avLst>
              <a:gd name="adj1" fmla="val 15861"/>
              <a:gd name="adj2" fmla="val 105167"/>
              <a:gd name="adj3" fmla="val 175111"/>
              <a:gd name="adj4" fmla="val 105167"/>
            </a:avLst>
          </a:prstGeom>
          <a:solidFill>
            <a:srgbClr val="CCECFF"/>
          </a:solidFill>
          <a:ln w="9525">
            <a:solidFill>
              <a:schemeClr val="tx1"/>
            </a:solidFill>
            <a:miter lim="800000"/>
            <a:headEnd type="oval" w="sm" len="sm"/>
            <a:tailEnd/>
          </a:ln>
        </p:spPr>
        <p:txBody>
          <a:bodyPr lIns="90000" tIns="46800" rIns="90000" bIns="46800"/>
          <a:lstStyle/>
          <a:p>
            <a:pPr algn="ctr"/>
            <a:r>
              <a:rPr lang="ru-RU" sz="1000">
                <a:latin typeface="Verdana" pitchFamily="34" charset="0"/>
              </a:rPr>
              <a:t>Москва</a:t>
            </a:r>
          </a:p>
          <a:p>
            <a:pPr algn="ctr"/>
            <a:r>
              <a:rPr lang="ru-RU" sz="1000">
                <a:latin typeface="Verdana" pitchFamily="34" charset="0"/>
              </a:rPr>
              <a:t>Производство медицинской техники</a:t>
            </a:r>
          </a:p>
        </p:txBody>
      </p:sp>
      <p:sp>
        <p:nvSpPr>
          <p:cNvPr id="2932870" name="AutoShape 143"/>
          <p:cNvSpPr>
            <a:spLocks/>
          </p:cNvSpPr>
          <p:nvPr/>
        </p:nvSpPr>
        <p:spPr bwMode="auto">
          <a:xfrm>
            <a:off x="4705350" y="4516438"/>
            <a:ext cx="1784350" cy="425450"/>
          </a:xfrm>
          <a:prstGeom prst="borderCallout1">
            <a:avLst>
              <a:gd name="adj1" fmla="val -17912"/>
              <a:gd name="adj2" fmla="val 94088"/>
              <a:gd name="adj3" fmla="val -17912"/>
              <a:gd name="adj4" fmla="val -24139"/>
            </a:avLst>
          </a:prstGeom>
          <a:solidFill>
            <a:srgbClr val="CCECFF"/>
          </a:solidFill>
          <a:ln w="9525">
            <a:solidFill>
              <a:schemeClr val="tx1"/>
            </a:solidFill>
            <a:miter lim="800000"/>
            <a:headEnd type="oval" w="sm" len="sm"/>
            <a:tailEnd/>
          </a:ln>
        </p:spPr>
        <p:txBody>
          <a:bodyPr/>
          <a:lstStyle/>
          <a:p>
            <a:pPr algn="ctr"/>
            <a:r>
              <a:rPr lang="ru-RU" sz="1000">
                <a:latin typeface="Verdana" pitchFamily="34" charset="0"/>
              </a:rPr>
              <a:t>Кемеровская область</a:t>
            </a:r>
          </a:p>
          <a:p>
            <a:pPr algn="ctr"/>
            <a:r>
              <a:rPr lang="ru-RU" sz="1000">
                <a:latin typeface="Verdana" pitchFamily="34" charset="0"/>
              </a:rPr>
              <a:t>Стройматериалы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608762" y="1437482"/>
            <a:ext cx="205898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В России создано 25 кластеров</a:t>
            </a:r>
          </a:p>
          <a:p>
            <a:endParaRPr lang="ru-RU" b="1" dirty="0" smtClean="0"/>
          </a:p>
          <a:p>
            <a:r>
              <a:rPr lang="ru-RU" b="1" dirty="0" smtClean="0"/>
              <a:t>При поддержке государства - 14</a:t>
            </a:r>
            <a:endParaRPr lang="ru-RU" b="1" dirty="0"/>
          </a:p>
        </p:txBody>
      </p:sp>
      <p:sp>
        <p:nvSpPr>
          <p:cNvPr id="3" name="TextBox 2"/>
          <p:cNvSpPr txBox="1"/>
          <p:nvPr/>
        </p:nvSpPr>
        <p:spPr>
          <a:xfrm>
            <a:off x="7334250" y="6021288"/>
            <a:ext cx="13420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/>
              <a:t>                          </a:t>
            </a:r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</a:rPr>
              <a:t>22</a:t>
            </a:r>
            <a:endParaRPr lang="ru-RU" sz="11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33761" name="Группа 13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6" name="Овал 15"/>
            <p:cNvSpPr/>
            <p:nvPr/>
          </p:nvSpPr>
          <p:spPr>
            <a:xfrm>
              <a:off x="322263" y="500063"/>
              <a:ext cx="785812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714375" y="357188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8" name="Овал 17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9" name="Полилиния 18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2933762" name="Прямоугольник 2"/>
          <p:cNvSpPr>
            <a:spLocks noChangeArrowheads="1"/>
          </p:cNvSpPr>
          <p:nvPr/>
        </p:nvSpPr>
        <p:spPr bwMode="auto">
          <a:xfrm>
            <a:off x="989013" y="-100013"/>
            <a:ext cx="7254875" cy="76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400" b="1"/>
              <a:t>Российские Объединения предпринимателей </a:t>
            </a:r>
            <a:r>
              <a:rPr lang="ru-RU" sz="2000" b="1">
                <a:solidFill>
                  <a:srgbClr val="000000"/>
                </a:solidFill>
              </a:rPr>
              <a:t>(Большая четверка)</a:t>
            </a:r>
          </a:p>
        </p:txBody>
      </p:sp>
      <p:sp>
        <p:nvSpPr>
          <p:cNvPr id="2933763" name="Text Box 26"/>
          <p:cNvSpPr txBox="1">
            <a:spLocks noChangeArrowheads="1"/>
          </p:cNvSpPr>
          <p:nvPr/>
        </p:nvSpPr>
        <p:spPr bwMode="auto">
          <a:xfrm>
            <a:off x="6877050" y="4797425"/>
            <a:ext cx="1944688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400" b="1">
                <a:solidFill>
                  <a:srgbClr val="000000"/>
                </a:solidFill>
              </a:rPr>
              <a:t> </a:t>
            </a:r>
            <a:endParaRPr lang="en-US" sz="2800" b="1">
              <a:solidFill>
                <a:srgbClr val="000000"/>
              </a:solidFill>
            </a:endParaRPr>
          </a:p>
          <a:p>
            <a:pPr algn="ctr"/>
            <a:r>
              <a:rPr lang="en-US" sz="2400" b="1">
                <a:solidFill>
                  <a:srgbClr val="000000"/>
                </a:solidFill>
              </a:rPr>
              <a:t> </a:t>
            </a:r>
            <a:endParaRPr lang="ru-RU" sz="2400" b="1">
              <a:solidFill>
                <a:srgbClr val="000000"/>
              </a:solidFill>
              <a:latin typeface="Times New Roman" pitchFamily="18" charset="0"/>
            </a:endParaRPr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3440678807"/>
              </p:ext>
            </p:extLst>
          </p:nvPr>
        </p:nvGraphicFramePr>
        <p:xfrm>
          <a:off x="920750" y="850106"/>
          <a:ext cx="8215188" cy="59204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Номер слайда 2"/>
          <p:cNvSpPr txBox="1">
            <a:spLocks noGrp="1"/>
          </p:cNvSpPr>
          <p:nvPr/>
        </p:nvSpPr>
        <p:spPr>
          <a:xfrm>
            <a:off x="8675688" y="6381750"/>
            <a:ext cx="468312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F5017BA1-BE0A-4721-A39E-91447C5E5074}" type="slidenum">
              <a:rPr lang="ru-RU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3</a:t>
            </a:fld>
            <a:endParaRPr lang="ru-RU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34785" name="Группа 3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5" name="Прямоугольник 4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6" name="Овал 5"/>
            <p:cNvSpPr/>
            <p:nvPr/>
          </p:nvSpPr>
          <p:spPr>
            <a:xfrm>
              <a:off x="322263" y="500063"/>
              <a:ext cx="785812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714375" y="357188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8" name="Овал 7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9" name="Полилиния 8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43011" name="TextBox 9"/>
          <p:cNvSpPr txBox="1">
            <a:spLocks noChangeArrowheads="1"/>
          </p:cNvSpPr>
          <p:nvPr/>
        </p:nvSpPr>
        <p:spPr bwMode="auto">
          <a:xfrm>
            <a:off x="1108075" y="41275"/>
            <a:ext cx="7691438" cy="46037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2400" b="1" dirty="0">
                <a:ea typeface="+mj-ea"/>
                <a:cs typeface="+mj-cs"/>
              </a:rPr>
              <a:t>Институты развития </a:t>
            </a:r>
            <a:r>
              <a:rPr lang="ru-RU" sz="2400" b="1" dirty="0" smtClean="0">
                <a:ea typeface="+mj-ea"/>
                <a:cs typeface="+mj-cs"/>
              </a:rPr>
              <a:t>МСП. Инновационный </a:t>
            </a:r>
            <a:r>
              <a:rPr lang="ru-RU" sz="2400" b="1" dirty="0">
                <a:ea typeface="+mj-ea"/>
                <a:cs typeface="+mj-cs"/>
              </a:rPr>
              <a:t>лифт</a:t>
            </a:r>
          </a:p>
        </p:txBody>
      </p:sp>
      <p:sp>
        <p:nvSpPr>
          <p:cNvPr id="90" name="Пятиугольник 89"/>
          <p:cNvSpPr/>
          <p:nvPr/>
        </p:nvSpPr>
        <p:spPr>
          <a:xfrm rot="16200000">
            <a:off x="1678761" y="821513"/>
            <a:ext cx="5643602" cy="5572164"/>
          </a:xfrm>
          <a:prstGeom prst="homePlate">
            <a:avLst>
              <a:gd name="adj" fmla="val 15175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0000">
                <a:schemeClr val="accent1">
                  <a:lumMod val="60000"/>
                  <a:lumOff val="4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8900000" scaled="1"/>
          </a:gradFill>
          <a:ln>
            <a:solidFill>
              <a:schemeClr val="accent1">
                <a:lumMod val="60000"/>
                <a:lumOff val="40000"/>
              </a:schemeClr>
            </a:solidFill>
          </a:ln>
          <a:scene3d>
            <a:camera prst="perspectiveBelow"/>
            <a:lightRig rig="threePt" dir="t"/>
          </a:scene3d>
          <a:sp3d extrusionH="1270000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pSp>
        <p:nvGrpSpPr>
          <p:cNvPr id="2934788" name="Группа 113"/>
          <p:cNvGrpSpPr>
            <a:grpSpLocks/>
          </p:cNvGrpSpPr>
          <p:nvPr/>
        </p:nvGrpSpPr>
        <p:grpSpPr bwMode="auto">
          <a:xfrm>
            <a:off x="2071688" y="1643063"/>
            <a:ext cx="642937" cy="361950"/>
            <a:chOff x="2071670" y="1714488"/>
            <a:chExt cx="1143008" cy="642942"/>
          </a:xfrm>
        </p:grpSpPr>
        <p:sp>
          <p:nvSpPr>
            <p:cNvPr id="94" name="Прямоугольник 93"/>
            <p:cNvSpPr/>
            <p:nvPr/>
          </p:nvSpPr>
          <p:spPr>
            <a:xfrm>
              <a:off x="2071670" y="1714488"/>
              <a:ext cx="1143008" cy="64294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>
                  <a:lumMod val="75000"/>
                </a:schemeClr>
              </a:solidFill>
            </a:ln>
            <a:scene3d>
              <a:camera prst="perspective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cxnSp>
          <p:nvCxnSpPr>
            <p:cNvPr id="96" name="Прямая соединительная линия 95"/>
            <p:cNvCxnSpPr>
              <a:stCxn id="94" idx="0"/>
              <a:endCxn id="94" idx="2"/>
            </p:cNvCxnSpPr>
            <p:nvPr/>
          </p:nvCxnSpPr>
          <p:spPr>
            <a:xfrm rot="16200000" flipH="1">
              <a:off x="2323114" y="2035959"/>
              <a:ext cx="642942" cy="0"/>
            </a:xfrm>
            <a:prstGeom prst="line">
              <a:avLst/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Прямая соединительная линия 112"/>
            <p:cNvCxnSpPr/>
            <p:nvPr/>
          </p:nvCxnSpPr>
          <p:spPr>
            <a:xfrm rot="10800000" flipH="1">
              <a:off x="2102714" y="2035959"/>
              <a:ext cx="541871" cy="0"/>
            </a:xfrm>
            <a:prstGeom prst="line">
              <a:avLst/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34789" name="Группа 142"/>
          <p:cNvGrpSpPr>
            <a:grpSpLocks/>
          </p:cNvGrpSpPr>
          <p:nvPr/>
        </p:nvGrpSpPr>
        <p:grpSpPr bwMode="auto">
          <a:xfrm>
            <a:off x="2071688" y="2138363"/>
            <a:ext cx="642937" cy="361950"/>
            <a:chOff x="2071670" y="1714488"/>
            <a:chExt cx="1143008" cy="642942"/>
          </a:xfrm>
        </p:grpSpPr>
        <p:sp>
          <p:nvSpPr>
            <p:cNvPr id="144" name="Прямоугольник 143"/>
            <p:cNvSpPr/>
            <p:nvPr/>
          </p:nvSpPr>
          <p:spPr>
            <a:xfrm>
              <a:off x="2071670" y="1714488"/>
              <a:ext cx="1143008" cy="64294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>
                  <a:lumMod val="75000"/>
                </a:schemeClr>
              </a:solidFill>
            </a:ln>
            <a:scene3d>
              <a:camera prst="perspective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cxnSp>
          <p:nvCxnSpPr>
            <p:cNvPr id="145" name="Прямая соединительная линия 144"/>
            <p:cNvCxnSpPr>
              <a:stCxn id="144" idx="0"/>
              <a:endCxn id="144" idx="2"/>
            </p:cNvCxnSpPr>
            <p:nvPr/>
          </p:nvCxnSpPr>
          <p:spPr>
            <a:xfrm rot="16200000" flipH="1">
              <a:off x="2323114" y="2035959"/>
              <a:ext cx="642942" cy="0"/>
            </a:xfrm>
            <a:prstGeom prst="line">
              <a:avLst/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Прямая соединительная линия 145"/>
            <p:cNvCxnSpPr/>
            <p:nvPr/>
          </p:nvCxnSpPr>
          <p:spPr>
            <a:xfrm rot="10800000" flipH="1">
              <a:off x="2102714" y="2035959"/>
              <a:ext cx="541871" cy="0"/>
            </a:xfrm>
            <a:prstGeom prst="line">
              <a:avLst/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34790" name="Группа 146"/>
          <p:cNvGrpSpPr>
            <a:grpSpLocks/>
          </p:cNvGrpSpPr>
          <p:nvPr/>
        </p:nvGrpSpPr>
        <p:grpSpPr bwMode="auto">
          <a:xfrm>
            <a:off x="2071688" y="2638425"/>
            <a:ext cx="642937" cy="361950"/>
            <a:chOff x="2071670" y="1714488"/>
            <a:chExt cx="1143008" cy="642942"/>
          </a:xfrm>
        </p:grpSpPr>
        <p:sp>
          <p:nvSpPr>
            <p:cNvPr id="148" name="Прямоугольник 147"/>
            <p:cNvSpPr/>
            <p:nvPr/>
          </p:nvSpPr>
          <p:spPr>
            <a:xfrm>
              <a:off x="2071670" y="1714488"/>
              <a:ext cx="1143008" cy="64294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>
                  <a:lumMod val="75000"/>
                </a:schemeClr>
              </a:solidFill>
            </a:ln>
            <a:scene3d>
              <a:camera prst="perspective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cxnSp>
          <p:nvCxnSpPr>
            <p:cNvPr id="149" name="Прямая соединительная линия 148"/>
            <p:cNvCxnSpPr>
              <a:stCxn id="148" idx="0"/>
              <a:endCxn id="148" idx="2"/>
            </p:cNvCxnSpPr>
            <p:nvPr/>
          </p:nvCxnSpPr>
          <p:spPr>
            <a:xfrm rot="16200000" flipH="1">
              <a:off x="2323114" y="2035959"/>
              <a:ext cx="642942" cy="0"/>
            </a:xfrm>
            <a:prstGeom prst="line">
              <a:avLst/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Прямая соединительная линия 149"/>
            <p:cNvCxnSpPr/>
            <p:nvPr/>
          </p:nvCxnSpPr>
          <p:spPr>
            <a:xfrm rot="10800000" flipH="1">
              <a:off x="2102714" y="2035959"/>
              <a:ext cx="541871" cy="0"/>
            </a:xfrm>
            <a:prstGeom prst="line">
              <a:avLst/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34791" name="Группа 154"/>
          <p:cNvGrpSpPr>
            <a:grpSpLocks/>
          </p:cNvGrpSpPr>
          <p:nvPr/>
        </p:nvGrpSpPr>
        <p:grpSpPr bwMode="auto">
          <a:xfrm>
            <a:off x="2071688" y="3113088"/>
            <a:ext cx="642937" cy="361950"/>
            <a:chOff x="2071670" y="1714488"/>
            <a:chExt cx="1143008" cy="642942"/>
          </a:xfrm>
        </p:grpSpPr>
        <p:sp>
          <p:nvSpPr>
            <p:cNvPr id="156" name="Прямоугольник 155"/>
            <p:cNvSpPr/>
            <p:nvPr/>
          </p:nvSpPr>
          <p:spPr>
            <a:xfrm>
              <a:off x="2071670" y="1714488"/>
              <a:ext cx="1143008" cy="64294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>
                  <a:lumMod val="75000"/>
                </a:schemeClr>
              </a:solidFill>
            </a:ln>
            <a:scene3d>
              <a:camera prst="perspective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cxnSp>
          <p:nvCxnSpPr>
            <p:cNvPr id="157" name="Прямая соединительная линия 156"/>
            <p:cNvCxnSpPr>
              <a:stCxn id="156" idx="0"/>
              <a:endCxn id="156" idx="2"/>
            </p:cNvCxnSpPr>
            <p:nvPr/>
          </p:nvCxnSpPr>
          <p:spPr>
            <a:xfrm rot="16200000" flipH="1">
              <a:off x="2323114" y="2035959"/>
              <a:ext cx="642942" cy="0"/>
            </a:xfrm>
            <a:prstGeom prst="line">
              <a:avLst/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Прямая соединительная линия 157"/>
            <p:cNvCxnSpPr/>
            <p:nvPr/>
          </p:nvCxnSpPr>
          <p:spPr>
            <a:xfrm rot="10800000" flipH="1">
              <a:off x="2102714" y="2035959"/>
              <a:ext cx="541871" cy="0"/>
            </a:xfrm>
            <a:prstGeom prst="line">
              <a:avLst/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34792" name="Группа 158"/>
          <p:cNvGrpSpPr>
            <a:grpSpLocks/>
          </p:cNvGrpSpPr>
          <p:nvPr/>
        </p:nvGrpSpPr>
        <p:grpSpPr bwMode="auto">
          <a:xfrm>
            <a:off x="2071688" y="3600450"/>
            <a:ext cx="642937" cy="361950"/>
            <a:chOff x="2071670" y="1714488"/>
            <a:chExt cx="1143008" cy="642942"/>
          </a:xfrm>
        </p:grpSpPr>
        <p:sp>
          <p:nvSpPr>
            <p:cNvPr id="160" name="Прямоугольник 159"/>
            <p:cNvSpPr/>
            <p:nvPr/>
          </p:nvSpPr>
          <p:spPr>
            <a:xfrm>
              <a:off x="2071670" y="1714488"/>
              <a:ext cx="1143008" cy="64294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>
                  <a:lumMod val="75000"/>
                </a:schemeClr>
              </a:solidFill>
            </a:ln>
            <a:scene3d>
              <a:camera prst="perspective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cxnSp>
          <p:nvCxnSpPr>
            <p:cNvPr id="161" name="Прямая соединительная линия 160"/>
            <p:cNvCxnSpPr>
              <a:stCxn id="160" idx="0"/>
              <a:endCxn id="160" idx="2"/>
            </p:cNvCxnSpPr>
            <p:nvPr/>
          </p:nvCxnSpPr>
          <p:spPr>
            <a:xfrm rot="16200000" flipH="1">
              <a:off x="2323114" y="2035959"/>
              <a:ext cx="642942" cy="0"/>
            </a:xfrm>
            <a:prstGeom prst="line">
              <a:avLst/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Прямая соединительная линия 161"/>
            <p:cNvCxnSpPr/>
            <p:nvPr/>
          </p:nvCxnSpPr>
          <p:spPr>
            <a:xfrm rot="10800000" flipH="1">
              <a:off x="2102714" y="2035959"/>
              <a:ext cx="541871" cy="0"/>
            </a:xfrm>
            <a:prstGeom prst="line">
              <a:avLst/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34793" name="Группа 162"/>
          <p:cNvGrpSpPr>
            <a:grpSpLocks/>
          </p:cNvGrpSpPr>
          <p:nvPr/>
        </p:nvGrpSpPr>
        <p:grpSpPr bwMode="auto">
          <a:xfrm>
            <a:off x="2071688" y="4075113"/>
            <a:ext cx="642937" cy="361950"/>
            <a:chOff x="2071670" y="1714488"/>
            <a:chExt cx="1143008" cy="642942"/>
          </a:xfrm>
        </p:grpSpPr>
        <p:sp>
          <p:nvSpPr>
            <p:cNvPr id="164" name="Прямоугольник 163"/>
            <p:cNvSpPr/>
            <p:nvPr/>
          </p:nvSpPr>
          <p:spPr>
            <a:xfrm>
              <a:off x="2071670" y="1714488"/>
              <a:ext cx="1143008" cy="64294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>
                  <a:lumMod val="75000"/>
                </a:schemeClr>
              </a:solidFill>
            </a:ln>
            <a:scene3d>
              <a:camera prst="perspective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cxnSp>
          <p:nvCxnSpPr>
            <p:cNvPr id="165" name="Прямая соединительная линия 164"/>
            <p:cNvCxnSpPr>
              <a:stCxn id="164" idx="0"/>
              <a:endCxn id="164" idx="2"/>
            </p:cNvCxnSpPr>
            <p:nvPr/>
          </p:nvCxnSpPr>
          <p:spPr>
            <a:xfrm rot="16200000" flipH="1">
              <a:off x="2323114" y="2035959"/>
              <a:ext cx="642942" cy="0"/>
            </a:xfrm>
            <a:prstGeom prst="line">
              <a:avLst/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Прямая соединительная линия 165"/>
            <p:cNvCxnSpPr/>
            <p:nvPr/>
          </p:nvCxnSpPr>
          <p:spPr>
            <a:xfrm rot="10800000" flipH="1">
              <a:off x="2102714" y="2035959"/>
              <a:ext cx="541871" cy="0"/>
            </a:xfrm>
            <a:prstGeom prst="line">
              <a:avLst/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34794" name="Группа 166"/>
          <p:cNvGrpSpPr>
            <a:grpSpLocks/>
          </p:cNvGrpSpPr>
          <p:nvPr/>
        </p:nvGrpSpPr>
        <p:grpSpPr bwMode="auto">
          <a:xfrm>
            <a:off x="2071688" y="4500563"/>
            <a:ext cx="642937" cy="495300"/>
            <a:chOff x="2071670" y="1714488"/>
            <a:chExt cx="1143008" cy="642942"/>
          </a:xfrm>
        </p:grpSpPr>
        <p:sp>
          <p:nvSpPr>
            <p:cNvPr id="168" name="Прямоугольник 167"/>
            <p:cNvSpPr/>
            <p:nvPr/>
          </p:nvSpPr>
          <p:spPr>
            <a:xfrm>
              <a:off x="2071670" y="1714488"/>
              <a:ext cx="1143008" cy="64294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>
                  <a:lumMod val="75000"/>
                </a:schemeClr>
              </a:solidFill>
            </a:ln>
            <a:scene3d>
              <a:camera prst="perspective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cxnSp>
          <p:nvCxnSpPr>
            <p:cNvPr id="169" name="Прямая соединительная линия 168"/>
            <p:cNvCxnSpPr>
              <a:stCxn id="168" idx="0"/>
              <a:endCxn id="168" idx="2"/>
            </p:cNvCxnSpPr>
            <p:nvPr/>
          </p:nvCxnSpPr>
          <p:spPr>
            <a:xfrm rot="16200000" flipH="1">
              <a:off x="2323114" y="2035959"/>
              <a:ext cx="642942" cy="0"/>
            </a:xfrm>
            <a:prstGeom prst="line">
              <a:avLst/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Прямая соединительная линия 169"/>
            <p:cNvCxnSpPr/>
            <p:nvPr/>
          </p:nvCxnSpPr>
          <p:spPr>
            <a:xfrm rot="10800000" flipH="1">
              <a:off x="2102714" y="2035959"/>
              <a:ext cx="541871" cy="0"/>
            </a:xfrm>
            <a:prstGeom prst="line">
              <a:avLst/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1" name="Прямоугольник 170"/>
          <p:cNvSpPr/>
          <p:nvPr/>
        </p:nvSpPr>
        <p:spPr>
          <a:xfrm>
            <a:off x="2857488" y="1643050"/>
            <a:ext cx="3786214" cy="357190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  <a:scene3d>
            <a:camera prst="perspectiveRigh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72" name="Прямоугольник 171"/>
          <p:cNvSpPr/>
          <p:nvPr/>
        </p:nvSpPr>
        <p:spPr>
          <a:xfrm>
            <a:off x="2857488" y="2143116"/>
            <a:ext cx="3786214" cy="357190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  <a:scene3d>
            <a:camera prst="perspectiveRigh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73" name="TextBox 172"/>
          <p:cNvSpPr txBox="1"/>
          <p:nvPr/>
        </p:nvSpPr>
        <p:spPr>
          <a:xfrm>
            <a:off x="2928926" y="1656437"/>
            <a:ext cx="3429024" cy="323165"/>
          </a:xfrm>
          <a:prstGeom prst="rect">
            <a:avLst/>
          </a:prstGeom>
          <a:noFill/>
          <a:scene3d>
            <a:camera prst="perspectiveLeft"/>
            <a:lightRig rig="threePt" dir="t"/>
          </a:scene3d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СКОЛКОВО</a:t>
            </a:r>
          </a:p>
        </p:txBody>
      </p:sp>
      <p:sp>
        <p:nvSpPr>
          <p:cNvPr id="175" name="Прямоугольник 174"/>
          <p:cNvSpPr/>
          <p:nvPr/>
        </p:nvSpPr>
        <p:spPr>
          <a:xfrm>
            <a:off x="2857488" y="2630482"/>
            <a:ext cx="3786214" cy="357190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  <a:scene3d>
            <a:camera prst="perspectiveRigh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76" name="TextBox 175"/>
          <p:cNvSpPr txBox="1"/>
          <p:nvPr/>
        </p:nvSpPr>
        <p:spPr>
          <a:xfrm>
            <a:off x="2928926" y="2143116"/>
            <a:ext cx="3429024" cy="307777"/>
          </a:xfrm>
          <a:prstGeom prst="rect">
            <a:avLst/>
          </a:prstGeom>
          <a:noFill/>
          <a:scene3d>
            <a:camera prst="perspectiveLeft"/>
            <a:lightRig rig="threePt" dir="t"/>
          </a:scene3d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Российская венчурная компания</a:t>
            </a:r>
          </a:p>
        </p:txBody>
      </p:sp>
      <p:sp>
        <p:nvSpPr>
          <p:cNvPr id="177" name="Прямоугольник 176"/>
          <p:cNvSpPr/>
          <p:nvPr/>
        </p:nvSpPr>
        <p:spPr>
          <a:xfrm>
            <a:off x="2857488" y="3105148"/>
            <a:ext cx="3786214" cy="357190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  <a:scene3d>
            <a:camera prst="perspectiveRigh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78" name="TextBox 177"/>
          <p:cNvSpPr txBox="1"/>
          <p:nvPr/>
        </p:nvSpPr>
        <p:spPr>
          <a:xfrm>
            <a:off x="2928926" y="2643182"/>
            <a:ext cx="3429024" cy="307777"/>
          </a:xfrm>
          <a:prstGeom prst="rect">
            <a:avLst/>
          </a:prstGeom>
          <a:noFill/>
          <a:scene3d>
            <a:camera prst="perspectiveLeft"/>
            <a:lightRig rig="threePt" dir="t"/>
          </a:scene3d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РОСНАНО</a:t>
            </a:r>
          </a:p>
        </p:txBody>
      </p:sp>
      <p:sp>
        <p:nvSpPr>
          <p:cNvPr id="179" name="Прямоугольник 178"/>
          <p:cNvSpPr/>
          <p:nvPr/>
        </p:nvSpPr>
        <p:spPr>
          <a:xfrm>
            <a:off x="2857488" y="3592514"/>
            <a:ext cx="3786214" cy="357190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  <a:scene3d>
            <a:camera prst="perspectiveRigh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80" name="TextBox 179"/>
          <p:cNvSpPr txBox="1"/>
          <p:nvPr/>
        </p:nvSpPr>
        <p:spPr>
          <a:xfrm>
            <a:off x="2903526" y="3089960"/>
            <a:ext cx="3429024" cy="323165"/>
          </a:xfrm>
          <a:prstGeom prst="rect">
            <a:avLst/>
          </a:prstGeom>
          <a:noFill/>
          <a:scene3d>
            <a:camera prst="perspectiveLeft"/>
            <a:lightRig rig="threePt" dir="t"/>
          </a:scene3d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Внешэкономбанк</a:t>
            </a:r>
          </a:p>
        </p:txBody>
      </p:sp>
      <p:sp>
        <p:nvSpPr>
          <p:cNvPr id="181" name="Прямоугольник 180"/>
          <p:cNvSpPr/>
          <p:nvPr/>
        </p:nvSpPr>
        <p:spPr>
          <a:xfrm>
            <a:off x="2857488" y="4071942"/>
            <a:ext cx="3786214" cy="357190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  <a:scene3d>
            <a:camera prst="perspectiveRigh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82" name="TextBox 181"/>
          <p:cNvSpPr txBox="1"/>
          <p:nvPr/>
        </p:nvSpPr>
        <p:spPr>
          <a:xfrm>
            <a:off x="2928926" y="3600451"/>
            <a:ext cx="3429024" cy="323165"/>
          </a:xfrm>
          <a:prstGeom prst="rect">
            <a:avLst/>
          </a:prstGeom>
          <a:noFill/>
          <a:scene3d>
            <a:camera prst="perspectiveLeft"/>
            <a:lightRig rig="threePt" dir="t"/>
          </a:scene3d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МСП Банк</a:t>
            </a:r>
          </a:p>
        </p:txBody>
      </p:sp>
      <p:sp>
        <p:nvSpPr>
          <p:cNvPr id="183" name="Прямоугольник 182"/>
          <p:cNvSpPr/>
          <p:nvPr/>
        </p:nvSpPr>
        <p:spPr>
          <a:xfrm>
            <a:off x="2857488" y="4500570"/>
            <a:ext cx="3786214" cy="500066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  <a:scene3d>
            <a:camera prst="perspectiveRigh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84" name="TextBox 183"/>
          <p:cNvSpPr txBox="1"/>
          <p:nvPr/>
        </p:nvSpPr>
        <p:spPr>
          <a:xfrm>
            <a:off x="2928926" y="4496495"/>
            <a:ext cx="3429024" cy="523220"/>
          </a:xfrm>
          <a:prstGeom prst="rect">
            <a:avLst/>
          </a:prstGeom>
          <a:noFill/>
          <a:scene3d>
            <a:camera prst="perspectiveLeft"/>
            <a:lightRig rig="threePt" dir="t"/>
          </a:scene3d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Фонд содействия развитию МСП в научно-технической сфере</a:t>
            </a:r>
          </a:p>
        </p:txBody>
      </p:sp>
      <p:grpSp>
        <p:nvGrpSpPr>
          <p:cNvPr id="2934808" name="Group 89"/>
          <p:cNvGrpSpPr>
            <a:grpSpLocks/>
          </p:cNvGrpSpPr>
          <p:nvPr/>
        </p:nvGrpSpPr>
        <p:grpSpPr bwMode="auto">
          <a:xfrm>
            <a:off x="6929438" y="1428750"/>
            <a:ext cx="1603375" cy="4714875"/>
            <a:chOff x="3730" y="890"/>
            <a:chExt cx="1010" cy="1781"/>
          </a:xfrm>
        </p:grpSpPr>
        <p:sp>
          <p:nvSpPr>
            <p:cNvPr id="2934822" name="Rectangle 87"/>
            <p:cNvSpPr>
              <a:spLocks noChangeArrowheads="1"/>
            </p:cNvSpPr>
            <p:nvPr/>
          </p:nvSpPr>
          <p:spPr bwMode="auto">
            <a:xfrm>
              <a:off x="3878" y="935"/>
              <a:ext cx="680" cy="1724"/>
            </a:xfrm>
            <a:prstGeom prst="rect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92A6C4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934823" name="Line 86"/>
            <p:cNvSpPr>
              <a:spLocks noChangeShapeType="1"/>
            </p:cNvSpPr>
            <p:nvPr/>
          </p:nvSpPr>
          <p:spPr bwMode="auto">
            <a:xfrm>
              <a:off x="4570" y="935"/>
              <a:ext cx="0" cy="1724"/>
            </a:xfrm>
            <a:prstGeom prst="line">
              <a:avLst/>
            </a:prstGeom>
            <a:noFill/>
            <a:ln w="25400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934824" name="Line 85"/>
            <p:cNvSpPr>
              <a:spLocks noChangeShapeType="1"/>
            </p:cNvSpPr>
            <p:nvPr/>
          </p:nvSpPr>
          <p:spPr bwMode="auto">
            <a:xfrm>
              <a:off x="3890" y="935"/>
              <a:ext cx="0" cy="1724"/>
            </a:xfrm>
            <a:prstGeom prst="line">
              <a:avLst/>
            </a:prstGeom>
            <a:noFill/>
            <a:ln w="25400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9" name="AutoShape 54"/>
            <p:cNvSpPr>
              <a:spLocks noChangeArrowheads="1"/>
            </p:cNvSpPr>
            <p:nvPr/>
          </p:nvSpPr>
          <p:spPr bwMode="auto">
            <a:xfrm>
              <a:off x="3922" y="1253"/>
              <a:ext cx="137" cy="453"/>
            </a:xfrm>
            <a:prstGeom prst="upArrow">
              <a:avLst>
                <a:gd name="adj1" fmla="val 50000"/>
                <a:gd name="adj2" fmla="val 82664"/>
              </a:avLst>
            </a:prstGeom>
            <a:solidFill>
              <a:schemeClr val="tx2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  <a:cs typeface="+mn-cs"/>
              </a:endParaRPr>
            </a:p>
          </p:txBody>
        </p:sp>
        <p:sp>
          <p:nvSpPr>
            <p:cNvPr id="190" name="AutoShape 55"/>
            <p:cNvSpPr>
              <a:spLocks noChangeArrowheads="1"/>
            </p:cNvSpPr>
            <p:nvPr/>
          </p:nvSpPr>
          <p:spPr bwMode="auto">
            <a:xfrm>
              <a:off x="4377" y="1162"/>
              <a:ext cx="183" cy="544"/>
            </a:xfrm>
            <a:prstGeom prst="upArrow">
              <a:avLst>
                <a:gd name="adj1" fmla="val 50000"/>
                <a:gd name="adj2" fmla="val 74317"/>
              </a:avLst>
            </a:prstGeom>
            <a:solidFill>
              <a:schemeClr val="accent5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  <a:cs typeface="+mn-cs"/>
              </a:endParaRPr>
            </a:p>
          </p:txBody>
        </p:sp>
        <p:sp>
          <p:nvSpPr>
            <p:cNvPr id="191" name="AutoShape 56"/>
            <p:cNvSpPr>
              <a:spLocks noChangeArrowheads="1"/>
            </p:cNvSpPr>
            <p:nvPr/>
          </p:nvSpPr>
          <p:spPr bwMode="auto">
            <a:xfrm>
              <a:off x="4092" y="890"/>
              <a:ext cx="319" cy="680"/>
            </a:xfrm>
            <a:prstGeom prst="upArrow">
              <a:avLst>
                <a:gd name="adj1" fmla="val 50000"/>
                <a:gd name="adj2" fmla="val 53292"/>
              </a:avLst>
            </a:prstGeom>
            <a:solidFill>
              <a:schemeClr val="accent4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  <a:cs typeface="+mn-cs"/>
              </a:endParaRPr>
            </a:p>
          </p:txBody>
        </p:sp>
        <p:pic>
          <p:nvPicPr>
            <p:cNvPr id="2934828" name="Picture 88" descr="lift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730" y="1661"/>
              <a:ext cx="1010" cy="10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98" name="Полилиния 197"/>
          <p:cNvSpPr/>
          <p:nvPr/>
        </p:nvSpPr>
        <p:spPr>
          <a:xfrm>
            <a:off x="1897063" y="5572125"/>
            <a:ext cx="4824412" cy="850900"/>
          </a:xfrm>
          <a:custGeom>
            <a:avLst/>
            <a:gdLst>
              <a:gd name="connsiteX0" fmla="*/ 4823460 w 4823460"/>
              <a:gd name="connsiteY0" fmla="*/ 0 h 1318260"/>
              <a:gd name="connsiteX1" fmla="*/ 4808220 w 4823460"/>
              <a:gd name="connsiteY1" fmla="*/ 967740 h 1318260"/>
              <a:gd name="connsiteX2" fmla="*/ 0 w 4823460"/>
              <a:gd name="connsiteY2" fmla="*/ 1318260 h 1318260"/>
              <a:gd name="connsiteX3" fmla="*/ 7620 w 4823460"/>
              <a:gd name="connsiteY3" fmla="*/ 114300 h 1318260"/>
              <a:gd name="connsiteX4" fmla="*/ 4823460 w 4823460"/>
              <a:gd name="connsiteY4" fmla="*/ 0 h 1318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23460" h="1318260">
                <a:moveTo>
                  <a:pt x="4823460" y="0"/>
                </a:moveTo>
                <a:lnTo>
                  <a:pt x="4808220" y="967740"/>
                </a:lnTo>
                <a:lnTo>
                  <a:pt x="0" y="1318260"/>
                </a:lnTo>
                <a:lnTo>
                  <a:pt x="7620" y="114300"/>
                </a:lnTo>
                <a:lnTo>
                  <a:pt x="4823460" y="0"/>
                </a:lnTo>
                <a:close/>
              </a:path>
            </a:pathLst>
          </a:custGeom>
          <a:blipFill dpi="0" rotWithShape="1">
            <a:blip r:embed="rId4" cstate="print"/>
            <a:srcRect/>
            <a:tile tx="0" ty="0" sx="100000" sy="100000" flip="none" algn="tl"/>
          </a:blip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99" name="Полилиния 198"/>
          <p:cNvSpPr/>
          <p:nvPr/>
        </p:nvSpPr>
        <p:spPr>
          <a:xfrm>
            <a:off x="2643188" y="5651500"/>
            <a:ext cx="3643312" cy="677863"/>
          </a:xfrm>
          <a:custGeom>
            <a:avLst/>
            <a:gdLst>
              <a:gd name="connsiteX0" fmla="*/ 4823460 w 4823460"/>
              <a:gd name="connsiteY0" fmla="*/ 0 h 1318260"/>
              <a:gd name="connsiteX1" fmla="*/ 4808220 w 4823460"/>
              <a:gd name="connsiteY1" fmla="*/ 967740 h 1318260"/>
              <a:gd name="connsiteX2" fmla="*/ 0 w 4823460"/>
              <a:gd name="connsiteY2" fmla="*/ 1318260 h 1318260"/>
              <a:gd name="connsiteX3" fmla="*/ 7620 w 4823460"/>
              <a:gd name="connsiteY3" fmla="*/ 114300 h 1318260"/>
              <a:gd name="connsiteX4" fmla="*/ 4823460 w 4823460"/>
              <a:gd name="connsiteY4" fmla="*/ 0 h 1318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23460" h="1318260">
                <a:moveTo>
                  <a:pt x="4823460" y="0"/>
                </a:moveTo>
                <a:lnTo>
                  <a:pt x="4808220" y="967740"/>
                </a:lnTo>
                <a:lnTo>
                  <a:pt x="0" y="1318260"/>
                </a:lnTo>
                <a:lnTo>
                  <a:pt x="7620" y="114300"/>
                </a:lnTo>
                <a:lnTo>
                  <a:pt x="482346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00" name="Picture 143" descr="opora_flag-100x10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183840">
            <a:off x="2676644" y="5424677"/>
            <a:ext cx="1127785" cy="1127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isometricOffAxis1Right"/>
            <a:lightRig rig="threePt" dir="t"/>
          </a:scene3d>
        </p:spPr>
      </p:pic>
      <p:sp>
        <p:nvSpPr>
          <p:cNvPr id="201" name="TextBox 200"/>
          <p:cNvSpPr txBox="1"/>
          <p:nvPr/>
        </p:nvSpPr>
        <p:spPr>
          <a:xfrm rot="457300">
            <a:off x="3076564" y="5720820"/>
            <a:ext cx="3429024" cy="461665"/>
          </a:xfrm>
          <a:prstGeom prst="rect">
            <a:avLst/>
          </a:prstGeom>
          <a:noFill/>
          <a:scene3d>
            <a:camera prst="isometricOffAxis1Right"/>
            <a:lightRig rig="threePt" dir="t"/>
          </a:scene3d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ОПОРА РОССИИ</a:t>
            </a:r>
          </a:p>
        </p:txBody>
      </p:sp>
      <p:grpSp>
        <p:nvGrpSpPr>
          <p:cNvPr id="2934813" name="Группа 62"/>
          <p:cNvGrpSpPr>
            <a:grpSpLocks/>
          </p:cNvGrpSpPr>
          <p:nvPr/>
        </p:nvGrpSpPr>
        <p:grpSpPr bwMode="auto">
          <a:xfrm>
            <a:off x="2071688" y="5075238"/>
            <a:ext cx="642937" cy="361950"/>
            <a:chOff x="2071670" y="1714488"/>
            <a:chExt cx="1143008" cy="642942"/>
          </a:xfrm>
        </p:grpSpPr>
        <p:sp>
          <p:nvSpPr>
            <p:cNvPr id="64" name="Прямоугольник 63"/>
            <p:cNvSpPr/>
            <p:nvPr/>
          </p:nvSpPr>
          <p:spPr>
            <a:xfrm>
              <a:off x="2071670" y="1714488"/>
              <a:ext cx="1143008" cy="64294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>
                  <a:lumMod val="75000"/>
                </a:schemeClr>
              </a:solidFill>
            </a:ln>
            <a:scene3d>
              <a:camera prst="perspective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cxnSp>
          <p:nvCxnSpPr>
            <p:cNvPr id="65" name="Прямая соединительная линия 64"/>
            <p:cNvCxnSpPr>
              <a:stCxn id="64" idx="0"/>
              <a:endCxn id="64" idx="2"/>
            </p:cNvCxnSpPr>
            <p:nvPr/>
          </p:nvCxnSpPr>
          <p:spPr>
            <a:xfrm rot="16200000" flipH="1">
              <a:off x="2323114" y="2035959"/>
              <a:ext cx="642942" cy="0"/>
            </a:xfrm>
            <a:prstGeom prst="line">
              <a:avLst/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Прямая соединительная линия 65"/>
            <p:cNvCxnSpPr/>
            <p:nvPr/>
          </p:nvCxnSpPr>
          <p:spPr>
            <a:xfrm rot="10800000" flipH="1">
              <a:off x="2102714" y="2035959"/>
              <a:ext cx="541871" cy="0"/>
            </a:xfrm>
            <a:prstGeom prst="line">
              <a:avLst/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Прямоугольник 66"/>
          <p:cNvSpPr/>
          <p:nvPr/>
        </p:nvSpPr>
        <p:spPr>
          <a:xfrm>
            <a:off x="2857488" y="5072074"/>
            <a:ext cx="3786214" cy="357190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  <a:scene3d>
            <a:camera prst="perspectiveRigh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9" name="TextBox 68"/>
          <p:cNvSpPr txBox="1"/>
          <p:nvPr/>
        </p:nvSpPr>
        <p:spPr>
          <a:xfrm>
            <a:off x="2928926" y="4071942"/>
            <a:ext cx="3429024" cy="323165"/>
          </a:xfrm>
          <a:prstGeom prst="rect">
            <a:avLst/>
          </a:prstGeom>
          <a:noFill/>
          <a:scene3d>
            <a:camera prst="perspectiveLeft"/>
            <a:lightRig rig="threePt" dir="t"/>
          </a:scene3d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ММВБ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928926" y="5072074"/>
            <a:ext cx="3429024" cy="323165"/>
          </a:xfrm>
          <a:prstGeom prst="rect">
            <a:avLst/>
          </a:prstGeom>
          <a:noFill/>
          <a:scene3d>
            <a:camera prst="perspectiveLeft"/>
            <a:lightRig rig="threePt" dir="t"/>
          </a:scene3d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Росмолодежь</a:t>
            </a:r>
            <a:endParaRPr lang="ru-RU" sz="1500" dirty="0">
              <a:solidFill>
                <a:schemeClr val="tx1">
                  <a:lumMod val="75000"/>
                  <a:lumOff val="2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934817" name="Номер слайда 70"/>
          <p:cNvSpPr txBox="1">
            <a:spLocks noGrp="1"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endParaRPr lang="ru-RU" sz="1200">
              <a:solidFill>
                <a:srgbClr val="898989"/>
              </a:solidFill>
              <a:latin typeface="Calibri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C933375-7D47-44DD-88CE-F4524FDDAC6E}" type="slidenum">
              <a:rPr lang="ru-RU" smtClean="0"/>
              <a:pPr>
                <a:defRPr/>
              </a:pPr>
              <a:t>24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36833" name="Группа 13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Овал 15"/>
            <p:cNvSpPr/>
            <p:nvPr/>
          </p:nvSpPr>
          <p:spPr>
            <a:xfrm>
              <a:off x="322263" y="720725"/>
              <a:ext cx="785812" cy="78581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714375" y="357188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8" name="Овал 17"/>
            <p:cNvSpPr/>
            <p:nvPr/>
          </p:nvSpPr>
          <p:spPr>
            <a:xfrm>
              <a:off x="565150" y="985838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9" name="Полилиния 18"/>
            <p:cNvSpPr/>
            <p:nvPr/>
          </p:nvSpPr>
          <p:spPr>
            <a:xfrm>
              <a:off x="749300" y="792163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2936834" name="Номер слайда 1"/>
          <p:cNvSpPr txBox="1">
            <a:spLocks noGrp="1"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endParaRPr lang="ru-RU" sz="1200">
              <a:solidFill>
                <a:srgbClr val="898989"/>
              </a:solidFill>
              <a:latin typeface="Calibri" pitchFamily="34" charset="0"/>
            </a:endParaRPr>
          </a:p>
        </p:txBody>
      </p:sp>
      <p:sp>
        <p:nvSpPr>
          <p:cNvPr id="2936835" name="Прямоугольник 2"/>
          <p:cNvSpPr>
            <a:spLocks noChangeArrowheads="1"/>
          </p:cNvSpPr>
          <p:nvPr/>
        </p:nvSpPr>
        <p:spPr bwMode="auto">
          <a:xfrm>
            <a:off x="971550" y="-26988"/>
            <a:ext cx="7759700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400" b="1"/>
              <a:t>Поддержка молодежного предпринимательства. Программа Минэкономразвития</a:t>
            </a:r>
          </a:p>
        </p:txBody>
      </p:sp>
      <p:sp>
        <p:nvSpPr>
          <p:cNvPr id="2936836" name="Text Box 26"/>
          <p:cNvSpPr txBox="1">
            <a:spLocks noChangeArrowheads="1"/>
          </p:cNvSpPr>
          <p:nvPr/>
        </p:nvSpPr>
        <p:spPr bwMode="auto">
          <a:xfrm>
            <a:off x="6877050" y="5086350"/>
            <a:ext cx="1944688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400" b="1"/>
              <a:t> </a:t>
            </a:r>
            <a:endParaRPr lang="en-US" sz="2800" b="1"/>
          </a:p>
          <a:p>
            <a:pPr algn="ctr"/>
            <a:r>
              <a:rPr lang="en-US" sz="2400" b="1"/>
              <a:t> </a:t>
            </a:r>
            <a:endParaRPr lang="ru-RU" sz="2400" b="1">
              <a:latin typeface="Times New Roman" pitchFamily="18" charset="0"/>
            </a:endParaRPr>
          </a:p>
        </p:txBody>
      </p:sp>
      <p:sp>
        <p:nvSpPr>
          <p:cNvPr id="41990" name="Rectangle 14"/>
          <p:cNvSpPr>
            <a:spLocks noChangeArrowheads="1"/>
          </p:cNvSpPr>
          <p:nvPr/>
        </p:nvSpPr>
        <p:spPr bwMode="auto">
          <a:xfrm>
            <a:off x="971550" y="1196975"/>
            <a:ext cx="7848600" cy="1368425"/>
          </a:xfrm>
          <a:prstGeom prst="rect">
            <a:avLst/>
          </a:prstGeom>
          <a:gradFill rotWithShape="1">
            <a:gsLst>
              <a:gs pos="0">
                <a:srgbClr val="F2F2F2"/>
              </a:gs>
              <a:gs pos="100000">
                <a:srgbClr val="C0D4EA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/>
            </a:pPr>
            <a:r>
              <a:rPr lang="ru-RU" sz="140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>
                <a:latin typeface="Arial" pitchFamily="34" charset="0"/>
                <a:cs typeface="Arial" pitchFamily="34" charset="0"/>
              </a:rPr>
              <a:t>Центры молодежного инновационного творчества </a:t>
            </a:r>
            <a:r>
              <a:rPr lang="ru-RU" sz="1600">
                <a:latin typeface="Arial" pitchFamily="34" charset="0"/>
                <a:cs typeface="Arial" pitchFamily="34" charset="0"/>
              </a:rPr>
              <a:t>- доступ детей и молодежи к современному оборудованию прямого цифрового производства для реализации, проверки и коммерциализации их инновационных идей.</a:t>
            </a:r>
          </a:p>
          <a:p>
            <a:pPr>
              <a:defRPr/>
            </a:pPr>
            <a:r>
              <a:rPr lang="ru-RU" sz="1600">
                <a:latin typeface="Arial" pitchFamily="34" charset="0"/>
                <a:cs typeface="Arial" pitchFamily="34" charset="0"/>
              </a:rPr>
              <a:t>Возможность 3Д-проектирования и изготовления, проведения фрезерных, токарных, слесарных, электромонтажных работ.</a:t>
            </a:r>
          </a:p>
          <a:p>
            <a:pPr>
              <a:defRPr/>
            </a:pPr>
            <a:endParaRPr lang="ru-RU" sz="1400">
              <a:latin typeface="Arial" pitchFamily="34" charset="0"/>
              <a:cs typeface="Arial" pitchFamily="34" charset="0"/>
            </a:endParaRPr>
          </a:p>
        </p:txBody>
      </p:sp>
      <p:sp>
        <p:nvSpPr>
          <p:cNvPr id="41991" name="Rectangle 14"/>
          <p:cNvSpPr>
            <a:spLocks noChangeArrowheads="1"/>
          </p:cNvSpPr>
          <p:nvPr/>
        </p:nvSpPr>
        <p:spPr bwMode="auto">
          <a:xfrm>
            <a:off x="971550" y="2781300"/>
            <a:ext cx="7848600" cy="1081088"/>
          </a:xfrm>
          <a:prstGeom prst="rect">
            <a:avLst/>
          </a:prstGeom>
          <a:gradFill rotWithShape="1">
            <a:gsLst>
              <a:gs pos="0">
                <a:srgbClr val="F2F2F2"/>
              </a:gs>
              <a:gs pos="100000">
                <a:srgbClr val="C0D4EA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/>
            </a:pPr>
            <a:r>
              <a:rPr lang="ru-RU" sz="1600" b="1">
                <a:latin typeface="Arial" pitchFamily="34" charset="0"/>
                <a:cs typeface="Arial" pitchFamily="34" charset="0"/>
              </a:rPr>
              <a:t>Программы обучения и повышения квалификации (Школы молодежного предпринимательства) </a:t>
            </a:r>
            <a:r>
              <a:rPr lang="ru-RU" sz="1600">
                <a:latin typeface="Arial" pitchFamily="34" charset="0"/>
                <a:cs typeface="Arial" pitchFamily="34" charset="0"/>
              </a:rPr>
              <a:t>- развитие предпринимательской грамотности и предпринимательских компетенций целевых групп граждан, в том числе молодых людей в возрасте до 30 лет, продолжительностью не более 200 часов.</a:t>
            </a:r>
          </a:p>
          <a:p>
            <a:pPr>
              <a:defRPr/>
            </a:pPr>
            <a:endParaRPr lang="ru-RU" sz="1400">
              <a:latin typeface="Arial" pitchFamily="34" charset="0"/>
              <a:cs typeface="Arial" pitchFamily="34" charset="0"/>
            </a:endParaRPr>
          </a:p>
        </p:txBody>
      </p:sp>
      <p:sp>
        <p:nvSpPr>
          <p:cNvPr id="41992" name="Rectangle 14"/>
          <p:cNvSpPr>
            <a:spLocks noChangeArrowheads="1"/>
          </p:cNvSpPr>
          <p:nvPr/>
        </p:nvSpPr>
        <p:spPr bwMode="auto">
          <a:xfrm>
            <a:off x="971550" y="4149725"/>
            <a:ext cx="7921625" cy="936625"/>
          </a:xfrm>
          <a:prstGeom prst="rect">
            <a:avLst/>
          </a:prstGeom>
          <a:gradFill rotWithShape="1">
            <a:gsLst>
              <a:gs pos="0">
                <a:srgbClr val="F2F2F2"/>
              </a:gs>
              <a:gs pos="100000">
                <a:srgbClr val="C0D4EA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/>
            </a:pPr>
            <a:r>
              <a:rPr lang="ru-RU" sz="1600" b="1">
                <a:latin typeface="Arial" pitchFamily="34" charset="0"/>
                <a:cs typeface="Arial" pitchFamily="34" charset="0"/>
              </a:rPr>
              <a:t>Сопровождение начинающих молодых предпринимателей</a:t>
            </a:r>
            <a:r>
              <a:rPr lang="ru-RU" sz="1600">
                <a:latin typeface="Arial" pitchFamily="34" charset="0"/>
                <a:cs typeface="Arial" pitchFamily="34" charset="0"/>
              </a:rPr>
              <a:t>-  проведение конкурсов бизнес-проектов (гранты, субсидии начинающим молодым предпринимателям – победителям и призерам конкурсов.</a:t>
            </a:r>
          </a:p>
          <a:p>
            <a:pPr>
              <a:defRPr/>
            </a:pPr>
            <a:endParaRPr lang="ru-RU" sz="1400">
              <a:latin typeface="Arial" pitchFamily="34" charset="0"/>
              <a:cs typeface="Arial" pitchFamily="34" charset="0"/>
            </a:endParaRPr>
          </a:p>
        </p:txBody>
      </p:sp>
      <p:sp>
        <p:nvSpPr>
          <p:cNvPr id="41993" name="Rectangle 14"/>
          <p:cNvSpPr>
            <a:spLocks noChangeArrowheads="1"/>
          </p:cNvSpPr>
          <p:nvPr/>
        </p:nvSpPr>
        <p:spPr bwMode="auto">
          <a:xfrm>
            <a:off x="971550" y="5230813"/>
            <a:ext cx="7921625" cy="935037"/>
          </a:xfrm>
          <a:prstGeom prst="rect">
            <a:avLst/>
          </a:prstGeom>
          <a:gradFill rotWithShape="1">
            <a:gsLst>
              <a:gs pos="0">
                <a:srgbClr val="F2F2F2"/>
              </a:gs>
              <a:gs pos="100000">
                <a:srgbClr val="C0D4EA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36000" tIns="36000" rIns="36000" bIns="36000" anchor="ctr"/>
          <a:lstStyle/>
          <a:p>
            <a:pPr>
              <a:defRPr/>
            </a:pPr>
            <a:r>
              <a:rPr lang="ru-RU" sz="1600" b="1">
                <a:latin typeface="Arial" pitchFamily="34" charset="0"/>
                <a:cs typeface="Arial" pitchFamily="34" charset="0"/>
              </a:rPr>
              <a:t>Привлечение молодежи к участию в межрегиональных, российских и международных мероприятиях по тематике предпринимательства</a:t>
            </a:r>
            <a:endParaRPr lang="ru-RU" sz="1600">
              <a:latin typeface="Arial" pitchFamily="34" charset="0"/>
              <a:cs typeface="Arial" pitchFamily="34" charset="0"/>
            </a:endParaRPr>
          </a:p>
          <a:p>
            <a:pPr>
              <a:defRPr/>
            </a:pPr>
            <a:endParaRPr lang="ru-RU" sz="140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A0F5BB7-A0B0-461A-92A0-735F8060604A}" type="slidenum">
              <a:rPr lang="ru-RU" smtClean="0"/>
              <a:pPr>
                <a:defRPr/>
              </a:pPr>
              <a:t>25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37857" name="Группа 10"/>
          <p:cNvGrpSpPr>
            <a:grpSpLocks/>
          </p:cNvGrpSpPr>
          <p:nvPr/>
        </p:nvGrpSpPr>
        <p:grpSpPr bwMode="auto">
          <a:xfrm>
            <a:off x="0" y="14288"/>
            <a:ext cx="7429500" cy="6858000"/>
            <a:chOff x="0" y="0"/>
            <a:chExt cx="7429500" cy="6858000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3" name="Овал 12"/>
            <p:cNvSpPr/>
            <p:nvPr/>
          </p:nvSpPr>
          <p:spPr>
            <a:xfrm>
              <a:off x="322263" y="611187"/>
              <a:ext cx="785812" cy="78581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714375" y="357187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Овал 14"/>
            <p:cNvSpPr/>
            <p:nvPr/>
          </p:nvSpPr>
          <p:spPr>
            <a:xfrm>
              <a:off x="565150" y="876300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Полилиния 15"/>
            <p:cNvSpPr/>
            <p:nvPr/>
          </p:nvSpPr>
          <p:spPr>
            <a:xfrm>
              <a:off x="749300" y="682625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2937858" name="Rectangle 2"/>
          <p:cNvSpPr>
            <a:spLocks noGrp="1"/>
          </p:cNvSpPr>
          <p:nvPr>
            <p:ph type="title"/>
          </p:nvPr>
        </p:nvSpPr>
        <p:spPr>
          <a:xfrm>
            <a:off x="539750" y="-26988"/>
            <a:ext cx="8229600" cy="692151"/>
          </a:xfrm>
        </p:spPr>
        <p:txBody>
          <a:bodyPr/>
          <a:lstStyle/>
          <a:p>
            <a:r>
              <a:rPr lang="ru-RU" sz="2200" b="1" smtClean="0">
                <a:latin typeface="Arial" charset="0"/>
              </a:rPr>
              <a:t>Возможности вузов в сфере подготовки </a:t>
            </a:r>
            <a:br>
              <a:rPr lang="ru-RU" sz="2200" b="1" smtClean="0">
                <a:latin typeface="Arial" charset="0"/>
              </a:rPr>
            </a:br>
            <a:r>
              <a:rPr lang="ru-RU" sz="2200" b="1" smtClean="0">
                <a:latin typeface="Arial" charset="0"/>
              </a:rPr>
              <a:t>кадров для МСП</a:t>
            </a:r>
          </a:p>
        </p:txBody>
      </p:sp>
      <p:sp>
        <p:nvSpPr>
          <p:cNvPr id="2937859" name="Rectangle 3"/>
          <p:cNvSpPr>
            <a:spLocks noGrp="1"/>
          </p:cNvSpPr>
          <p:nvPr>
            <p:ph type="body" sz="half" idx="1"/>
          </p:nvPr>
        </p:nvSpPr>
        <p:spPr>
          <a:xfrm>
            <a:off x="755650" y="1855788"/>
            <a:ext cx="3467100" cy="4525962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ru-RU" sz="2000" smtClean="0"/>
              <a:t>образовательные программы и запросы рынка </a:t>
            </a:r>
            <a:r>
              <a:rPr lang="ru-RU" sz="2000" b="1" smtClean="0"/>
              <a:t>не пересекаются</a:t>
            </a:r>
            <a:r>
              <a:rPr lang="ru-RU" smtClean="0"/>
              <a:t> </a:t>
            </a:r>
            <a:endParaRPr lang="ru-RU" sz="2000" smtClean="0"/>
          </a:p>
          <a:p>
            <a:pPr>
              <a:lnSpc>
                <a:spcPct val="80000"/>
              </a:lnSpc>
            </a:pPr>
            <a:endParaRPr lang="ru-RU" sz="600" smtClean="0"/>
          </a:p>
          <a:p>
            <a:pPr>
              <a:lnSpc>
                <a:spcPct val="80000"/>
              </a:lnSpc>
            </a:pPr>
            <a:endParaRPr lang="ru-RU" sz="600" smtClean="0"/>
          </a:p>
          <a:p>
            <a:pPr>
              <a:lnSpc>
                <a:spcPct val="80000"/>
              </a:lnSpc>
            </a:pPr>
            <a:endParaRPr lang="ru-RU" sz="600" smtClean="0"/>
          </a:p>
          <a:p>
            <a:pPr>
              <a:lnSpc>
                <a:spcPct val="80000"/>
              </a:lnSpc>
            </a:pPr>
            <a:r>
              <a:rPr lang="ru-RU" sz="2000" smtClean="0"/>
              <a:t>слабое раскрытие</a:t>
            </a:r>
            <a:r>
              <a:rPr lang="ru-RU" sz="2000" b="1" smtClean="0"/>
              <a:t> потенциала отдельных социальных групп</a:t>
            </a:r>
            <a:r>
              <a:rPr lang="ru-RU" sz="2000" smtClean="0"/>
              <a:t> </a:t>
            </a:r>
          </a:p>
          <a:p>
            <a:pPr>
              <a:lnSpc>
                <a:spcPct val="80000"/>
              </a:lnSpc>
              <a:buFont typeface="Arial" charset="0"/>
              <a:buNone/>
            </a:pPr>
            <a:endParaRPr lang="ru-RU" sz="900" smtClean="0"/>
          </a:p>
          <a:p>
            <a:pPr>
              <a:lnSpc>
                <a:spcPct val="80000"/>
              </a:lnSpc>
            </a:pPr>
            <a:endParaRPr lang="ru-RU" sz="600" smtClean="0"/>
          </a:p>
          <a:p>
            <a:pPr>
              <a:lnSpc>
                <a:spcPct val="80000"/>
              </a:lnSpc>
            </a:pPr>
            <a:r>
              <a:rPr lang="ru-RU" sz="2000" b="1" smtClean="0"/>
              <a:t>нехватка специалистов в сфере управления </a:t>
            </a:r>
            <a:r>
              <a:rPr lang="ru-RU" sz="2000" smtClean="0"/>
              <a:t>малым и средним бизнесом </a:t>
            </a:r>
          </a:p>
          <a:p>
            <a:pPr>
              <a:lnSpc>
                <a:spcPct val="80000"/>
              </a:lnSpc>
              <a:buFont typeface="Arial" charset="0"/>
              <a:buNone/>
            </a:pPr>
            <a:endParaRPr lang="ru-RU" sz="2000" smtClean="0"/>
          </a:p>
          <a:p>
            <a:pPr>
              <a:lnSpc>
                <a:spcPct val="80000"/>
              </a:lnSpc>
            </a:pPr>
            <a:r>
              <a:rPr lang="ru-RU" sz="2000" b="1" smtClean="0"/>
              <a:t>отсутствие менторства</a:t>
            </a:r>
            <a:endParaRPr lang="ru-RU" sz="2000" smtClean="0"/>
          </a:p>
          <a:p>
            <a:pPr>
              <a:lnSpc>
                <a:spcPct val="80000"/>
              </a:lnSpc>
            </a:pPr>
            <a:endParaRPr lang="ru-RU" sz="2000" smtClean="0"/>
          </a:p>
          <a:p>
            <a:pPr>
              <a:lnSpc>
                <a:spcPct val="80000"/>
              </a:lnSpc>
            </a:pPr>
            <a:endParaRPr lang="ru-RU" sz="2000" smtClean="0"/>
          </a:p>
          <a:p>
            <a:pPr>
              <a:lnSpc>
                <a:spcPct val="80000"/>
              </a:lnSpc>
            </a:pPr>
            <a:endParaRPr lang="ru-RU" sz="2000" smtClean="0"/>
          </a:p>
        </p:txBody>
      </p:sp>
      <p:sp>
        <p:nvSpPr>
          <p:cNvPr id="2937860" name="Rectangle 4"/>
          <p:cNvSpPr>
            <a:spLocks noGrp="1"/>
          </p:cNvSpPr>
          <p:nvPr>
            <p:ph type="body" sz="half" idx="2"/>
          </p:nvPr>
        </p:nvSpPr>
        <p:spPr>
          <a:xfrm>
            <a:off x="5148263" y="1784350"/>
            <a:ext cx="3683000" cy="452596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ru-RU" sz="1800" b="1" smtClean="0"/>
              <a:t>участие бизнеса </a:t>
            </a:r>
            <a:r>
              <a:rPr lang="ru-RU" sz="1800" smtClean="0"/>
              <a:t>в подготовке образовательных программ, дистанционное обучение, аккредитация</a:t>
            </a:r>
          </a:p>
          <a:p>
            <a:pPr>
              <a:lnSpc>
                <a:spcPct val="80000"/>
              </a:lnSpc>
              <a:buFont typeface="Arial" charset="0"/>
              <a:buNone/>
            </a:pPr>
            <a:endParaRPr lang="ru-RU" sz="900" b="1" smtClean="0"/>
          </a:p>
          <a:p>
            <a:pPr>
              <a:lnSpc>
                <a:spcPct val="80000"/>
              </a:lnSpc>
            </a:pPr>
            <a:endParaRPr lang="ru-RU" sz="500" b="1" smtClean="0"/>
          </a:p>
          <a:p>
            <a:pPr>
              <a:lnSpc>
                <a:spcPct val="80000"/>
              </a:lnSpc>
            </a:pPr>
            <a:endParaRPr lang="ru-RU" sz="500" b="1" smtClean="0"/>
          </a:p>
          <a:p>
            <a:pPr>
              <a:lnSpc>
                <a:spcPct val="80000"/>
              </a:lnSpc>
            </a:pPr>
            <a:endParaRPr lang="ru-RU" sz="500" b="1" smtClean="0"/>
          </a:p>
          <a:p>
            <a:pPr>
              <a:lnSpc>
                <a:spcPct val="80000"/>
              </a:lnSpc>
            </a:pPr>
            <a:endParaRPr lang="ru-RU" sz="500" b="1" smtClean="0"/>
          </a:p>
          <a:p>
            <a:pPr>
              <a:lnSpc>
                <a:spcPct val="80000"/>
              </a:lnSpc>
            </a:pPr>
            <a:r>
              <a:rPr lang="ru-RU" sz="2000" b="1" smtClean="0"/>
              <a:t>специальные программы </a:t>
            </a:r>
            <a:r>
              <a:rPr lang="ru-RU" sz="2000" smtClean="0"/>
              <a:t>для студентов, военнослужащих, женщин</a:t>
            </a:r>
          </a:p>
          <a:p>
            <a:pPr>
              <a:lnSpc>
                <a:spcPct val="80000"/>
              </a:lnSpc>
            </a:pPr>
            <a:endParaRPr lang="ru-RU" sz="700" smtClean="0"/>
          </a:p>
          <a:p>
            <a:pPr>
              <a:lnSpc>
                <a:spcPct val="80000"/>
              </a:lnSpc>
            </a:pPr>
            <a:endParaRPr lang="ru-RU" sz="900" smtClean="0"/>
          </a:p>
          <a:p>
            <a:pPr>
              <a:lnSpc>
                <a:spcPct val="80000"/>
              </a:lnSpc>
            </a:pPr>
            <a:r>
              <a:rPr lang="ru-RU" sz="2000" smtClean="0"/>
              <a:t>преподаватели должны иметь опыт работы либо в бизнес-структуре, либо в консалтинге </a:t>
            </a:r>
          </a:p>
          <a:p>
            <a:pPr>
              <a:lnSpc>
                <a:spcPct val="80000"/>
              </a:lnSpc>
            </a:pPr>
            <a:endParaRPr lang="ru-RU" sz="800" smtClean="0"/>
          </a:p>
          <a:p>
            <a:pPr>
              <a:lnSpc>
                <a:spcPct val="80000"/>
              </a:lnSpc>
            </a:pPr>
            <a:r>
              <a:rPr lang="ru-RU" sz="2000" smtClean="0"/>
              <a:t>начинающие предприниматели должны  попадать под опеку опытных бизнесменов </a:t>
            </a:r>
            <a:endParaRPr lang="ru-RU" sz="600" smtClean="0"/>
          </a:p>
          <a:p>
            <a:pPr>
              <a:lnSpc>
                <a:spcPct val="80000"/>
              </a:lnSpc>
            </a:pPr>
            <a:endParaRPr lang="ru-RU" sz="2000" smtClean="0"/>
          </a:p>
        </p:txBody>
      </p:sp>
      <p:sp>
        <p:nvSpPr>
          <p:cNvPr id="2937861" name="AutoShape 5"/>
          <p:cNvSpPr>
            <a:spLocks noChangeArrowheads="1"/>
          </p:cNvSpPr>
          <p:nvPr/>
        </p:nvSpPr>
        <p:spPr bwMode="auto">
          <a:xfrm>
            <a:off x="4284663" y="2287588"/>
            <a:ext cx="720725" cy="215900"/>
          </a:xfrm>
          <a:prstGeom prst="rightArrow">
            <a:avLst>
              <a:gd name="adj1" fmla="val 50000"/>
              <a:gd name="adj2" fmla="val 83456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937862" name="AutoShape 6"/>
          <p:cNvSpPr>
            <a:spLocks noChangeArrowheads="1"/>
          </p:cNvSpPr>
          <p:nvPr/>
        </p:nvSpPr>
        <p:spPr bwMode="auto">
          <a:xfrm>
            <a:off x="4211638" y="4303713"/>
            <a:ext cx="720725" cy="215900"/>
          </a:xfrm>
          <a:prstGeom prst="rightArrow">
            <a:avLst>
              <a:gd name="adj1" fmla="val 50000"/>
              <a:gd name="adj2" fmla="val 83456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937863" name="Rectangle 8"/>
          <p:cNvSpPr>
            <a:spLocks noChangeArrowheads="1"/>
          </p:cNvSpPr>
          <p:nvPr/>
        </p:nvSpPr>
        <p:spPr bwMode="auto">
          <a:xfrm>
            <a:off x="1547813" y="1063625"/>
            <a:ext cx="1727200" cy="503238"/>
          </a:xfrm>
          <a:prstGeom prst="rect">
            <a:avLst/>
          </a:prstGeom>
          <a:solidFill>
            <a:srgbClr val="96969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/>
              <a:t>Проблемы</a:t>
            </a:r>
          </a:p>
        </p:txBody>
      </p:sp>
      <p:sp>
        <p:nvSpPr>
          <p:cNvPr id="2937864" name="Rectangle 9"/>
          <p:cNvSpPr>
            <a:spLocks noChangeArrowheads="1"/>
          </p:cNvSpPr>
          <p:nvPr/>
        </p:nvSpPr>
        <p:spPr bwMode="auto">
          <a:xfrm>
            <a:off x="5724525" y="992188"/>
            <a:ext cx="2089150" cy="50323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/>
              <a:t>Возможности вузов</a:t>
            </a:r>
          </a:p>
        </p:txBody>
      </p:sp>
      <p:sp>
        <p:nvSpPr>
          <p:cNvPr id="2937865" name="AutoShape 10"/>
          <p:cNvSpPr>
            <a:spLocks noChangeArrowheads="1"/>
          </p:cNvSpPr>
          <p:nvPr/>
        </p:nvSpPr>
        <p:spPr bwMode="auto">
          <a:xfrm>
            <a:off x="4284663" y="3224213"/>
            <a:ext cx="720725" cy="215900"/>
          </a:xfrm>
          <a:prstGeom prst="rightArrow">
            <a:avLst>
              <a:gd name="adj1" fmla="val 50000"/>
              <a:gd name="adj2" fmla="val 83456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937866" name="AutoShape 11"/>
          <p:cNvSpPr>
            <a:spLocks noChangeArrowheads="1"/>
          </p:cNvSpPr>
          <p:nvPr/>
        </p:nvSpPr>
        <p:spPr bwMode="auto">
          <a:xfrm>
            <a:off x="4211638" y="5240338"/>
            <a:ext cx="720725" cy="215900"/>
          </a:xfrm>
          <a:prstGeom prst="rightArrow">
            <a:avLst>
              <a:gd name="adj1" fmla="val 50000"/>
              <a:gd name="adj2" fmla="val 83456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C1DF716-E41B-48C3-9296-85F89AAED103}" type="slidenum">
              <a:rPr lang="ru-RU" smtClean="0"/>
              <a:pPr>
                <a:defRPr/>
              </a:pPr>
              <a:t>26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941A70E-0431-49A3-A301-CDAF404ED534}" type="slidenum">
              <a:rPr lang="ru-RU" smtClean="0"/>
              <a:pPr>
                <a:defRPr/>
              </a:pPr>
              <a:t>27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0" y="14288"/>
            <a:ext cx="714375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8" name="Овал 7"/>
          <p:cNvSpPr/>
          <p:nvPr/>
        </p:nvSpPr>
        <p:spPr bwMode="auto">
          <a:xfrm>
            <a:off x="322263" y="625475"/>
            <a:ext cx="785812" cy="7858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9" name="Овал 8"/>
          <p:cNvSpPr/>
          <p:nvPr/>
        </p:nvSpPr>
        <p:spPr bwMode="auto">
          <a:xfrm>
            <a:off x="565150" y="890588"/>
            <a:ext cx="276225" cy="276225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0" name="Полилиния 9"/>
          <p:cNvSpPr/>
          <p:nvPr/>
        </p:nvSpPr>
        <p:spPr bwMode="auto">
          <a:xfrm>
            <a:off x="749300" y="696913"/>
            <a:ext cx="6680200" cy="190500"/>
          </a:xfrm>
          <a:custGeom>
            <a:avLst/>
            <a:gdLst>
              <a:gd name="connsiteX0" fmla="*/ 0 w 3136900"/>
              <a:gd name="connsiteY0" fmla="*/ 279400 h 279400"/>
              <a:gd name="connsiteX1" fmla="*/ 203200 w 3136900"/>
              <a:gd name="connsiteY1" fmla="*/ 0 h 279400"/>
              <a:gd name="connsiteX2" fmla="*/ 3136900 w 3136900"/>
              <a:gd name="connsiteY2" fmla="*/ 635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36900" h="279400">
                <a:moveTo>
                  <a:pt x="0" y="279400"/>
                </a:moveTo>
                <a:lnTo>
                  <a:pt x="203200" y="0"/>
                </a:lnTo>
                <a:lnTo>
                  <a:pt x="3136900" y="6350"/>
                </a:lnTo>
              </a:path>
            </a:pathLst>
          </a:cu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938886" name="AutoShape 53" descr="прпрпар"/>
          <p:cNvSpPr>
            <a:spLocks noChangeArrowheads="1"/>
          </p:cNvSpPr>
          <p:nvPr/>
        </p:nvSpPr>
        <p:spPr bwMode="auto">
          <a:xfrm rot="10800000" flipV="1">
            <a:off x="4897438" y="1773238"/>
            <a:ext cx="2593975" cy="3752850"/>
          </a:xfrm>
          <a:prstGeom prst="downArrow">
            <a:avLst>
              <a:gd name="adj1" fmla="val 56370"/>
              <a:gd name="adj2" fmla="val 66015"/>
            </a:avLst>
          </a:prstGeom>
          <a:solidFill>
            <a:srgbClr val="FFD5AB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 sz="1400">
              <a:solidFill>
                <a:schemeClr val="bg1"/>
              </a:solidFill>
              <a:ea typeface="ヒラギノ角ゴ ProN W3"/>
              <a:cs typeface="ヒラギノ角ゴ ProN W3"/>
            </a:endParaRPr>
          </a:p>
        </p:txBody>
      </p:sp>
      <p:sp>
        <p:nvSpPr>
          <p:cNvPr id="2938887" name="AutoShape 53" descr="прпрпар"/>
          <p:cNvSpPr>
            <a:spLocks noChangeArrowheads="1"/>
          </p:cNvSpPr>
          <p:nvPr/>
        </p:nvSpPr>
        <p:spPr bwMode="auto">
          <a:xfrm rot="10800000" flipV="1">
            <a:off x="1655763" y="1706563"/>
            <a:ext cx="2595562" cy="3752850"/>
          </a:xfrm>
          <a:prstGeom prst="downArrow">
            <a:avLst>
              <a:gd name="adj1" fmla="val 56370"/>
              <a:gd name="adj2" fmla="val 65975"/>
            </a:avLst>
          </a:prstGeom>
          <a:solidFill>
            <a:srgbClr val="FFD5AB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 sz="1400">
              <a:solidFill>
                <a:schemeClr val="bg1"/>
              </a:solidFill>
              <a:ea typeface="ヒラギノ角ゴ ProN W3"/>
              <a:cs typeface="ヒラギノ角ゴ ProN W3"/>
            </a:endParaRP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45363" y="4278313"/>
            <a:ext cx="1439862" cy="11398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/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24600" y="5038725"/>
            <a:ext cx="1573213" cy="11985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/>
        </p:spPr>
      </p:pic>
      <p:pic>
        <p:nvPicPr>
          <p:cNvPr id="16" name="Picture 2" descr="http://mspbank.ru/files/story5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8925" y="4149725"/>
            <a:ext cx="1427163" cy="10715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/>
        </p:spPr>
      </p:pic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03300" y="5038725"/>
            <a:ext cx="1550988" cy="10683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/>
        </p:spPr>
      </p:pic>
      <p:sp>
        <p:nvSpPr>
          <p:cNvPr id="18" name="Скругленный прямоугольник 17"/>
          <p:cNvSpPr/>
          <p:nvPr/>
        </p:nvSpPr>
        <p:spPr>
          <a:xfrm>
            <a:off x="288925" y="550863"/>
            <a:ext cx="5399088" cy="933450"/>
          </a:xfrm>
          <a:prstGeom prst="roundRect">
            <a:avLst/>
          </a:prstGeom>
          <a:solidFill>
            <a:srgbClr val="F6621A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оддержка малого предпринимательства ОАО «МСП Банк»</a:t>
            </a:r>
          </a:p>
        </p:txBody>
      </p:sp>
      <p:sp>
        <p:nvSpPr>
          <p:cNvPr id="19" name="Плюс 18"/>
          <p:cNvSpPr/>
          <p:nvPr/>
        </p:nvSpPr>
        <p:spPr>
          <a:xfrm>
            <a:off x="4537075" y="2270125"/>
            <a:ext cx="233363" cy="295275"/>
          </a:xfrm>
          <a:prstGeom prst="mathPlus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0" name="Скругленная прямоугольная выноска 19"/>
          <p:cNvSpPr/>
          <p:nvPr/>
        </p:nvSpPr>
        <p:spPr>
          <a:xfrm>
            <a:off x="6503988" y="360363"/>
            <a:ext cx="2460625" cy="1047750"/>
          </a:xfrm>
          <a:prstGeom prst="wedgeRoundRectCallout">
            <a:avLst>
              <a:gd name="adj1" fmla="val -84774"/>
              <a:gd name="adj2" fmla="val 44910"/>
              <a:gd name="adj3" fmla="val 16667"/>
            </a:avLst>
          </a:prstGeom>
          <a:ln>
            <a:solidFill>
              <a:srgbClr val="FC820C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marL="3175" indent="-3175" algn="ctr" defTabSz="987425" eaLnBrk="0" hangingPunct="0">
              <a:buClr>
                <a:srgbClr val="476F93"/>
              </a:buClr>
              <a:tabLst>
                <a:tab pos="0" algn="l"/>
              </a:tabLst>
              <a:defRPr/>
            </a:pPr>
            <a:r>
              <a:rPr lang="ru-RU" sz="120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00% дочерняя организация </a:t>
            </a:r>
            <a:r>
              <a:rPr lang="ru-RU"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Внешэкономбанка</a:t>
            </a:r>
            <a:r>
              <a:rPr lang="ru-RU" sz="120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3175" indent="-3175" algn="ctr" defTabSz="987425" eaLnBrk="0" hangingPunct="0">
              <a:buClr>
                <a:srgbClr val="476F93"/>
              </a:buClr>
              <a:tabLst>
                <a:tab pos="0" algn="l"/>
              </a:tabLst>
              <a:defRPr/>
            </a:pPr>
            <a:r>
              <a:rPr lang="ru-RU" sz="120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оводник государственной программы финансирования МСП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1584325" y="1989138"/>
            <a:ext cx="2879725" cy="29527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300" b="1" dirty="0">
                <a:solidFill>
                  <a:srgbClr val="202020"/>
                </a:solidFill>
                <a:latin typeface="Arial" pitchFamily="34" charset="0"/>
                <a:cs typeface="Arial" pitchFamily="34" charset="0"/>
              </a:rPr>
              <a:t>РАЗНЫЕ ФОРМЫ И ВИДЫ ПОДДЕРЖКИ МСП </a:t>
            </a:r>
            <a:r>
              <a:rPr lang="ru-RU" sz="1300" b="1" u="sng" dirty="0">
                <a:solidFill>
                  <a:srgbClr val="202020"/>
                </a:solidFill>
                <a:latin typeface="Arial" pitchFamily="34" charset="0"/>
                <a:cs typeface="Arial" pitchFamily="34" charset="0"/>
              </a:rPr>
              <a:t>ЧЕРЕЗ</a:t>
            </a:r>
            <a:r>
              <a:rPr lang="ru-RU" sz="1300" b="1" dirty="0">
                <a:solidFill>
                  <a:srgbClr val="202020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algn="ctr">
              <a:defRPr/>
            </a:pPr>
            <a:endParaRPr lang="ru-RU" sz="800" b="1" dirty="0">
              <a:solidFill>
                <a:srgbClr val="202020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buFontTx/>
              <a:buChar char="-"/>
              <a:defRPr/>
            </a:pPr>
            <a:r>
              <a:rPr lang="ru-RU" sz="1300" b="1" dirty="0">
                <a:solidFill>
                  <a:srgbClr val="202020"/>
                </a:solidFill>
                <a:latin typeface="Arial" pitchFamily="34" charset="0"/>
                <a:cs typeface="Arial" pitchFamily="34" charset="0"/>
              </a:rPr>
              <a:t>БАНКИ</a:t>
            </a:r>
            <a:endParaRPr lang="en-US" sz="1300" b="1" dirty="0">
              <a:solidFill>
                <a:srgbClr val="202020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buFontTx/>
              <a:buChar char="-"/>
              <a:defRPr/>
            </a:pPr>
            <a:endParaRPr lang="ru-RU" sz="1300" b="1" dirty="0">
              <a:solidFill>
                <a:srgbClr val="202020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buFontTx/>
              <a:buChar char="-"/>
              <a:defRPr/>
            </a:pPr>
            <a:r>
              <a:rPr lang="ru-RU" sz="1300" b="1" dirty="0">
                <a:solidFill>
                  <a:srgbClr val="202020"/>
                </a:solidFill>
                <a:latin typeface="Arial" pitchFamily="34" charset="0"/>
                <a:cs typeface="Arial" pitchFamily="34" charset="0"/>
              </a:rPr>
              <a:t>ЛИЗИНГОВЫЕ И ФАКТОРИНГОВЫЕ КОМПАНИИ</a:t>
            </a:r>
            <a:endParaRPr lang="en-US" sz="1300" b="1" dirty="0">
              <a:solidFill>
                <a:srgbClr val="202020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buFontTx/>
              <a:buChar char="-"/>
              <a:defRPr/>
            </a:pPr>
            <a:endParaRPr lang="en-US" sz="1300" b="1" dirty="0">
              <a:solidFill>
                <a:srgbClr val="202020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buFontTx/>
              <a:buChar char="-"/>
              <a:defRPr/>
            </a:pPr>
            <a:r>
              <a:rPr lang="ru-RU" sz="13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МИКРОФИНАНСОВЫЕ ОРГАНИЗАЦИИ И </a:t>
            </a:r>
            <a:r>
              <a:rPr lang="ru-RU" sz="1300" b="1" u="sng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РЕГИОНАЛЬНЫЕ ФОНДЫ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4897438" y="2060575"/>
            <a:ext cx="2879725" cy="29686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300" b="1">
                <a:solidFill>
                  <a:srgbClr val="202020"/>
                </a:solidFill>
                <a:latin typeface="Arial" pitchFamily="34" charset="0"/>
                <a:cs typeface="Arial" pitchFamily="34" charset="0"/>
              </a:rPr>
              <a:t>ДОСТУПНОСТЬ И ДОЛГОСРОЧНОСТЬ ПОДДЕРЖКИ:</a:t>
            </a:r>
          </a:p>
          <a:p>
            <a:pPr algn="ctr">
              <a:defRPr/>
            </a:pPr>
            <a:endParaRPr lang="ru-RU" sz="800" b="1">
              <a:solidFill>
                <a:srgbClr val="202020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ru-RU" sz="1300" b="1">
                <a:solidFill>
                  <a:srgbClr val="202020"/>
                </a:solidFill>
                <a:latin typeface="Arial" pitchFamily="34" charset="0"/>
                <a:cs typeface="Arial" pitchFamily="34" charset="0"/>
              </a:rPr>
              <a:t>СРЕДНЯЯ СТАВКА </a:t>
            </a:r>
            <a:r>
              <a:rPr lang="ru-RU" sz="1400" b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2,5</a:t>
            </a:r>
            <a:r>
              <a:rPr lang="ru-RU" sz="1300" b="1">
                <a:solidFill>
                  <a:srgbClr val="202020"/>
                </a:solidFill>
                <a:latin typeface="Arial" pitchFamily="34" charset="0"/>
                <a:cs typeface="Arial" pitchFamily="34" charset="0"/>
              </a:rPr>
              <a:t>% ГОДОВЫХ</a:t>
            </a:r>
          </a:p>
          <a:p>
            <a:pPr algn="ctr">
              <a:defRPr/>
            </a:pPr>
            <a:endParaRPr lang="ru-RU" sz="800" b="1">
              <a:solidFill>
                <a:srgbClr val="202020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ru-RU" sz="1300" b="1">
                <a:solidFill>
                  <a:srgbClr val="202020"/>
                </a:solidFill>
                <a:latin typeface="Arial" pitchFamily="34" charset="0"/>
                <a:cs typeface="Arial" pitchFamily="34" charset="0"/>
              </a:rPr>
              <a:t>СРОК КРЕДИТОВАНИЯ </a:t>
            </a:r>
          </a:p>
          <a:p>
            <a:pPr algn="ctr">
              <a:defRPr/>
            </a:pPr>
            <a:r>
              <a:rPr lang="ru-RU" sz="1300" b="1">
                <a:solidFill>
                  <a:srgbClr val="202020"/>
                </a:solidFill>
                <a:latin typeface="Arial" pitchFamily="34" charset="0"/>
                <a:cs typeface="Arial" pitchFamily="34" charset="0"/>
              </a:rPr>
              <a:t>ДО </a:t>
            </a:r>
            <a:r>
              <a:rPr lang="ru-RU" sz="1400" b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7</a:t>
            </a:r>
            <a:r>
              <a:rPr lang="ru-RU" sz="1300" b="1">
                <a:solidFill>
                  <a:srgbClr val="202020"/>
                </a:solidFill>
                <a:latin typeface="Arial" pitchFamily="34" charset="0"/>
                <a:cs typeface="Arial" pitchFamily="34" charset="0"/>
              </a:rPr>
              <a:t> ЛЕТ</a:t>
            </a:r>
            <a:endParaRPr lang="ru-RU" sz="1300" b="1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376488" y="5359400"/>
            <a:ext cx="1414462" cy="10731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/>
        </p:spPr>
      </p:pic>
      <p:pic>
        <p:nvPicPr>
          <p:cNvPr id="24" name="Picture 28" descr="1_10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113338" y="5457825"/>
            <a:ext cx="1465262" cy="10969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/>
        </p:spPr>
      </p:pic>
      <p:pic>
        <p:nvPicPr>
          <p:cNvPr id="25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744913" y="5575300"/>
            <a:ext cx="1485900" cy="10937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40929" name="Picture 3"/>
          <p:cNvPicPr>
            <a:picLocks noChangeAspect="1" noChangeArrowheads="1"/>
          </p:cNvPicPr>
          <p:nvPr/>
        </p:nvPicPr>
        <p:blipFill>
          <a:blip r:embed="rId3" cstate="print"/>
          <a:srcRect l="51917" t="33533" r="39478" b="53195"/>
          <a:stretch>
            <a:fillRect/>
          </a:stretch>
        </p:blipFill>
        <p:spPr bwMode="auto">
          <a:xfrm>
            <a:off x="730250" y="4760913"/>
            <a:ext cx="1498600" cy="1404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Номер слайда 5"/>
          <p:cNvSpPr txBox="1">
            <a:spLocks noGrp="1"/>
          </p:cNvSpPr>
          <p:nvPr/>
        </p:nvSpPr>
        <p:spPr>
          <a:xfrm>
            <a:off x="8270875" y="6308725"/>
            <a:ext cx="6477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4598F48-617B-4E40-B531-200F362D3973}" type="slidenum">
              <a:rPr lang="ru-RU" sz="16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8</a:t>
            </a:fld>
            <a:endParaRPr lang="ru-RU" sz="1600" dirty="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0" y="-1588"/>
            <a:ext cx="714375" cy="685800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8" name="Овал 7"/>
          <p:cNvSpPr/>
          <p:nvPr/>
        </p:nvSpPr>
        <p:spPr bwMode="auto">
          <a:xfrm>
            <a:off x="322263" y="625475"/>
            <a:ext cx="785812" cy="7858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9" name="Овал 8"/>
          <p:cNvSpPr/>
          <p:nvPr/>
        </p:nvSpPr>
        <p:spPr bwMode="auto">
          <a:xfrm>
            <a:off x="565150" y="920750"/>
            <a:ext cx="276225" cy="276225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0" name="Полилиния 9"/>
          <p:cNvSpPr/>
          <p:nvPr/>
        </p:nvSpPr>
        <p:spPr bwMode="auto">
          <a:xfrm>
            <a:off x="749300" y="862013"/>
            <a:ext cx="6680200" cy="190500"/>
          </a:xfrm>
          <a:custGeom>
            <a:avLst/>
            <a:gdLst>
              <a:gd name="connsiteX0" fmla="*/ 0 w 3136900"/>
              <a:gd name="connsiteY0" fmla="*/ 279400 h 279400"/>
              <a:gd name="connsiteX1" fmla="*/ 203200 w 3136900"/>
              <a:gd name="connsiteY1" fmla="*/ 0 h 279400"/>
              <a:gd name="connsiteX2" fmla="*/ 3136900 w 3136900"/>
              <a:gd name="connsiteY2" fmla="*/ 635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36900" h="279400">
                <a:moveTo>
                  <a:pt x="0" y="279400"/>
                </a:moveTo>
                <a:lnTo>
                  <a:pt x="203200" y="0"/>
                </a:lnTo>
                <a:lnTo>
                  <a:pt x="3136900" y="6350"/>
                </a:lnTo>
              </a:path>
            </a:pathLst>
          </a:cu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1" name="Штриховая стрелка вправо 10"/>
          <p:cNvSpPr/>
          <p:nvPr>
            <p:custDataLst>
              <p:tags r:id="rId1"/>
            </p:custDataLst>
          </p:nvPr>
        </p:nvSpPr>
        <p:spPr bwMode="auto">
          <a:xfrm rot="16200000">
            <a:off x="580232" y="3063081"/>
            <a:ext cx="1981200" cy="1106487"/>
          </a:xfrm>
          <a:prstGeom prst="stripedRightArrow">
            <a:avLst/>
          </a:prstGeom>
          <a:solidFill>
            <a:srgbClr val="47A13D"/>
          </a:solidFill>
          <a:ln>
            <a:headEnd type="none" w="med" len="med"/>
            <a:tailEnd type="none" w="med" len="med"/>
          </a:ln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rgbClr val="DEDFE7">
                  <a:lumMod val="60000"/>
                  <a:lumOff val="40000"/>
                </a:srgbClr>
              </a:solidFill>
              <a:cs typeface="Arial" pitchFamily="34" charset="0"/>
            </a:endParaRPr>
          </a:p>
        </p:txBody>
      </p:sp>
      <p:pic>
        <p:nvPicPr>
          <p:cNvPr id="2940936" name="Picture 3" descr="C:\нач\ДС\Структура\PI_RGB.png"/>
          <p:cNvPicPr>
            <a:picLocks noChangeAspect="1" noChangeArrowheads="1"/>
          </p:cNvPicPr>
          <p:nvPr/>
        </p:nvPicPr>
        <p:blipFill>
          <a:blip r:embed="rId4" cstate="print"/>
          <a:srcRect l="2" r="77599"/>
          <a:stretch>
            <a:fillRect/>
          </a:stretch>
        </p:blipFill>
        <p:spPr bwMode="auto">
          <a:xfrm>
            <a:off x="1025525" y="1504950"/>
            <a:ext cx="1052513" cy="102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40937" name="Прямоугольник 2"/>
          <p:cNvSpPr>
            <a:spLocks noChangeArrowheads="1"/>
          </p:cNvSpPr>
          <p:nvPr/>
        </p:nvSpPr>
        <p:spPr bwMode="auto">
          <a:xfrm>
            <a:off x="2411413" y="1970088"/>
            <a:ext cx="2592387" cy="735012"/>
          </a:xfrm>
          <a:prstGeom prst="rect">
            <a:avLst/>
          </a:prstGeom>
          <a:solidFill>
            <a:srgbClr val="75C66C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sz="1600">
                <a:solidFill>
                  <a:srgbClr val="FFFFFF"/>
                </a:solidFill>
                <a:latin typeface="Arial Black" pitchFamily="34" charset="0"/>
                <a:ea typeface="ヒラギノ角ゴ ProN W3"/>
                <a:cs typeface="ヒラギノ角ゴ ProN W3"/>
              </a:rPr>
              <a:t>Кредитный </a:t>
            </a:r>
            <a:r>
              <a:rPr lang="ru-RU" sz="1600" b="1">
                <a:solidFill>
                  <a:srgbClr val="FFFFFF"/>
                </a:solidFill>
                <a:latin typeface="Arial Black" pitchFamily="34" charset="0"/>
                <a:ea typeface="ヒラギノ角ゴ ProN W3"/>
                <a:cs typeface="ヒラギノ角ゴ ProN W3"/>
              </a:rPr>
              <a:t>портфель</a:t>
            </a:r>
            <a:r>
              <a:rPr lang="ru-RU" sz="1600">
                <a:solidFill>
                  <a:srgbClr val="FFFFFF"/>
                </a:solidFill>
                <a:latin typeface="Arial Black" pitchFamily="34" charset="0"/>
                <a:ea typeface="ヒラギノ角ゴ ProN W3"/>
                <a:cs typeface="ヒラギノ角ゴ ProN W3"/>
              </a:rPr>
              <a:t> </a:t>
            </a:r>
          </a:p>
          <a:p>
            <a:pPr algn="ctr"/>
            <a:r>
              <a:rPr lang="ru-RU" sz="1600">
                <a:solidFill>
                  <a:srgbClr val="FFFFFF"/>
                </a:solidFill>
                <a:latin typeface="Arial Black" pitchFamily="34" charset="0"/>
                <a:ea typeface="ヒラギノ角ゴ ProN W3"/>
                <a:cs typeface="ヒラギノ角ゴ ProN W3"/>
              </a:rPr>
              <a:t>по малому и среднему бизнесу</a:t>
            </a:r>
          </a:p>
        </p:txBody>
      </p:sp>
      <p:sp>
        <p:nvSpPr>
          <p:cNvPr id="2940938" name="Прямоугольник 2"/>
          <p:cNvSpPr>
            <a:spLocks noChangeArrowheads="1"/>
          </p:cNvSpPr>
          <p:nvPr/>
        </p:nvSpPr>
        <p:spPr bwMode="auto">
          <a:xfrm>
            <a:off x="5292725" y="1504950"/>
            <a:ext cx="324008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 i="1">
                <a:solidFill>
                  <a:srgbClr val="333333"/>
                </a:solidFill>
                <a:ea typeface="ヒラギノ角ゴ ProN W3"/>
                <a:cs typeface="ヒラギノ角ゴ ProN W3"/>
              </a:rPr>
              <a:t>На 1 января 2014 г.</a:t>
            </a:r>
          </a:p>
        </p:txBody>
      </p:sp>
      <p:sp>
        <p:nvSpPr>
          <p:cNvPr id="2940939" name="Прямоугольник 2"/>
          <p:cNvSpPr>
            <a:spLocks noChangeArrowheads="1"/>
          </p:cNvSpPr>
          <p:nvPr/>
        </p:nvSpPr>
        <p:spPr bwMode="auto">
          <a:xfrm>
            <a:off x="5322888" y="2089150"/>
            <a:ext cx="255587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b="1">
                <a:solidFill>
                  <a:srgbClr val="CC6600"/>
                </a:solidFill>
                <a:latin typeface="Arial Black" pitchFamily="34" charset="0"/>
                <a:ea typeface="ヒラギノ角ゴ ProN W3"/>
                <a:cs typeface="ヒラギノ角ゴ ProN W3"/>
              </a:rPr>
              <a:t>1,42 трлн. руб.</a:t>
            </a:r>
            <a:endParaRPr lang="en-US" sz="2000" b="1">
              <a:solidFill>
                <a:srgbClr val="CC6600"/>
              </a:solidFill>
              <a:latin typeface="Arial Black" pitchFamily="34" charset="0"/>
              <a:ea typeface="ヒラギノ角ゴ ProN W3"/>
              <a:cs typeface="ヒラギノ角ゴ ProN W3"/>
            </a:endParaRPr>
          </a:p>
        </p:txBody>
      </p:sp>
      <p:grpSp>
        <p:nvGrpSpPr>
          <p:cNvPr id="2940940" name="Группа 13"/>
          <p:cNvGrpSpPr>
            <a:grpSpLocks/>
          </p:cNvGrpSpPr>
          <p:nvPr/>
        </p:nvGrpSpPr>
        <p:grpSpPr bwMode="auto">
          <a:xfrm>
            <a:off x="906463" y="3363913"/>
            <a:ext cx="1268412" cy="1152525"/>
            <a:chOff x="3202131" y="2174327"/>
            <a:chExt cx="1169459" cy="708025"/>
          </a:xfrm>
        </p:grpSpPr>
        <p:pic>
          <p:nvPicPr>
            <p:cNvPr id="2940954" name="Picture 17" descr="C:\Documents and Settings\nilov-ay\Рабочий стол\Рисунок12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202131" y="2266401"/>
              <a:ext cx="447146" cy="4937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40955" name="Picture 17" descr="C:\Documents and Settings\nilov-ay\Рабочий стол\Рисунок12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425704" y="2202901"/>
              <a:ext cx="557213" cy="6143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40956" name="Picture 17" descr="C:\Documents and Settings\nilov-ay\Рабочий стол\Рисунок12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730108" y="2174327"/>
              <a:ext cx="641482" cy="708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940941" name="Прямоугольник 2"/>
          <p:cNvSpPr>
            <a:spLocks noChangeArrowheads="1"/>
          </p:cNvSpPr>
          <p:nvPr/>
        </p:nvSpPr>
        <p:spPr bwMode="auto">
          <a:xfrm>
            <a:off x="2447925" y="5268913"/>
            <a:ext cx="2592388" cy="774700"/>
          </a:xfrm>
          <a:prstGeom prst="rect">
            <a:avLst/>
          </a:prstGeom>
          <a:solidFill>
            <a:srgbClr val="75C66C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sz="1600">
                <a:solidFill>
                  <a:srgbClr val="FFFFFF"/>
                </a:solidFill>
                <a:latin typeface="Arial Black" pitchFamily="34" charset="0"/>
                <a:ea typeface="ヒラギノ角ゴ ProN W3"/>
                <a:cs typeface="ヒラギノ角ゴ ProN W3"/>
              </a:rPr>
              <a:t>Количество заемщиков малого бизнеса</a:t>
            </a:r>
          </a:p>
        </p:txBody>
      </p:sp>
      <p:sp>
        <p:nvSpPr>
          <p:cNvPr id="2940942" name="Прямоугольник 2"/>
          <p:cNvSpPr>
            <a:spLocks noChangeArrowheads="1"/>
          </p:cNvSpPr>
          <p:nvPr/>
        </p:nvSpPr>
        <p:spPr bwMode="auto">
          <a:xfrm>
            <a:off x="5389563" y="5456238"/>
            <a:ext cx="1908175" cy="4000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b="1">
                <a:solidFill>
                  <a:srgbClr val="CC6600"/>
                </a:solidFill>
                <a:latin typeface="Arial Black" pitchFamily="34" charset="0"/>
                <a:ea typeface="ヒラギノ角ゴ ProN W3"/>
                <a:cs typeface="ヒラギノ角ゴ ProN W3"/>
              </a:rPr>
              <a:t>215 000</a:t>
            </a:r>
            <a:endParaRPr lang="ru-RU" sz="1600" b="1" i="1">
              <a:solidFill>
                <a:srgbClr val="CC6600"/>
              </a:solidFill>
              <a:latin typeface="Arial Black" pitchFamily="34" charset="0"/>
              <a:ea typeface="ヒラギノ角ゴ ProN W3"/>
              <a:cs typeface="ヒラギノ角ゴ ProN W3"/>
            </a:endParaRP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1187450" y="334963"/>
            <a:ext cx="7993063" cy="430212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b">
            <a:spAutoFit/>
          </a:bodyPr>
          <a:lstStyle>
            <a:lvl1pPr defTabSz="762000" eaLnBrk="0" hangingPunct="0">
              <a:tabLst>
                <a:tab pos="3841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tabLst>
                <a:tab pos="3841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tabLst>
                <a:tab pos="3841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tabLst>
                <a:tab pos="3841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tabLst>
                <a:tab pos="3841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3841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3841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3841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3841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sz="2800" b="1" dirty="0">
                <a:solidFill>
                  <a:srgbClr val="000000"/>
                </a:solidFill>
                <a:ea typeface="+mj-ea"/>
                <a:sym typeface="Helvetica" pitchFamily="34" charset="0"/>
              </a:rPr>
              <a:t>Рост малого бизнеса</a:t>
            </a:r>
            <a:r>
              <a:rPr lang="en-US" sz="2800" b="1" dirty="0">
                <a:solidFill>
                  <a:srgbClr val="000000"/>
                </a:solidFill>
                <a:ea typeface="+mj-ea"/>
                <a:sym typeface="Helvetica" pitchFamily="34" charset="0"/>
              </a:rPr>
              <a:t> </a:t>
            </a:r>
            <a:r>
              <a:rPr lang="ru-RU" sz="2800" b="1" dirty="0" smtClean="0">
                <a:solidFill>
                  <a:srgbClr val="000000"/>
                </a:solidFill>
                <a:ea typeface="+mj-ea"/>
                <a:sym typeface="Helvetica" pitchFamily="34" charset="0"/>
              </a:rPr>
              <a:t>в </a:t>
            </a:r>
            <a:r>
              <a:rPr lang="ru-RU" sz="2800" b="1" dirty="0">
                <a:solidFill>
                  <a:srgbClr val="000000"/>
                </a:solidFill>
                <a:ea typeface="+mj-ea"/>
                <a:sym typeface="Helvetica" pitchFamily="34" charset="0"/>
              </a:rPr>
              <a:t>Сбербанке</a:t>
            </a:r>
          </a:p>
        </p:txBody>
      </p:sp>
      <p:cxnSp>
        <p:nvCxnSpPr>
          <p:cNvPr id="30" name="Прямая соединительная линия 44"/>
          <p:cNvCxnSpPr/>
          <p:nvPr/>
        </p:nvCxnSpPr>
        <p:spPr>
          <a:xfrm flipV="1">
            <a:off x="2411413" y="3479800"/>
            <a:ext cx="6408737" cy="17463"/>
          </a:xfrm>
          <a:prstGeom prst="line">
            <a:avLst/>
          </a:prstGeom>
          <a:ln w="9525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44"/>
          <p:cNvCxnSpPr/>
          <p:nvPr/>
        </p:nvCxnSpPr>
        <p:spPr>
          <a:xfrm flipV="1">
            <a:off x="2416175" y="5108575"/>
            <a:ext cx="6350000" cy="44450"/>
          </a:xfrm>
          <a:prstGeom prst="line">
            <a:avLst/>
          </a:prstGeom>
          <a:ln w="9525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44"/>
          <p:cNvCxnSpPr/>
          <p:nvPr/>
        </p:nvCxnSpPr>
        <p:spPr>
          <a:xfrm>
            <a:off x="2416175" y="6075363"/>
            <a:ext cx="6350000" cy="14287"/>
          </a:xfrm>
          <a:prstGeom prst="line">
            <a:avLst/>
          </a:prstGeom>
          <a:ln w="9525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44"/>
          <p:cNvCxnSpPr/>
          <p:nvPr/>
        </p:nvCxnSpPr>
        <p:spPr>
          <a:xfrm>
            <a:off x="2411413" y="1960563"/>
            <a:ext cx="6408737" cy="9525"/>
          </a:xfrm>
          <a:prstGeom prst="line">
            <a:avLst/>
          </a:prstGeom>
          <a:ln w="9525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40948" name="Прямоугольник 2"/>
          <p:cNvSpPr>
            <a:spLocks noChangeArrowheads="1"/>
          </p:cNvSpPr>
          <p:nvPr/>
        </p:nvSpPr>
        <p:spPr bwMode="auto">
          <a:xfrm>
            <a:off x="2430463" y="2776538"/>
            <a:ext cx="2554287" cy="703262"/>
          </a:xfrm>
          <a:prstGeom prst="rect">
            <a:avLst/>
          </a:prstGeom>
          <a:solidFill>
            <a:srgbClr val="C87644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sz="1600">
                <a:solidFill>
                  <a:srgbClr val="FFFFFF"/>
                </a:solidFill>
                <a:latin typeface="Arial Black" pitchFamily="34" charset="0"/>
                <a:ea typeface="ヒラギノ角ゴ ProN W3"/>
                <a:cs typeface="ヒラギノ角ゴ ProN W3"/>
              </a:rPr>
              <a:t>Доля Сбербанка на рынке кредитования </a:t>
            </a:r>
          </a:p>
        </p:txBody>
      </p:sp>
      <p:sp>
        <p:nvSpPr>
          <p:cNvPr id="2940949" name="Прямоугольник 2"/>
          <p:cNvSpPr>
            <a:spLocks noChangeArrowheads="1"/>
          </p:cNvSpPr>
          <p:nvPr/>
        </p:nvSpPr>
        <p:spPr bwMode="auto">
          <a:xfrm>
            <a:off x="5356225" y="2857500"/>
            <a:ext cx="25558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000" b="1">
                <a:solidFill>
                  <a:srgbClr val="CC6600"/>
                </a:solidFill>
                <a:latin typeface="Arial Black" pitchFamily="34" charset="0"/>
                <a:ea typeface="ヒラギノ角ゴ ProN W3"/>
                <a:cs typeface="ヒラギノ角ゴ ProN W3"/>
              </a:rPr>
              <a:t>~ </a:t>
            </a:r>
            <a:r>
              <a:rPr lang="ru-RU" sz="2000" b="1">
                <a:solidFill>
                  <a:srgbClr val="CC6600"/>
                </a:solidFill>
                <a:latin typeface="Arial Black" pitchFamily="34" charset="0"/>
                <a:ea typeface="ヒラギノ角ゴ ProN W3"/>
                <a:cs typeface="ヒラギノ角ゴ ProN W3"/>
              </a:rPr>
              <a:t>30 %</a:t>
            </a:r>
            <a:endParaRPr lang="en-US" sz="2000" b="1">
              <a:solidFill>
                <a:srgbClr val="CC6600"/>
              </a:solidFill>
              <a:latin typeface="Arial Black" pitchFamily="34" charset="0"/>
              <a:ea typeface="ヒラギノ角ゴ ProN W3"/>
              <a:cs typeface="ヒラギノ角ゴ ProN W3"/>
            </a:endParaRPr>
          </a:p>
        </p:txBody>
      </p:sp>
      <p:sp>
        <p:nvSpPr>
          <p:cNvPr id="2940950" name="Прямоугольник 2"/>
          <p:cNvSpPr>
            <a:spLocks noChangeArrowheads="1"/>
          </p:cNvSpPr>
          <p:nvPr/>
        </p:nvSpPr>
        <p:spPr bwMode="auto">
          <a:xfrm>
            <a:off x="2470150" y="3594100"/>
            <a:ext cx="2514600" cy="736600"/>
          </a:xfrm>
          <a:prstGeom prst="rect">
            <a:avLst/>
          </a:prstGeom>
          <a:solidFill>
            <a:srgbClr val="75C66C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sz="1600">
                <a:solidFill>
                  <a:srgbClr val="FFFFFF"/>
                </a:solidFill>
                <a:latin typeface="Arial Black" pitchFamily="34" charset="0"/>
                <a:ea typeface="ヒラギノ角ゴ ProN W3"/>
                <a:cs typeface="ヒラギノ角ゴ ProN W3"/>
              </a:rPr>
              <a:t>Кредитный </a:t>
            </a:r>
            <a:r>
              <a:rPr lang="ru-RU" sz="1600" b="1">
                <a:solidFill>
                  <a:srgbClr val="FFFFFF"/>
                </a:solidFill>
                <a:latin typeface="Arial Black" pitchFamily="34" charset="0"/>
                <a:ea typeface="ヒラギノ角ゴ ProN W3"/>
                <a:cs typeface="ヒラギノ角ゴ ProN W3"/>
              </a:rPr>
              <a:t>портфель</a:t>
            </a:r>
            <a:r>
              <a:rPr lang="ru-RU" sz="1600">
                <a:solidFill>
                  <a:srgbClr val="FFFFFF"/>
                </a:solidFill>
                <a:latin typeface="Arial Black" pitchFamily="34" charset="0"/>
                <a:ea typeface="ヒラギノ角ゴ ProN W3"/>
                <a:cs typeface="ヒラギノ角ゴ ProN W3"/>
              </a:rPr>
              <a:t> </a:t>
            </a:r>
          </a:p>
          <a:p>
            <a:pPr algn="ctr"/>
            <a:r>
              <a:rPr lang="ru-RU" sz="1600">
                <a:solidFill>
                  <a:srgbClr val="FFFFFF"/>
                </a:solidFill>
                <a:latin typeface="Arial Black" pitchFamily="34" charset="0"/>
                <a:ea typeface="ヒラギノ角ゴ ProN W3"/>
                <a:cs typeface="ヒラギノ角ゴ ProN W3"/>
              </a:rPr>
              <a:t>по малому бизнесу</a:t>
            </a:r>
          </a:p>
        </p:txBody>
      </p:sp>
      <p:sp>
        <p:nvSpPr>
          <p:cNvPr id="2940951" name="Прямоугольник 2"/>
          <p:cNvSpPr>
            <a:spLocks noChangeArrowheads="1"/>
          </p:cNvSpPr>
          <p:nvPr/>
        </p:nvSpPr>
        <p:spPr bwMode="auto">
          <a:xfrm>
            <a:off x="5389563" y="3721100"/>
            <a:ext cx="25558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b="1">
                <a:solidFill>
                  <a:srgbClr val="CC6600"/>
                </a:solidFill>
                <a:latin typeface="Arial Black" pitchFamily="34" charset="0"/>
                <a:ea typeface="ヒラギノ角ゴ ProN W3"/>
                <a:cs typeface="ヒラギノ角ゴ ProN W3"/>
              </a:rPr>
              <a:t>783,5 млрд. руб.</a:t>
            </a:r>
            <a:endParaRPr lang="en-US" sz="2000" b="1">
              <a:solidFill>
                <a:srgbClr val="CC6600"/>
              </a:solidFill>
              <a:latin typeface="Arial Black" pitchFamily="34" charset="0"/>
              <a:ea typeface="ヒラギノ角ゴ ProN W3"/>
              <a:cs typeface="ヒラギノ角ゴ ProN W3"/>
            </a:endParaRPr>
          </a:p>
        </p:txBody>
      </p:sp>
      <p:sp>
        <p:nvSpPr>
          <p:cNvPr id="2940952" name="Прямоугольник 2"/>
          <p:cNvSpPr>
            <a:spLocks noChangeArrowheads="1"/>
          </p:cNvSpPr>
          <p:nvPr/>
        </p:nvSpPr>
        <p:spPr bwMode="auto">
          <a:xfrm>
            <a:off x="2441575" y="4387850"/>
            <a:ext cx="2554288" cy="703263"/>
          </a:xfrm>
          <a:prstGeom prst="rect">
            <a:avLst/>
          </a:prstGeom>
          <a:solidFill>
            <a:srgbClr val="C87644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sz="1600">
                <a:solidFill>
                  <a:srgbClr val="FFFFFF"/>
                </a:solidFill>
                <a:latin typeface="Arial Black" pitchFamily="34" charset="0"/>
                <a:ea typeface="ヒラギノ角ゴ ProN W3"/>
                <a:cs typeface="ヒラギノ角ゴ ProN W3"/>
              </a:rPr>
              <a:t>Доля Сбербанка на рынке кредитования </a:t>
            </a:r>
          </a:p>
        </p:txBody>
      </p:sp>
      <p:sp>
        <p:nvSpPr>
          <p:cNvPr id="2940953" name="Прямоугольник 2"/>
          <p:cNvSpPr>
            <a:spLocks noChangeArrowheads="1"/>
          </p:cNvSpPr>
          <p:nvPr/>
        </p:nvSpPr>
        <p:spPr bwMode="auto">
          <a:xfrm>
            <a:off x="5389563" y="4538663"/>
            <a:ext cx="127793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b="1">
                <a:solidFill>
                  <a:srgbClr val="CC6600"/>
                </a:solidFill>
                <a:latin typeface="Arial Black" pitchFamily="34" charset="0"/>
                <a:ea typeface="ヒラギノ角ゴ ProN W3"/>
                <a:cs typeface="ヒラギノ角ゴ ProN W3"/>
              </a:rPr>
              <a:t>23,4 %</a:t>
            </a:r>
            <a:endParaRPr lang="en-US" sz="2000" b="1">
              <a:solidFill>
                <a:srgbClr val="CC6600"/>
              </a:solidFill>
              <a:latin typeface="Arial Black" pitchFamily="34" charset="0"/>
              <a:ea typeface="ヒラギノ角ゴ ProN W3"/>
              <a:cs typeface="ヒラギノ角ゴ ProN W3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41953" name="Picture 28" descr="untitled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75225" y="1939925"/>
            <a:ext cx="1127125" cy="1128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Номер слайда 2"/>
          <p:cNvSpPr txBox="1">
            <a:spLocks noGrp="1"/>
          </p:cNvSpPr>
          <p:nvPr/>
        </p:nvSpPr>
        <p:spPr>
          <a:xfrm>
            <a:off x="6748463" y="6327775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F5761EDA-0775-47A4-A62D-BDCFBBE826A8}" type="slidenum">
              <a:rPr lang="ru-RU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9</a:t>
            </a:fld>
            <a:endParaRPr lang="ru-RU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0" y="-1588"/>
            <a:ext cx="277813" cy="685800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" name="Овал 4"/>
          <p:cNvSpPr/>
          <p:nvPr/>
        </p:nvSpPr>
        <p:spPr bwMode="auto">
          <a:xfrm>
            <a:off x="74613" y="625475"/>
            <a:ext cx="825500" cy="7858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" name="Овал 5"/>
          <p:cNvSpPr/>
          <p:nvPr/>
        </p:nvSpPr>
        <p:spPr bwMode="auto">
          <a:xfrm>
            <a:off x="344488" y="920750"/>
            <a:ext cx="288925" cy="276225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" name="Полилиния 6"/>
          <p:cNvSpPr/>
          <p:nvPr/>
        </p:nvSpPr>
        <p:spPr bwMode="auto">
          <a:xfrm>
            <a:off x="528638" y="862013"/>
            <a:ext cx="7007225" cy="190500"/>
          </a:xfrm>
          <a:custGeom>
            <a:avLst/>
            <a:gdLst>
              <a:gd name="connsiteX0" fmla="*/ 0 w 3136900"/>
              <a:gd name="connsiteY0" fmla="*/ 279400 h 279400"/>
              <a:gd name="connsiteX1" fmla="*/ 203200 w 3136900"/>
              <a:gd name="connsiteY1" fmla="*/ 0 h 279400"/>
              <a:gd name="connsiteX2" fmla="*/ 3136900 w 3136900"/>
              <a:gd name="connsiteY2" fmla="*/ 635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36900" h="279400">
                <a:moveTo>
                  <a:pt x="0" y="279400"/>
                </a:moveTo>
                <a:lnTo>
                  <a:pt x="203200" y="0"/>
                </a:lnTo>
                <a:lnTo>
                  <a:pt x="3136900" y="6350"/>
                </a:lnTo>
              </a:path>
            </a:pathLst>
          </a:cu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941959" name="Объект 3"/>
          <p:cNvSpPr>
            <a:spLocks/>
          </p:cNvSpPr>
          <p:nvPr/>
        </p:nvSpPr>
        <p:spPr bwMode="auto">
          <a:xfrm>
            <a:off x="773113" y="230188"/>
            <a:ext cx="795655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355" tIns="33677" rIns="67355" bIns="33677"/>
          <a:lstStyle/>
          <a:p>
            <a:pPr marL="158750">
              <a:spcBef>
                <a:spcPts val="1688"/>
              </a:spcBef>
              <a:buClr>
                <a:srgbClr val="FB7009"/>
              </a:buClr>
              <a:buSzPct val="100000"/>
            </a:pPr>
            <a:r>
              <a:rPr lang="ru-RU" sz="2800" b="1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Банковские продукты для малого бизнеса</a:t>
            </a:r>
          </a:p>
        </p:txBody>
      </p:sp>
      <p:sp>
        <p:nvSpPr>
          <p:cNvPr id="9" name="Объект 3"/>
          <p:cNvSpPr txBox="1">
            <a:spLocks/>
          </p:cNvSpPr>
          <p:nvPr/>
        </p:nvSpPr>
        <p:spPr bwMode="auto">
          <a:xfrm>
            <a:off x="792163" y="1196975"/>
            <a:ext cx="7956550" cy="576263"/>
          </a:xfrm>
          <a:prstGeom prst="rect">
            <a:avLst/>
          </a:prstGeom>
          <a:noFill/>
          <a:ln>
            <a:noFill/>
          </a:ln>
          <a:extLst/>
        </p:spPr>
        <p:txBody>
          <a:bodyPr lIns="67355" tIns="33677" rIns="67355" bIns="33677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8750" indent="0" eaLnBrk="1" hangingPunct="1">
              <a:buFontTx/>
              <a:buNone/>
              <a:defRPr/>
            </a:pPr>
            <a:r>
              <a:rPr lang="ru-RU" sz="1900" b="1" dirty="0">
                <a:solidFill>
                  <a:schemeClr val="accent5">
                    <a:lumMod val="50000"/>
                  </a:schemeClr>
                </a:solidFill>
                <a:sym typeface="Helvetica" pitchFamily="34" charset="0"/>
              </a:rPr>
              <a:t>В продуктовой линейке представлены кредиты для различных целей и потребностей </a:t>
            </a:r>
            <a:r>
              <a:rPr lang="ru-RU" sz="1900" b="1" dirty="0" smtClean="0">
                <a:solidFill>
                  <a:schemeClr val="accent5">
                    <a:lumMod val="50000"/>
                  </a:schemeClr>
                </a:solidFill>
                <a:sym typeface="Helvetica" pitchFamily="34" charset="0"/>
              </a:rPr>
              <a:t>предпринимателей</a:t>
            </a:r>
            <a:r>
              <a:rPr lang="en-US" sz="1900" b="1" dirty="0" smtClean="0">
                <a:solidFill>
                  <a:schemeClr val="accent5">
                    <a:lumMod val="50000"/>
                  </a:schemeClr>
                </a:solidFill>
                <a:sym typeface="Helvetica" pitchFamily="34" charset="0"/>
              </a:rPr>
              <a:t> (</a:t>
            </a:r>
            <a:r>
              <a:rPr lang="ru-RU" sz="1900" b="1" dirty="0" smtClean="0">
                <a:solidFill>
                  <a:schemeClr val="accent5">
                    <a:lumMod val="50000"/>
                  </a:schemeClr>
                </a:solidFill>
                <a:sym typeface="Helvetica" pitchFamily="34" charset="0"/>
              </a:rPr>
              <a:t>более 10 продуктов):</a:t>
            </a:r>
            <a:endParaRPr lang="ru-RU" sz="1900" b="1" dirty="0">
              <a:solidFill>
                <a:schemeClr val="accent5">
                  <a:lumMod val="50000"/>
                </a:schemeClr>
              </a:solidFill>
              <a:sym typeface="Helvetica" pitchFamily="34" charset="0"/>
            </a:endParaRPr>
          </a:p>
        </p:txBody>
      </p:sp>
      <p:pic>
        <p:nvPicPr>
          <p:cNvPr id="294196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1313" y="2105025"/>
            <a:ext cx="1500187" cy="148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41962" name="Прямоугольник 1"/>
          <p:cNvSpPr>
            <a:spLocks noChangeArrowheads="1"/>
          </p:cNvSpPr>
          <p:nvPr/>
        </p:nvSpPr>
        <p:spPr bwMode="auto">
          <a:xfrm>
            <a:off x="1852613" y="2084388"/>
            <a:ext cx="2859087" cy="53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355" tIns="33677" rIns="67355" bIns="33677">
            <a:spAutoFit/>
          </a:bodyPr>
          <a:lstStyle/>
          <a:p>
            <a:r>
              <a:rPr lang="ru-RU" sz="1500" b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Кредиты под залог приобретаемого имущества:</a:t>
            </a:r>
          </a:p>
        </p:txBody>
      </p:sp>
      <p:sp>
        <p:nvSpPr>
          <p:cNvPr id="2941963" name="Прямоугольник 4"/>
          <p:cNvSpPr>
            <a:spLocks noChangeArrowheads="1"/>
          </p:cNvSpPr>
          <p:nvPr/>
        </p:nvSpPr>
        <p:spPr bwMode="auto">
          <a:xfrm>
            <a:off x="2051050" y="2533650"/>
            <a:ext cx="2035175" cy="909638"/>
          </a:xfrm>
          <a:prstGeom prst="rect">
            <a:avLst/>
          </a:prstGeom>
          <a:noFill/>
          <a:ln w="25400" algn="ctr">
            <a:noFill/>
            <a:round/>
            <a:headEnd/>
            <a:tailEnd/>
          </a:ln>
        </p:spPr>
        <p:txBody>
          <a:bodyPr lIns="67355" tIns="33677" rIns="67355" bIns="33677"/>
          <a:lstStyle/>
          <a:p>
            <a:pPr defTabSz="673100"/>
            <a:r>
              <a:rPr lang="ru-RU" sz="1400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Экспресс-Авто</a:t>
            </a:r>
          </a:p>
          <a:p>
            <a:pPr defTabSz="673100"/>
            <a:r>
              <a:rPr lang="ru-RU" sz="1400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Экспресс-Ипотека</a:t>
            </a:r>
          </a:p>
          <a:p>
            <a:pPr defTabSz="673100"/>
            <a:r>
              <a:rPr lang="ru-RU" sz="1400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Бизнес-Авто</a:t>
            </a:r>
          </a:p>
          <a:p>
            <a:pPr defTabSz="673100"/>
            <a:r>
              <a:rPr lang="ru-RU" sz="1400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Бизнес-Актив</a:t>
            </a:r>
          </a:p>
          <a:p>
            <a:pPr defTabSz="673100"/>
            <a:r>
              <a:rPr lang="ru-RU" sz="1400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Бизнес-Недвижимость</a:t>
            </a:r>
          </a:p>
        </p:txBody>
      </p:sp>
      <p:pic>
        <p:nvPicPr>
          <p:cNvPr id="2941964" name="Picture 3"/>
          <p:cNvPicPr>
            <a:picLocks noChangeAspect="1" noChangeArrowheads="1"/>
          </p:cNvPicPr>
          <p:nvPr/>
        </p:nvPicPr>
        <p:blipFill>
          <a:blip r:embed="rId4" cstate="print"/>
          <a:srcRect l="51917" t="33533" r="39478" b="53195"/>
          <a:stretch>
            <a:fillRect/>
          </a:stretch>
        </p:blipFill>
        <p:spPr bwMode="auto">
          <a:xfrm>
            <a:off x="5076825" y="3860800"/>
            <a:ext cx="1208088" cy="1223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41965" name="Прямоугольник 13"/>
          <p:cNvSpPr>
            <a:spLocks noChangeArrowheads="1"/>
          </p:cNvSpPr>
          <p:nvPr/>
        </p:nvSpPr>
        <p:spPr bwMode="auto">
          <a:xfrm>
            <a:off x="6569075" y="3733800"/>
            <a:ext cx="2624138" cy="53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355" tIns="33677" rIns="67355" bIns="33677">
            <a:spAutoFit/>
          </a:bodyPr>
          <a:lstStyle/>
          <a:p>
            <a:r>
              <a:rPr lang="ru-RU" sz="1500" b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Кредиты на пополнение оборотных средств:</a:t>
            </a:r>
          </a:p>
        </p:txBody>
      </p:sp>
      <p:sp>
        <p:nvSpPr>
          <p:cNvPr id="2941966" name="Прямоугольник 15"/>
          <p:cNvSpPr>
            <a:spLocks noChangeArrowheads="1"/>
          </p:cNvSpPr>
          <p:nvPr/>
        </p:nvSpPr>
        <p:spPr bwMode="auto">
          <a:xfrm>
            <a:off x="6586538" y="4367213"/>
            <a:ext cx="2089150" cy="536575"/>
          </a:xfrm>
          <a:prstGeom prst="rect">
            <a:avLst/>
          </a:prstGeom>
          <a:noFill/>
          <a:ln w="25400" algn="ctr">
            <a:noFill/>
            <a:round/>
            <a:headEnd/>
            <a:tailEnd/>
          </a:ln>
        </p:spPr>
        <p:txBody>
          <a:bodyPr lIns="67355" tIns="33677" rIns="67355" bIns="33677"/>
          <a:lstStyle/>
          <a:p>
            <a:pPr defTabSz="673100"/>
            <a:r>
              <a:rPr lang="ru-RU" sz="1400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Бизнес-Овердрафт</a:t>
            </a:r>
          </a:p>
          <a:p>
            <a:pPr defTabSz="673100"/>
            <a:endParaRPr lang="ru-RU" sz="1400">
              <a:solidFill>
                <a:srgbClr val="000000"/>
              </a:solidFill>
              <a:ea typeface="ヒラギノ角ゴ ProN W3"/>
              <a:cs typeface="ヒラギノ角ゴ ProN W3"/>
              <a:sym typeface="Helvetica" pitchFamily="34" charset="0"/>
            </a:endParaRPr>
          </a:p>
          <a:p>
            <a:pPr defTabSz="673100"/>
            <a:r>
              <a:rPr lang="ru-RU" sz="1400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Бизнес-Оборот</a:t>
            </a:r>
          </a:p>
        </p:txBody>
      </p:sp>
      <p:pic>
        <p:nvPicPr>
          <p:cNvPr id="2941967" name="Picture 3"/>
          <p:cNvPicPr>
            <a:picLocks noChangeAspect="1" noChangeArrowheads="1"/>
          </p:cNvPicPr>
          <p:nvPr/>
        </p:nvPicPr>
        <p:blipFill>
          <a:blip r:embed="rId4" cstate="print"/>
          <a:srcRect l="51353" t="54018" r="38757" b="30084"/>
          <a:stretch>
            <a:fillRect/>
          </a:stretch>
        </p:blipFill>
        <p:spPr bwMode="auto">
          <a:xfrm>
            <a:off x="279400" y="3722688"/>
            <a:ext cx="1700213" cy="153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41968" name="Picture 3"/>
          <p:cNvPicPr>
            <a:picLocks noChangeAspect="1" noChangeArrowheads="1"/>
          </p:cNvPicPr>
          <p:nvPr/>
        </p:nvPicPr>
        <p:blipFill>
          <a:blip r:embed="rId4" cstate="print"/>
          <a:srcRect l="21313" t="78285" r="71613" b="8025"/>
          <a:stretch>
            <a:fillRect/>
          </a:stretch>
        </p:blipFill>
        <p:spPr bwMode="auto">
          <a:xfrm>
            <a:off x="484188" y="5345113"/>
            <a:ext cx="1231900" cy="1125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41969" name="Picture 3"/>
          <p:cNvPicPr>
            <a:picLocks noChangeAspect="1" noChangeArrowheads="1"/>
          </p:cNvPicPr>
          <p:nvPr/>
        </p:nvPicPr>
        <p:blipFill>
          <a:blip r:embed="rId4" cstate="print"/>
          <a:srcRect l="52477" t="79558" r="39552" b="7706"/>
          <a:stretch>
            <a:fillRect/>
          </a:stretch>
        </p:blipFill>
        <p:spPr bwMode="auto">
          <a:xfrm>
            <a:off x="5076825" y="5446713"/>
            <a:ext cx="1363663" cy="1077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41970" name="Прямоугольник 23"/>
          <p:cNvSpPr>
            <a:spLocks noChangeArrowheads="1"/>
          </p:cNvSpPr>
          <p:nvPr/>
        </p:nvSpPr>
        <p:spPr bwMode="auto">
          <a:xfrm>
            <a:off x="6372225" y="5434013"/>
            <a:ext cx="2625725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355" tIns="33677" rIns="67355" bIns="33677">
            <a:spAutoFit/>
          </a:bodyPr>
          <a:lstStyle/>
          <a:p>
            <a:r>
              <a:rPr lang="ru-RU" sz="1500" b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Услуги РКО:</a:t>
            </a:r>
          </a:p>
        </p:txBody>
      </p:sp>
      <p:sp>
        <p:nvSpPr>
          <p:cNvPr id="2941971" name="Прямоугольник 24"/>
          <p:cNvSpPr>
            <a:spLocks noChangeArrowheads="1"/>
          </p:cNvSpPr>
          <p:nvPr/>
        </p:nvSpPr>
        <p:spPr bwMode="auto">
          <a:xfrm>
            <a:off x="6376988" y="5805488"/>
            <a:ext cx="2493962" cy="1181100"/>
          </a:xfrm>
          <a:prstGeom prst="rect">
            <a:avLst/>
          </a:prstGeom>
          <a:noFill/>
          <a:ln w="25400" algn="ctr">
            <a:noFill/>
            <a:round/>
            <a:headEnd/>
            <a:tailEnd/>
          </a:ln>
        </p:spPr>
        <p:txBody>
          <a:bodyPr lIns="67355" tIns="33677" rIns="67355" bIns="33677"/>
          <a:lstStyle/>
          <a:p>
            <a:pPr defTabSz="673100"/>
            <a:r>
              <a:rPr lang="ru-RU" sz="1400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Открытие расчетного счета</a:t>
            </a:r>
          </a:p>
          <a:p>
            <a:pPr defTabSz="673100"/>
            <a:endParaRPr lang="en-US" sz="900">
              <a:solidFill>
                <a:srgbClr val="000000"/>
              </a:solidFill>
              <a:ea typeface="ヒラギノ角ゴ ProN W3"/>
              <a:cs typeface="ヒラギノ角ゴ ProN W3"/>
              <a:sym typeface="Helvetica" pitchFamily="34" charset="0"/>
            </a:endParaRPr>
          </a:p>
          <a:p>
            <a:pPr defTabSz="673100"/>
            <a:r>
              <a:rPr lang="ru-RU" sz="1400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Дистанционное управление счетом</a:t>
            </a:r>
            <a:r>
              <a:rPr lang="ru-RU" sz="1200" b="1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 </a:t>
            </a:r>
            <a:r>
              <a:rPr lang="ru-RU" sz="1400" i="1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и др.</a:t>
            </a:r>
          </a:p>
        </p:txBody>
      </p:sp>
      <p:cxnSp>
        <p:nvCxnSpPr>
          <p:cNvPr id="2941972" name="Прямая соединительная линия 6"/>
          <p:cNvCxnSpPr>
            <a:cxnSpLocks noChangeShapeType="1"/>
          </p:cNvCxnSpPr>
          <p:nvPr/>
        </p:nvCxnSpPr>
        <p:spPr bwMode="auto">
          <a:xfrm>
            <a:off x="4949825" y="2032000"/>
            <a:ext cx="20638" cy="4467225"/>
          </a:xfrm>
          <a:prstGeom prst="line">
            <a:avLst/>
          </a:prstGeom>
          <a:noFill/>
          <a:ln w="25400" algn="ctr">
            <a:solidFill>
              <a:srgbClr val="000000"/>
            </a:solidFill>
            <a:prstDash val="sysDot"/>
            <a:round/>
            <a:headEnd/>
            <a:tailEnd/>
          </a:ln>
        </p:spPr>
      </p:cxnSp>
      <p:cxnSp>
        <p:nvCxnSpPr>
          <p:cNvPr id="2941973" name="Прямая соединительная линия 9"/>
          <p:cNvCxnSpPr>
            <a:cxnSpLocks noChangeShapeType="1"/>
          </p:cNvCxnSpPr>
          <p:nvPr/>
        </p:nvCxnSpPr>
        <p:spPr bwMode="auto">
          <a:xfrm flipV="1">
            <a:off x="311150" y="3662363"/>
            <a:ext cx="8742363" cy="25400"/>
          </a:xfrm>
          <a:prstGeom prst="line">
            <a:avLst/>
          </a:prstGeom>
          <a:noFill/>
          <a:ln w="25400" algn="ctr">
            <a:solidFill>
              <a:srgbClr val="000000"/>
            </a:solidFill>
            <a:prstDash val="sysDot"/>
            <a:round/>
            <a:headEnd/>
            <a:tailEnd/>
          </a:ln>
        </p:spPr>
      </p:cxnSp>
      <p:cxnSp>
        <p:nvCxnSpPr>
          <p:cNvPr id="2941974" name="Прямая соединительная линия 27"/>
          <p:cNvCxnSpPr>
            <a:cxnSpLocks noChangeShapeType="1"/>
          </p:cNvCxnSpPr>
          <p:nvPr/>
        </p:nvCxnSpPr>
        <p:spPr bwMode="auto">
          <a:xfrm flipV="1">
            <a:off x="277813" y="5259388"/>
            <a:ext cx="8775700" cy="12700"/>
          </a:xfrm>
          <a:prstGeom prst="line">
            <a:avLst/>
          </a:prstGeom>
          <a:noFill/>
          <a:ln w="25400" algn="ctr">
            <a:solidFill>
              <a:srgbClr val="000000"/>
            </a:solidFill>
            <a:prstDash val="sysDot"/>
            <a:round/>
            <a:headEnd/>
            <a:tailEnd/>
          </a:ln>
        </p:spPr>
      </p:cxnSp>
      <p:cxnSp>
        <p:nvCxnSpPr>
          <p:cNvPr id="2941975" name="Прямая соединительная линия 29"/>
          <p:cNvCxnSpPr>
            <a:cxnSpLocks noChangeShapeType="1"/>
          </p:cNvCxnSpPr>
          <p:nvPr/>
        </p:nvCxnSpPr>
        <p:spPr bwMode="auto">
          <a:xfrm flipV="1">
            <a:off x="311150" y="2032000"/>
            <a:ext cx="8742363" cy="17463"/>
          </a:xfrm>
          <a:prstGeom prst="line">
            <a:avLst/>
          </a:prstGeom>
          <a:noFill/>
          <a:ln w="25400" algn="ctr">
            <a:solidFill>
              <a:srgbClr val="000000"/>
            </a:solidFill>
            <a:prstDash val="sysDot"/>
            <a:round/>
            <a:headEnd/>
            <a:tailEnd/>
          </a:ln>
        </p:spPr>
      </p:cxnSp>
      <p:sp>
        <p:nvSpPr>
          <p:cNvPr id="2941976" name="Прямоугольник 20"/>
          <p:cNvSpPr>
            <a:spLocks noChangeArrowheads="1"/>
          </p:cNvSpPr>
          <p:nvPr/>
        </p:nvSpPr>
        <p:spPr bwMode="auto">
          <a:xfrm>
            <a:off x="1860550" y="5340350"/>
            <a:ext cx="3097213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355" tIns="33677" rIns="67355" bIns="33677">
            <a:spAutoFit/>
          </a:bodyPr>
          <a:lstStyle/>
          <a:p>
            <a:r>
              <a:rPr lang="ru-RU" sz="1500" b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Беззалоговые кредиты :</a:t>
            </a:r>
          </a:p>
        </p:txBody>
      </p:sp>
      <p:sp>
        <p:nvSpPr>
          <p:cNvPr id="853016" name="Прямоугольник 21"/>
          <p:cNvSpPr>
            <a:spLocks noChangeArrowheads="1"/>
          </p:cNvSpPr>
          <p:nvPr/>
        </p:nvSpPr>
        <p:spPr bwMode="auto">
          <a:xfrm>
            <a:off x="1860550" y="5661025"/>
            <a:ext cx="2944813" cy="534988"/>
          </a:xfrm>
          <a:prstGeom prst="rect">
            <a:avLst/>
          </a:prstGeom>
          <a:noFill/>
          <a:ln w="25400" algn="ctr">
            <a:noFill/>
            <a:round/>
            <a:headEnd/>
            <a:tailEnd/>
          </a:ln>
        </p:spPr>
        <p:txBody>
          <a:bodyPr lIns="67355" tIns="33677" rIns="67355" bIns="33677"/>
          <a:lstStyle/>
          <a:p>
            <a:pPr defTabSz="673100">
              <a:defRPr/>
            </a:pPr>
            <a:r>
              <a:rPr lang="ru-RU" sz="1400" b="1" dirty="0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Доверие </a:t>
            </a:r>
            <a:r>
              <a:rPr lang="ru-RU" sz="1400" i="1" dirty="0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(при годовой выручке до 60 млн. руб.) </a:t>
            </a:r>
          </a:p>
          <a:p>
            <a:pPr defTabSz="673100">
              <a:defRPr/>
            </a:pPr>
            <a:endParaRPr lang="ru-RU" sz="1050" dirty="0">
              <a:solidFill>
                <a:srgbClr val="000000"/>
              </a:solidFill>
              <a:ea typeface="ヒラギノ角ゴ ProN W3"/>
              <a:cs typeface="ヒラギノ角ゴ ProN W3"/>
              <a:sym typeface="Helvetica" pitchFamily="34" charset="0"/>
            </a:endParaRPr>
          </a:p>
          <a:p>
            <a:pPr defTabSz="673100">
              <a:defRPr/>
            </a:pPr>
            <a:r>
              <a:rPr lang="ru-RU" sz="1400" b="1" dirty="0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Бизнес-Доверие </a:t>
            </a:r>
            <a:r>
              <a:rPr lang="ru-RU" sz="1400" dirty="0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 </a:t>
            </a:r>
            <a:r>
              <a:rPr lang="ru-RU" sz="1400" i="1" dirty="0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(при годовой выручке до 400 млн. руб.) </a:t>
            </a:r>
          </a:p>
          <a:p>
            <a:pPr defTabSz="673100">
              <a:defRPr/>
            </a:pPr>
            <a:endParaRPr lang="ru-RU" sz="1400" dirty="0">
              <a:solidFill>
                <a:srgbClr val="000000"/>
              </a:solidFill>
              <a:ea typeface="ヒラギノ角ゴ ProN W3"/>
              <a:cs typeface="ヒラギノ角ゴ ProN W3"/>
              <a:sym typeface="Helvetica" pitchFamily="34" charset="0"/>
            </a:endParaRPr>
          </a:p>
        </p:txBody>
      </p:sp>
      <p:sp>
        <p:nvSpPr>
          <p:cNvPr id="2941978" name="Прямоугольник 17"/>
          <p:cNvSpPr>
            <a:spLocks noChangeArrowheads="1"/>
          </p:cNvSpPr>
          <p:nvPr/>
        </p:nvSpPr>
        <p:spPr bwMode="auto">
          <a:xfrm>
            <a:off x="2068513" y="4264025"/>
            <a:ext cx="2263775" cy="536575"/>
          </a:xfrm>
          <a:prstGeom prst="rect">
            <a:avLst/>
          </a:prstGeom>
          <a:noFill/>
          <a:ln w="25400" algn="ctr">
            <a:noFill/>
            <a:round/>
            <a:headEnd/>
            <a:tailEnd/>
          </a:ln>
        </p:spPr>
        <p:txBody>
          <a:bodyPr lIns="67355" tIns="33677" rIns="67355" bIns="33677"/>
          <a:lstStyle/>
          <a:p>
            <a:pPr defTabSz="673100"/>
            <a:r>
              <a:rPr lang="ru-RU" sz="1400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Бизнес-Инвест</a:t>
            </a:r>
          </a:p>
          <a:p>
            <a:pPr defTabSz="673100"/>
            <a:endParaRPr lang="ru-RU" sz="800">
              <a:solidFill>
                <a:srgbClr val="000000"/>
              </a:solidFill>
              <a:ea typeface="ヒラギノ角ゴ ProN W3"/>
              <a:cs typeface="ヒラギノ角ゴ ProN W3"/>
              <a:sym typeface="Helvetica" pitchFamily="34" charset="0"/>
            </a:endParaRPr>
          </a:p>
          <a:p>
            <a:pPr defTabSz="673100"/>
            <a:r>
              <a:rPr lang="ru-RU" sz="1400" u="sng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Бизнес-Проект</a:t>
            </a:r>
            <a:r>
              <a:rPr lang="ru-RU" sz="1400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 </a:t>
            </a:r>
          </a:p>
          <a:p>
            <a:pPr defTabSz="673100"/>
            <a:endParaRPr lang="ru-RU" sz="800">
              <a:solidFill>
                <a:srgbClr val="000000"/>
              </a:solidFill>
              <a:ea typeface="ヒラギノ角ゴ ProN W3"/>
              <a:cs typeface="ヒラギノ角ゴ ProN W3"/>
              <a:sym typeface="Helvetica" pitchFamily="34" charset="0"/>
            </a:endParaRPr>
          </a:p>
          <a:p>
            <a:pPr defTabSz="673100"/>
            <a:r>
              <a:rPr lang="ru-RU" sz="1400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Бизнес-Рента</a:t>
            </a:r>
          </a:p>
        </p:txBody>
      </p:sp>
      <p:sp>
        <p:nvSpPr>
          <p:cNvPr id="2941979" name="Прямоугольник 18"/>
          <p:cNvSpPr>
            <a:spLocks noChangeArrowheads="1"/>
          </p:cNvSpPr>
          <p:nvPr/>
        </p:nvSpPr>
        <p:spPr bwMode="auto">
          <a:xfrm>
            <a:off x="1831975" y="3687763"/>
            <a:ext cx="3125788" cy="53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355" tIns="33677" rIns="67355" bIns="33677">
            <a:spAutoFit/>
          </a:bodyPr>
          <a:lstStyle/>
          <a:p>
            <a:r>
              <a:rPr lang="ru-RU" sz="1500" b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Финансирование новых проектов бизнеса, кредиты для развития:</a:t>
            </a:r>
          </a:p>
        </p:txBody>
      </p:sp>
      <p:sp>
        <p:nvSpPr>
          <p:cNvPr id="2941980" name="Прямоугольник 17"/>
          <p:cNvSpPr>
            <a:spLocks noChangeArrowheads="1"/>
          </p:cNvSpPr>
          <p:nvPr/>
        </p:nvSpPr>
        <p:spPr bwMode="auto">
          <a:xfrm>
            <a:off x="6196013" y="2411413"/>
            <a:ext cx="2263775" cy="536575"/>
          </a:xfrm>
          <a:prstGeom prst="rect">
            <a:avLst/>
          </a:prstGeom>
          <a:noFill/>
          <a:ln w="25400" algn="ctr">
            <a:noFill/>
            <a:round/>
            <a:headEnd/>
            <a:tailEnd/>
          </a:ln>
        </p:spPr>
        <p:txBody>
          <a:bodyPr lIns="67355" tIns="33677" rIns="67355" bIns="33677"/>
          <a:lstStyle/>
          <a:p>
            <a:pPr defTabSz="673100"/>
            <a:r>
              <a:rPr lang="ru-RU" sz="2000" u="sng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Бизнес-Старт</a:t>
            </a:r>
          </a:p>
          <a:p>
            <a:pPr defTabSz="673100"/>
            <a:endParaRPr lang="ru-RU" sz="1200" b="1">
              <a:solidFill>
                <a:srgbClr val="000000"/>
              </a:solidFill>
              <a:latin typeface="Helvetica" pitchFamily="34" charset="0"/>
              <a:ea typeface="ヒラギノ角ゴ ProN W3"/>
              <a:cs typeface="ヒラギノ角ゴ ProN W3"/>
              <a:sym typeface="Helvetica" pitchFamily="34" charset="0"/>
            </a:endParaRPr>
          </a:p>
          <a:p>
            <a:pPr defTabSz="673100"/>
            <a:endParaRPr lang="ru-RU" sz="1200" b="1">
              <a:solidFill>
                <a:srgbClr val="000000"/>
              </a:solidFill>
              <a:latin typeface="Helvetica" pitchFamily="34" charset="0"/>
              <a:ea typeface="ヒラギノ角ゴ ProN W3"/>
              <a:cs typeface="ヒラギノ角ゴ ProN W3"/>
              <a:sym typeface="Helvetica" pitchFamily="34" charset="0"/>
            </a:endParaRPr>
          </a:p>
          <a:p>
            <a:pPr defTabSz="673100"/>
            <a:endParaRPr lang="ru-RU" sz="1200" b="1">
              <a:solidFill>
                <a:srgbClr val="000000"/>
              </a:solidFill>
              <a:latin typeface="Helvetica" pitchFamily="34" charset="0"/>
              <a:ea typeface="ヒラギノ角ゴ ProN W3"/>
              <a:cs typeface="ヒラギノ角ゴ ProN W3"/>
              <a:sym typeface="Helvetica" pitchFamily="34" charset="0"/>
            </a:endParaRPr>
          </a:p>
        </p:txBody>
      </p:sp>
      <p:sp>
        <p:nvSpPr>
          <p:cNvPr id="2941981" name="Прямоугольник 18"/>
          <p:cNvSpPr>
            <a:spLocks noChangeArrowheads="1"/>
          </p:cNvSpPr>
          <p:nvPr/>
        </p:nvSpPr>
        <p:spPr bwMode="auto">
          <a:xfrm>
            <a:off x="6227763" y="2105025"/>
            <a:ext cx="2592387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355" tIns="33677" rIns="67355" bIns="33677">
            <a:spAutoFit/>
          </a:bodyPr>
          <a:lstStyle/>
          <a:p>
            <a:r>
              <a:rPr lang="ru-RU" sz="1500" b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Кредит на начало бизнеса</a:t>
            </a:r>
          </a:p>
        </p:txBody>
      </p:sp>
      <p:sp>
        <p:nvSpPr>
          <p:cNvPr id="2941982" name="AutoShape 26" descr="Описание: D:\Картинки\Start up 3.jpg"/>
          <p:cNvSpPr>
            <a:spLocks noChangeAspect="1" noChangeArrowheads="1"/>
          </p:cNvSpPr>
          <p:nvPr/>
        </p:nvSpPr>
        <p:spPr bwMode="auto">
          <a:xfrm>
            <a:off x="4095750" y="2714625"/>
            <a:ext cx="1419225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  <a:ea typeface="ヒラギノ角ゴ ProN W3"/>
              <a:cs typeface="ヒラギノ角ゴ ProN W3"/>
            </a:endParaRPr>
          </a:p>
        </p:txBody>
      </p:sp>
      <p:sp>
        <p:nvSpPr>
          <p:cNvPr id="2941983" name="AutoShape 27" descr="Описание: D:\Картинки\Start up 3.jpg"/>
          <p:cNvSpPr>
            <a:spLocks noChangeAspect="1" noChangeArrowheads="1"/>
          </p:cNvSpPr>
          <p:nvPr/>
        </p:nvSpPr>
        <p:spPr bwMode="auto">
          <a:xfrm>
            <a:off x="4095750" y="2714625"/>
            <a:ext cx="1419225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  <a:ea typeface="ヒラギノ角ゴ ProN W3"/>
              <a:cs typeface="ヒラギノ角ゴ ProN W3"/>
            </a:endParaRPr>
          </a:p>
        </p:txBody>
      </p:sp>
      <p:sp>
        <p:nvSpPr>
          <p:cNvPr id="2941984" name="Rectangle 29"/>
          <p:cNvSpPr>
            <a:spLocks noChangeArrowheads="1"/>
          </p:cNvSpPr>
          <p:nvPr/>
        </p:nvSpPr>
        <p:spPr bwMode="auto">
          <a:xfrm>
            <a:off x="3679825" y="4581525"/>
            <a:ext cx="125253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 b="1" i="1">
                <a:solidFill>
                  <a:srgbClr val="C00000"/>
                </a:solidFill>
                <a:ea typeface="ヒラギノ角ゴ ProN W3"/>
                <a:cs typeface="ヒラギノ角ゴ ProN W3"/>
              </a:rPr>
              <a:t>Innovation</a:t>
            </a:r>
            <a:endParaRPr lang="ru-RU" sz="1400" b="1" i="1">
              <a:solidFill>
                <a:srgbClr val="C00000"/>
              </a:solidFill>
              <a:ea typeface="ヒラギノ角ゴ ProN W3"/>
              <a:cs typeface="ヒラギノ角ゴ ProN W3"/>
            </a:endParaRPr>
          </a:p>
        </p:txBody>
      </p:sp>
      <p:sp>
        <p:nvSpPr>
          <p:cNvPr id="2941985" name="Прямоугольник 18"/>
          <p:cNvSpPr>
            <a:spLocks noChangeArrowheads="1"/>
          </p:cNvSpPr>
          <p:nvPr/>
        </p:nvSpPr>
        <p:spPr bwMode="auto">
          <a:xfrm>
            <a:off x="5724525" y="2987675"/>
            <a:ext cx="3267075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355" tIns="33677" rIns="67355" bIns="33677">
            <a:spAutoFit/>
          </a:bodyPr>
          <a:lstStyle/>
          <a:p>
            <a:r>
              <a:rPr lang="ru-RU" sz="1500" b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Комплексные (пакетные) решения</a:t>
            </a:r>
          </a:p>
          <a:p>
            <a:endParaRPr lang="ru-RU" sz="400">
              <a:solidFill>
                <a:srgbClr val="000000"/>
              </a:solidFill>
              <a:ea typeface="ヒラギノ角ゴ ProN W3"/>
              <a:cs typeface="ヒラギノ角ゴ ProN W3"/>
            </a:endParaRPr>
          </a:p>
          <a:p>
            <a:r>
              <a:rPr lang="ru-RU" sz="1400">
                <a:solidFill>
                  <a:srgbClr val="000000"/>
                </a:solidFill>
                <a:ea typeface="ヒラギノ角ゴ ProN W3"/>
                <a:cs typeface="ヒラギノ角ゴ ProN W3"/>
              </a:rPr>
              <a:t>Тарифный план «Лига бизнеса» </a:t>
            </a:r>
          </a:p>
        </p:txBody>
      </p:sp>
      <p:sp>
        <p:nvSpPr>
          <p:cNvPr id="2941986" name="Rectangle 30"/>
          <p:cNvSpPr>
            <a:spLocks noChangeArrowheads="1"/>
          </p:cNvSpPr>
          <p:nvPr/>
        </p:nvSpPr>
        <p:spPr bwMode="auto">
          <a:xfrm>
            <a:off x="8504238" y="3246438"/>
            <a:ext cx="74771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 b="1" i="1">
                <a:solidFill>
                  <a:srgbClr val="C00000"/>
                </a:solidFill>
                <a:ea typeface="ヒラギノ角ゴ ProN W3"/>
                <a:cs typeface="ヒラギノ角ゴ ProN W3"/>
              </a:rPr>
              <a:t>NEW</a:t>
            </a:r>
            <a:endParaRPr lang="ru-RU" sz="1400" b="1" i="1">
              <a:solidFill>
                <a:srgbClr val="C00000"/>
              </a:solidFill>
              <a:ea typeface="ヒラギノ角ゴ ProN W3"/>
              <a:cs typeface="ヒラギノ角ゴ ProN W3"/>
            </a:endParaRPr>
          </a:p>
        </p:txBody>
      </p:sp>
      <p:pic>
        <p:nvPicPr>
          <p:cNvPr id="2941987" name="Picture 4" descr="https://encrypted-tbn2.gstatic.com/images?q=tbn:ANd9GcQm4X2edtW2bzDW_onN1WJfE8n6y7jjkSjnJghAFFgx4NSa4kWWpW4w57P8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60938" y="2924175"/>
            <a:ext cx="676275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41988" name="Rectangle 29"/>
          <p:cNvSpPr>
            <a:spLocks noChangeArrowheads="1"/>
          </p:cNvSpPr>
          <p:nvPr/>
        </p:nvSpPr>
        <p:spPr bwMode="auto">
          <a:xfrm>
            <a:off x="8024813" y="2460625"/>
            <a:ext cx="12525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 b="1" i="1">
                <a:solidFill>
                  <a:srgbClr val="C00000"/>
                </a:solidFill>
                <a:ea typeface="ヒラギノ角ゴ ProN W3"/>
                <a:cs typeface="ヒラギノ角ゴ ProN W3"/>
              </a:rPr>
              <a:t>Innovation</a:t>
            </a:r>
            <a:endParaRPr lang="ru-RU" sz="1400" b="1" i="1">
              <a:solidFill>
                <a:srgbClr val="C00000"/>
              </a:solidFill>
              <a:ea typeface="ヒラギノ角ゴ ProN W3"/>
              <a:cs typeface="ヒラギノ角ゴ ProN W3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08161" name="Группа 10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2" name="Прямоугольник 11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3" name="Овал 12"/>
            <p:cNvSpPr/>
            <p:nvPr/>
          </p:nvSpPr>
          <p:spPr>
            <a:xfrm>
              <a:off x="322263" y="500063"/>
              <a:ext cx="785812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714375" y="357188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Овал 14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Полилиния 15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2908162" name="Rectangle 2"/>
          <p:cNvSpPr>
            <a:spLocks noGrp="1"/>
          </p:cNvSpPr>
          <p:nvPr>
            <p:ph type="title"/>
          </p:nvPr>
        </p:nvSpPr>
        <p:spPr>
          <a:xfrm>
            <a:off x="457200" y="-26988"/>
            <a:ext cx="8229600" cy="649288"/>
          </a:xfrm>
        </p:spPr>
        <p:txBody>
          <a:bodyPr/>
          <a:lstStyle/>
          <a:p>
            <a:r>
              <a:rPr lang="ru-RU" sz="2800" b="1" smtClean="0">
                <a:latin typeface="Arial" charset="0"/>
                <a:cs typeface="Arial" charset="0"/>
              </a:rPr>
              <a:t>Малый бизнес в России</a:t>
            </a:r>
          </a:p>
        </p:txBody>
      </p:sp>
      <p:sp>
        <p:nvSpPr>
          <p:cNvPr id="2908163" name="TextBox 23"/>
          <p:cNvSpPr txBox="1">
            <a:spLocks noChangeArrowheads="1"/>
          </p:cNvSpPr>
          <p:nvPr/>
        </p:nvSpPr>
        <p:spPr bwMode="auto">
          <a:xfrm>
            <a:off x="1727200" y="908050"/>
            <a:ext cx="7416800" cy="4616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Tx/>
              <a:buChar char="•"/>
            </a:pPr>
            <a:r>
              <a:rPr lang="ru-RU" sz="2000">
                <a:solidFill>
                  <a:schemeClr val="tx2"/>
                </a:solidFill>
              </a:rPr>
              <a:t>создает новые рабочие места</a:t>
            </a:r>
            <a:r>
              <a:rPr lang="ru-RU" sz="2400">
                <a:solidFill>
                  <a:schemeClr val="tx2"/>
                </a:solidFill>
              </a:rPr>
              <a:t>;</a:t>
            </a:r>
          </a:p>
          <a:p>
            <a:endParaRPr lang="ru-RU" sz="2000">
              <a:solidFill>
                <a:schemeClr val="tx2"/>
              </a:solidFill>
            </a:endParaRPr>
          </a:p>
          <a:p>
            <a:pPr>
              <a:buFontTx/>
              <a:buChar char="•"/>
            </a:pPr>
            <a:r>
              <a:rPr lang="ru-RU" sz="2000">
                <a:solidFill>
                  <a:schemeClr val="tx2"/>
                </a:solidFill>
              </a:rPr>
              <a:t>обеспечивает самозанятость</a:t>
            </a:r>
            <a:r>
              <a:rPr lang="ru-RU" sz="2400">
                <a:solidFill>
                  <a:schemeClr val="tx2"/>
                </a:solidFill>
              </a:rPr>
              <a:t>;</a:t>
            </a:r>
          </a:p>
          <a:p>
            <a:endParaRPr lang="ru-RU">
              <a:solidFill>
                <a:schemeClr val="tx2"/>
              </a:solidFill>
            </a:endParaRPr>
          </a:p>
          <a:p>
            <a:pPr>
              <a:buFontTx/>
              <a:buChar char="•"/>
            </a:pPr>
            <a:r>
              <a:rPr lang="ru-RU" sz="2000">
                <a:solidFill>
                  <a:schemeClr val="tx2"/>
                </a:solidFill>
              </a:rPr>
              <a:t>стимулирует рост инновационности экономики;</a:t>
            </a:r>
          </a:p>
          <a:p>
            <a:endParaRPr lang="ru-RU" sz="2000">
              <a:solidFill>
                <a:schemeClr val="tx2"/>
              </a:solidFill>
            </a:endParaRPr>
          </a:p>
          <a:p>
            <a:pPr>
              <a:buFontTx/>
              <a:buChar char="•"/>
            </a:pPr>
            <a:r>
              <a:rPr lang="ru-RU" sz="2000">
                <a:solidFill>
                  <a:schemeClr val="tx2"/>
                </a:solidFill>
              </a:rPr>
              <a:t>повышает конкурентоспособность российских предприятий;</a:t>
            </a:r>
          </a:p>
          <a:p>
            <a:endParaRPr lang="ru-RU" sz="2000">
              <a:solidFill>
                <a:schemeClr val="tx2"/>
              </a:solidFill>
            </a:endParaRPr>
          </a:p>
          <a:p>
            <a:pPr algn="just">
              <a:buFontTx/>
              <a:buChar char="•"/>
            </a:pPr>
            <a:r>
              <a:rPr lang="ru-RU" sz="2000">
                <a:solidFill>
                  <a:schemeClr val="tx2"/>
                </a:solidFill>
              </a:rPr>
              <a:t>демонстрирует гибкость и многообразие форм предпринимательской активности</a:t>
            </a:r>
            <a:r>
              <a:rPr lang="ru-RU" sz="2400">
                <a:solidFill>
                  <a:schemeClr val="tx2"/>
                </a:solidFill>
              </a:rPr>
              <a:t>;</a:t>
            </a:r>
          </a:p>
          <a:p>
            <a:endParaRPr lang="ru-RU" sz="2000">
              <a:solidFill>
                <a:schemeClr val="tx2"/>
              </a:solidFill>
            </a:endParaRPr>
          </a:p>
          <a:p>
            <a:pPr>
              <a:buFontTx/>
              <a:buChar char="•"/>
            </a:pPr>
            <a:r>
              <a:rPr lang="ru-RU" sz="2000">
                <a:solidFill>
                  <a:schemeClr val="tx2"/>
                </a:solidFill>
              </a:rPr>
              <a:t>смягчает влияние экономических кризисов</a:t>
            </a:r>
            <a:r>
              <a:rPr lang="ru-RU" sz="2400">
                <a:solidFill>
                  <a:schemeClr val="tx2"/>
                </a:solidFill>
              </a:rPr>
              <a:t>;</a:t>
            </a:r>
          </a:p>
          <a:p>
            <a:endParaRPr lang="ru-RU" sz="2000">
              <a:solidFill>
                <a:schemeClr val="tx2"/>
              </a:solidFill>
            </a:endParaRPr>
          </a:p>
          <a:p>
            <a:pPr>
              <a:buFontTx/>
              <a:buChar char="•"/>
            </a:pPr>
            <a:r>
              <a:rPr lang="ru-RU" sz="2000">
                <a:solidFill>
                  <a:schemeClr val="tx2"/>
                </a:solidFill>
              </a:rPr>
              <a:t>«прививка» от сырьевой зависимости</a:t>
            </a:r>
            <a:endParaRPr lang="ru-RU" sz="2400">
              <a:solidFill>
                <a:schemeClr val="tx2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971550" y="981075"/>
            <a:ext cx="619125" cy="417513"/>
          </a:xfrm>
          <a:prstGeom prst="roundRect">
            <a:avLst>
              <a:gd name="adj" fmla="val 10000"/>
            </a:avLst>
          </a:prstGeom>
          <a:blipFill rotWithShape="0">
            <a:blip r:embed="rId2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Скругленный прямоугольник 11"/>
          <p:cNvSpPr/>
          <p:nvPr/>
        </p:nvSpPr>
        <p:spPr>
          <a:xfrm>
            <a:off x="971550" y="1557338"/>
            <a:ext cx="619125" cy="417512"/>
          </a:xfrm>
          <a:prstGeom prst="roundRect">
            <a:avLst>
              <a:gd name="adj" fmla="val 10000"/>
            </a:avLst>
          </a:prstGeom>
          <a:blipFill rotWithShape="0">
            <a:blip r:embed="rId2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" name="Скругленный прямоугольник 11"/>
          <p:cNvSpPr/>
          <p:nvPr/>
        </p:nvSpPr>
        <p:spPr>
          <a:xfrm>
            <a:off x="971550" y="2276475"/>
            <a:ext cx="619125" cy="417513"/>
          </a:xfrm>
          <a:prstGeom prst="roundRect">
            <a:avLst>
              <a:gd name="adj" fmla="val 10000"/>
            </a:avLst>
          </a:prstGeom>
          <a:blipFill rotWithShape="0">
            <a:blip r:embed="rId2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" name="Скругленный прямоугольник 11"/>
          <p:cNvSpPr/>
          <p:nvPr/>
        </p:nvSpPr>
        <p:spPr>
          <a:xfrm>
            <a:off x="971550" y="2852738"/>
            <a:ext cx="619125" cy="417512"/>
          </a:xfrm>
          <a:prstGeom prst="roundRect">
            <a:avLst>
              <a:gd name="adj" fmla="val 10000"/>
            </a:avLst>
          </a:prstGeom>
          <a:blipFill rotWithShape="0">
            <a:blip r:embed="rId2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6" name="Скругленный прямоугольник 11"/>
          <p:cNvSpPr/>
          <p:nvPr/>
        </p:nvSpPr>
        <p:spPr>
          <a:xfrm>
            <a:off x="971550" y="3500438"/>
            <a:ext cx="619125" cy="417512"/>
          </a:xfrm>
          <a:prstGeom prst="roundRect">
            <a:avLst>
              <a:gd name="adj" fmla="val 10000"/>
            </a:avLst>
          </a:prstGeom>
          <a:blipFill rotWithShape="0">
            <a:blip r:embed="rId2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7" name="Скругленный прямоугольник 11"/>
          <p:cNvSpPr/>
          <p:nvPr/>
        </p:nvSpPr>
        <p:spPr>
          <a:xfrm>
            <a:off x="971550" y="4437063"/>
            <a:ext cx="619125" cy="417512"/>
          </a:xfrm>
          <a:prstGeom prst="roundRect">
            <a:avLst>
              <a:gd name="adj" fmla="val 10000"/>
            </a:avLst>
          </a:prstGeom>
          <a:blipFill rotWithShape="0">
            <a:blip r:embed="rId2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Скругленный прямоугольник 11"/>
          <p:cNvSpPr/>
          <p:nvPr/>
        </p:nvSpPr>
        <p:spPr>
          <a:xfrm>
            <a:off x="971550" y="5013325"/>
            <a:ext cx="619125" cy="417513"/>
          </a:xfrm>
          <a:prstGeom prst="roundRect">
            <a:avLst>
              <a:gd name="adj" fmla="val 10000"/>
            </a:avLst>
          </a:prstGeom>
          <a:blipFill rotWithShape="0">
            <a:blip r:embed="rId2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88D182F-EE67-46EC-AD1D-50BF6976A64C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8F7520F-828E-46A1-8AD0-580C930E3429}" type="slidenum">
              <a:rPr lang="ru-RU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30</a:t>
            </a:fld>
            <a:endParaRPr lang="ru-RU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0" y="0"/>
            <a:ext cx="714375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" name="Овал 4"/>
          <p:cNvSpPr/>
          <p:nvPr/>
        </p:nvSpPr>
        <p:spPr bwMode="auto">
          <a:xfrm>
            <a:off x="322263" y="752475"/>
            <a:ext cx="785812" cy="7858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" name="Овал 5"/>
          <p:cNvSpPr/>
          <p:nvPr/>
        </p:nvSpPr>
        <p:spPr bwMode="auto">
          <a:xfrm>
            <a:off x="565150" y="1017588"/>
            <a:ext cx="276225" cy="276225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" name="Полилиния 6"/>
          <p:cNvSpPr/>
          <p:nvPr/>
        </p:nvSpPr>
        <p:spPr bwMode="auto">
          <a:xfrm>
            <a:off x="700088" y="981075"/>
            <a:ext cx="6680200" cy="190500"/>
          </a:xfrm>
          <a:custGeom>
            <a:avLst/>
            <a:gdLst>
              <a:gd name="connsiteX0" fmla="*/ 0 w 3136900"/>
              <a:gd name="connsiteY0" fmla="*/ 279400 h 279400"/>
              <a:gd name="connsiteX1" fmla="*/ 203200 w 3136900"/>
              <a:gd name="connsiteY1" fmla="*/ 0 h 279400"/>
              <a:gd name="connsiteX2" fmla="*/ 3136900 w 3136900"/>
              <a:gd name="connsiteY2" fmla="*/ 635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36900" h="279400">
                <a:moveTo>
                  <a:pt x="0" y="279400"/>
                </a:moveTo>
                <a:lnTo>
                  <a:pt x="203200" y="0"/>
                </a:lnTo>
                <a:lnTo>
                  <a:pt x="3136900" y="6350"/>
                </a:lnTo>
              </a:path>
            </a:pathLst>
          </a:cu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944006" name="Заголовок 1"/>
          <p:cNvSpPr txBox="1">
            <a:spLocks/>
          </p:cNvSpPr>
          <p:nvPr/>
        </p:nvSpPr>
        <p:spPr bwMode="auto">
          <a:xfrm>
            <a:off x="1143000" y="-9525"/>
            <a:ext cx="7605713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/>
            <a:r>
              <a:rPr lang="ru-RU" sz="2800" b="1"/>
              <a:t>Портал «Деловая среда»: результаты</a:t>
            </a:r>
          </a:p>
          <a:p>
            <a:pPr algn="ctr" eaLnBrk="0" hangingPunct="0"/>
            <a:r>
              <a:rPr lang="en-US" b="1"/>
              <a:t>www</a:t>
            </a:r>
            <a:r>
              <a:rPr lang="ru-RU" b="1"/>
              <a:t>.dasreda.ru</a:t>
            </a:r>
          </a:p>
          <a:p>
            <a:pPr algn="ctr" eaLnBrk="0" hangingPunct="0"/>
            <a:endParaRPr lang="ru-RU" sz="2800" b="1"/>
          </a:p>
        </p:txBody>
      </p:sp>
      <p:pic>
        <p:nvPicPr>
          <p:cNvPr id="294400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5963" y="1773238"/>
            <a:ext cx="8174037" cy="3560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44008" name="TextBox 24"/>
          <p:cNvSpPr txBox="1">
            <a:spLocks noChangeArrowheads="1"/>
          </p:cNvSpPr>
          <p:nvPr/>
        </p:nvSpPr>
        <p:spPr bwMode="auto">
          <a:xfrm>
            <a:off x="998538" y="5519738"/>
            <a:ext cx="7632700" cy="830262"/>
          </a:xfrm>
          <a:prstGeom prst="rect">
            <a:avLst/>
          </a:prstGeom>
          <a:noFill/>
          <a:ln w="19050">
            <a:solidFill>
              <a:srgbClr val="00B05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400" b="1">
                <a:solidFill>
                  <a:srgbClr val="00B050"/>
                </a:solidFill>
              </a:rPr>
              <a:t>2013</a:t>
            </a:r>
          </a:p>
          <a:p>
            <a:r>
              <a:rPr lang="ru-RU" sz="2400" b="1">
                <a:solidFill>
                  <a:srgbClr val="00B050"/>
                </a:solidFill>
              </a:rPr>
              <a:t>600 000 уникальных посетителей в месяц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4502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08075" y="812800"/>
            <a:ext cx="8072438" cy="4729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Номер слайда 2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7FDDF21C-0A56-4793-B7F8-B798F3D56A7F}" type="slidenum">
              <a:rPr lang="ru-RU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31</a:t>
            </a:fld>
            <a:endParaRPr lang="ru-RU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0" y="0"/>
            <a:ext cx="56515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" name="Овал 4"/>
          <p:cNvSpPr/>
          <p:nvPr/>
        </p:nvSpPr>
        <p:spPr bwMode="auto">
          <a:xfrm>
            <a:off x="322263" y="531813"/>
            <a:ext cx="785812" cy="78581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" name="Овал 5"/>
          <p:cNvSpPr/>
          <p:nvPr/>
        </p:nvSpPr>
        <p:spPr bwMode="auto">
          <a:xfrm>
            <a:off x="565150" y="796925"/>
            <a:ext cx="276225" cy="276225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" name="Полилиния 6"/>
          <p:cNvSpPr/>
          <p:nvPr/>
        </p:nvSpPr>
        <p:spPr bwMode="auto">
          <a:xfrm>
            <a:off x="749300" y="603250"/>
            <a:ext cx="6680200" cy="190500"/>
          </a:xfrm>
          <a:custGeom>
            <a:avLst/>
            <a:gdLst>
              <a:gd name="connsiteX0" fmla="*/ 0 w 3136900"/>
              <a:gd name="connsiteY0" fmla="*/ 279400 h 279400"/>
              <a:gd name="connsiteX1" fmla="*/ 203200 w 3136900"/>
              <a:gd name="connsiteY1" fmla="*/ 0 h 279400"/>
              <a:gd name="connsiteX2" fmla="*/ 3136900 w 3136900"/>
              <a:gd name="connsiteY2" fmla="*/ 635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36900" h="279400">
                <a:moveTo>
                  <a:pt x="0" y="279400"/>
                </a:moveTo>
                <a:lnTo>
                  <a:pt x="203200" y="0"/>
                </a:lnTo>
                <a:lnTo>
                  <a:pt x="3136900" y="6350"/>
                </a:lnTo>
              </a:path>
            </a:pathLst>
          </a:cu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945031" name="Заголовок 1"/>
          <p:cNvSpPr txBox="1">
            <a:spLocks/>
          </p:cNvSpPr>
          <p:nvPr/>
        </p:nvSpPr>
        <p:spPr bwMode="auto">
          <a:xfrm>
            <a:off x="860425" y="103188"/>
            <a:ext cx="7037388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/>
            <a:r>
              <a:rPr lang="ru-RU" sz="2800" b="1"/>
              <a:t>Проект «Школа»</a:t>
            </a:r>
          </a:p>
        </p:txBody>
      </p:sp>
      <p:sp>
        <p:nvSpPr>
          <p:cNvPr id="2945032" name="TextBox 8"/>
          <p:cNvSpPr txBox="1">
            <a:spLocks noChangeArrowheads="1"/>
          </p:cNvSpPr>
          <p:nvPr/>
        </p:nvSpPr>
        <p:spPr bwMode="auto">
          <a:xfrm>
            <a:off x="1331913" y="5661025"/>
            <a:ext cx="1744662" cy="1016000"/>
          </a:xfrm>
          <a:prstGeom prst="rect">
            <a:avLst/>
          </a:prstGeom>
          <a:noFill/>
          <a:ln w="19050">
            <a:solidFill>
              <a:srgbClr val="00B05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400" b="1">
                <a:solidFill>
                  <a:srgbClr val="00B050"/>
                </a:solidFill>
              </a:rPr>
              <a:t>2013</a:t>
            </a:r>
          </a:p>
          <a:p>
            <a:r>
              <a:rPr lang="ru-RU">
                <a:solidFill>
                  <a:srgbClr val="00B050"/>
                </a:solidFill>
              </a:rPr>
              <a:t>144 курса</a:t>
            </a:r>
          </a:p>
          <a:p>
            <a:r>
              <a:rPr lang="ru-RU">
                <a:solidFill>
                  <a:srgbClr val="00B050"/>
                </a:solidFill>
              </a:rPr>
              <a:t>5 288 продаж</a:t>
            </a:r>
            <a:endParaRPr lang="en-US">
              <a:solidFill>
                <a:srgbClr val="00B05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0B0C391-EA26-4A30-8A8A-C33A0664FBCE}" type="slidenum">
              <a:rPr lang="ru-RU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32</a:t>
            </a:fld>
            <a:endParaRPr lang="ru-RU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0" y="0"/>
            <a:ext cx="565150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" name="Овал 6"/>
          <p:cNvSpPr/>
          <p:nvPr/>
        </p:nvSpPr>
        <p:spPr bwMode="auto">
          <a:xfrm>
            <a:off x="322263" y="531813"/>
            <a:ext cx="785812" cy="78581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8" name="Овал 7"/>
          <p:cNvSpPr/>
          <p:nvPr/>
        </p:nvSpPr>
        <p:spPr bwMode="auto">
          <a:xfrm>
            <a:off x="565150" y="796925"/>
            <a:ext cx="276225" cy="276225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946053" name="Заголовок 1"/>
          <p:cNvSpPr txBox="1">
            <a:spLocks/>
          </p:cNvSpPr>
          <p:nvPr/>
        </p:nvSpPr>
        <p:spPr bwMode="auto">
          <a:xfrm>
            <a:off x="1063625" y="-100013"/>
            <a:ext cx="7037388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/>
            <a:r>
              <a:rPr lang="ru-RU" sz="2800" b="1"/>
              <a:t>Тест на предпринимательские способности (проект «Школа»)</a:t>
            </a:r>
          </a:p>
        </p:txBody>
      </p:sp>
      <p:sp>
        <p:nvSpPr>
          <p:cNvPr id="11" name="Полилиния 10"/>
          <p:cNvSpPr/>
          <p:nvPr/>
        </p:nvSpPr>
        <p:spPr bwMode="auto">
          <a:xfrm>
            <a:off x="755650" y="765175"/>
            <a:ext cx="6680200" cy="190500"/>
          </a:xfrm>
          <a:custGeom>
            <a:avLst/>
            <a:gdLst>
              <a:gd name="connsiteX0" fmla="*/ 0 w 3136900"/>
              <a:gd name="connsiteY0" fmla="*/ 279400 h 279400"/>
              <a:gd name="connsiteX1" fmla="*/ 203200 w 3136900"/>
              <a:gd name="connsiteY1" fmla="*/ 0 h 279400"/>
              <a:gd name="connsiteX2" fmla="*/ 3136900 w 3136900"/>
              <a:gd name="connsiteY2" fmla="*/ 635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36900" h="279400">
                <a:moveTo>
                  <a:pt x="0" y="279400"/>
                </a:moveTo>
                <a:lnTo>
                  <a:pt x="203200" y="0"/>
                </a:lnTo>
                <a:lnTo>
                  <a:pt x="3136900" y="6350"/>
                </a:lnTo>
              </a:path>
            </a:pathLst>
          </a:cu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94605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76375" y="955675"/>
            <a:ext cx="7437438" cy="535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 txBox="1">
            <a:spLocks noGrp="1"/>
          </p:cNvSpPr>
          <p:nvPr/>
        </p:nvSpPr>
        <p:spPr>
          <a:xfrm>
            <a:off x="6553200" y="65722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3B48EF64-EEF9-472E-873F-094E3A33F87B}" type="slidenum">
              <a:rPr lang="ru-RU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33</a:t>
            </a:fld>
            <a:endParaRPr lang="ru-RU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947074" name="Номер слайда 2"/>
          <p:cNvSpPr txBox="1">
            <a:spLocks/>
          </p:cNvSpPr>
          <p:nvPr/>
        </p:nvSpPr>
        <p:spPr bwMode="auto">
          <a:xfrm>
            <a:off x="8639175" y="6381750"/>
            <a:ext cx="4699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fld id="{6DF43E2B-A2A9-4DE9-A6A4-3BDAD4B902EE}" type="slidenum">
              <a:rPr lang="ru-RU" sz="1200">
                <a:solidFill>
                  <a:srgbClr val="FFFFFF"/>
                </a:solidFill>
              </a:rPr>
              <a:pPr algn="ctr"/>
              <a:t>33</a:t>
            </a:fld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5" name="Rectangle 35"/>
          <p:cNvSpPr>
            <a:spLocks noChangeArrowheads="1"/>
          </p:cNvSpPr>
          <p:nvPr/>
        </p:nvSpPr>
        <p:spPr bwMode="auto">
          <a:xfrm>
            <a:off x="277198" y="2463259"/>
            <a:ext cx="2539483" cy="954958"/>
          </a:xfrm>
          <a:prstGeom prst="rect">
            <a:avLst/>
          </a:prstGeom>
          <a:solidFill>
            <a:srgbClr val="53B848"/>
          </a:solidFill>
          <a:ln>
            <a:noFill/>
            <a:headEnd type="none" w="med" len="med"/>
            <a:tailEnd type="none" w="med" len="med"/>
          </a:ln>
          <a:effectLst>
            <a:softEdge rad="31750"/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b="1" kern="0" dirty="0">
                <a:solidFill>
                  <a:srgbClr val="FFFFFF"/>
                </a:solidFill>
                <a:latin typeface="+mj-lt"/>
              </a:rPr>
              <a:t>Повышение доступности кредитов</a:t>
            </a:r>
            <a:endParaRPr lang="en-US" sz="1900" b="1" kern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" name="Rectangle 35"/>
          <p:cNvSpPr>
            <a:spLocks noChangeArrowheads="1"/>
          </p:cNvSpPr>
          <p:nvPr/>
        </p:nvSpPr>
        <p:spPr bwMode="auto">
          <a:xfrm>
            <a:off x="277197" y="1255033"/>
            <a:ext cx="2539482" cy="661799"/>
          </a:xfrm>
          <a:prstGeom prst="rect">
            <a:avLst/>
          </a:prstGeom>
          <a:solidFill>
            <a:srgbClr val="53B848"/>
          </a:solidFill>
          <a:ln>
            <a:noFill/>
            <a:headEnd type="none" w="med" len="med"/>
            <a:tailEnd type="none" w="med" len="med"/>
          </a:ln>
          <a:effectLst>
            <a:softEdge rad="31750"/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b="1" kern="0" dirty="0">
                <a:solidFill>
                  <a:srgbClr val="FFFFFF"/>
                </a:solidFill>
                <a:latin typeface="+mj-lt"/>
              </a:rPr>
              <a:t>Ученье - свет</a:t>
            </a:r>
            <a:endParaRPr lang="en-US" sz="1900" b="1" kern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7" name="Rectangle 35"/>
          <p:cNvSpPr>
            <a:spLocks noChangeArrowheads="1"/>
          </p:cNvSpPr>
          <p:nvPr/>
        </p:nvSpPr>
        <p:spPr bwMode="auto">
          <a:xfrm>
            <a:off x="277197" y="5406387"/>
            <a:ext cx="2539482" cy="1107764"/>
          </a:xfrm>
          <a:prstGeom prst="rect">
            <a:avLst/>
          </a:prstGeom>
          <a:solidFill>
            <a:srgbClr val="53B848"/>
          </a:solidFill>
          <a:ln>
            <a:noFill/>
            <a:headEnd type="none" w="med" len="med"/>
            <a:tailEnd type="none" w="med" len="med"/>
          </a:ln>
          <a:effectLst>
            <a:softEdge rad="31750"/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b="1" kern="0" dirty="0">
                <a:solidFill>
                  <a:srgbClr val="FFFFFF"/>
                </a:solidFill>
                <a:latin typeface="+mj-lt"/>
              </a:rPr>
              <a:t>Спрос рождает предложени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b="1" kern="0" dirty="0">
                <a:solidFill>
                  <a:srgbClr val="FFFFFF"/>
                </a:solidFill>
                <a:latin typeface="+mj-lt"/>
              </a:rPr>
              <a:t>(госзаказ)</a:t>
            </a:r>
            <a:endParaRPr lang="en-US" sz="1900" b="1" kern="0" dirty="0">
              <a:solidFill>
                <a:srgbClr val="FFFFFF"/>
              </a:solidFill>
              <a:latin typeface="+mj-lt"/>
            </a:endParaRPr>
          </a:p>
        </p:txBody>
      </p:sp>
      <p:pic>
        <p:nvPicPr>
          <p:cNvPr id="8" name="Рисунок 25"/>
          <p:cNvPicPr>
            <a:picLocks noChangeAspect="1" noChangeArrowheads="1"/>
          </p:cNvPicPr>
          <p:nvPr/>
        </p:nvPicPr>
        <p:blipFill>
          <a:blip r:embed="rId2" cstate="print">
            <a:extLst/>
          </a:blip>
          <a:srcRect/>
          <a:stretch>
            <a:fillRect/>
          </a:stretch>
        </p:blipFill>
        <p:spPr bwMode="auto">
          <a:xfrm>
            <a:off x="2848830" y="5380415"/>
            <a:ext cx="1749256" cy="1223373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9" name="Picture 24" descr="high-sch1"/>
          <p:cNvPicPr>
            <a:picLocks noChangeAspect="1" noChangeArrowheads="1"/>
          </p:cNvPicPr>
          <p:nvPr/>
        </p:nvPicPr>
        <p:blipFill>
          <a:blip r:embed="rId3" cstate="print">
            <a:extLst/>
          </a:blip>
          <a:srcRect/>
          <a:stretch>
            <a:fillRect/>
          </a:stretch>
        </p:blipFill>
        <p:spPr bwMode="auto">
          <a:xfrm>
            <a:off x="2835454" y="845548"/>
            <a:ext cx="1693289" cy="1274008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10" name="Picture 28" descr="100p"/>
          <p:cNvPicPr>
            <a:picLocks noChangeAspect="1" noChangeArrowheads="1"/>
          </p:cNvPicPr>
          <p:nvPr/>
        </p:nvPicPr>
        <p:blipFill>
          <a:blip r:embed="rId4" cstate="print">
            <a:extLst/>
          </a:blip>
          <a:srcRect/>
          <a:stretch>
            <a:fillRect/>
          </a:stretch>
        </p:blipFill>
        <p:spPr bwMode="auto">
          <a:xfrm>
            <a:off x="2848830" y="2356739"/>
            <a:ext cx="1666535" cy="1274008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sp>
        <p:nvSpPr>
          <p:cNvPr id="11" name="AutoShape 23"/>
          <p:cNvSpPr>
            <a:spLocks noChangeArrowheads="1"/>
          </p:cNvSpPr>
          <p:nvPr/>
        </p:nvSpPr>
        <p:spPr bwMode="auto">
          <a:xfrm>
            <a:off x="4530725" y="793750"/>
            <a:ext cx="4214813" cy="1330325"/>
          </a:xfrm>
          <a:prstGeom prst="roundRect">
            <a:avLst>
              <a:gd name="adj" fmla="val 16667"/>
            </a:avLst>
          </a:prstGeom>
          <a:solidFill>
            <a:srgbClr val="315683"/>
          </a:solidFill>
          <a:ln w="9525">
            <a:solidFill>
              <a:schemeClr val="tx2"/>
            </a:solidFill>
            <a:round/>
            <a:headEnd/>
            <a:tailEnd/>
          </a:ln>
          <a:effectLst>
            <a:outerShdw dist="52363" dir="6242175" algn="ctr" rotWithShape="0">
              <a:schemeClr val="bg1"/>
            </a:outerShdw>
          </a:effectLst>
        </p:spPr>
        <p:txBody>
          <a:bodyPr lIns="100899" tIns="50450" rIns="100899" bIns="50450" anchor="ctr"/>
          <a:lstStyle/>
          <a:p>
            <a:pPr eaLnBrk="0" hangingPunct="0">
              <a:spcAft>
                <a:spcPts val="662"/>
              </a:spcAft>
              <a:defRPr/>
            </a:pPr>
            <a:r>
              <a:rPr lang="ru-RU" sz="1600" b="1" dirty="0">
                <a:solidFill>
                  <a:schemeClr val="bg1"/>
                </a:solidFill>
                <a:ea typeface="ヒラギノ角ゴ ProN W3"/>
                <a:cs typeface="ヒラギノ角ゴ ProN W3"/>
              </a:rPr>
              <a:t>«Школа бизнеса»: </a:t>
            </a:r>
          </a:p>
          <a:p>
            <a:pPr eaLnBrk="0" hangingPunct="0">
              <a:spcAft>
                <a:spcPts val="662"/>
              </a:spcAft>
              <a:defRPr/>
            </a:pPr>
            <a:r>
              <a:rPr lang="ru-RU" sz="1600" dirty="0">
                <a:solidFill>
                  <a:schemeClr val="bg1"/>
                </a:solidFill>
                <a:ea typeface="ヒラギノ角ゴ ProN W3"/>
                <a:cs typeface="ヒラギノ角ゴ ProN W3"/>
              </a:rPr>
              <a:t>обучающие семинары и консалтинг в Центрах развития бизнеса; </a:t>
            </a:r>
          </a:p>
          <a:p>
            <a:pPr eaLnBrk="0" hangingPunct="0">
              <a:spcAft>
                <a:spcPts val="662"/>
              </a:spcAft>
              <a:defRPr/>
            </a:pPr>
            <a:r>
              <a:rPr lang="ru-RU" sz="1600" dirty="0">
                <a:solidFill>
                  <a:schemeClr val="bg1"/>
                </a:solidFill>
                <a:ea typeface="ヒラギノ角ゴ ProN W3"/>
                <a:cs typeface="ヒラギノ角ゴ ProN W3"/>
              </a:rPr>
              <a:t>видео-курсы, вебинары и тесты в «Деловой среде»</a:t>
            </a:r>
            <a:endParaRPr lang="ru-RU" sz="1600" b="1" dirty="0">
              <a:solidFill>
                <a:schemeClr val="bg1"/>
              </a:solidFill>
              <a:ea typeface="ヒラギノ角ゴ ProN W3"/>
              <a:cs typeface="ヒラギノ角ゴ ProN W3"/>
            </a:endParaRPr>
          </a:p>
        </p:txBody>
      </p:sp>
      <p:sp>
        <p:nvSpPr>
          <p:cNvPr id="12" name="AutoShape 23"/>
          <p:cNvSpPr>
            <a:spLocks noChangeArrowheads="1"/>
          </p:cNvSpPr>
          <p:nvPr/>
        </p:nvSpPr>
        <p:spPr bwMode="auto">
          <a:xfrm>
            <a:off x="4498975" y="2198688"/>
            <a:ext cx="4246563" cy="1900237"/>
          </a:xfrm>
          <a:prstGeom prst="roundRect">
            <a:avLst>
              <a:gd name="adj" fmla="val 16667"/>
            </a:avLst>
          </a:prstGeom>
          <a:solidFill>
            <a:srgbClr val="315683"/>
          </a:solidFill>
          <a:ln w="9525">
            <a:solidFill>
              <a:schemeClr val="tx2"/>
            </a:solidFill>
            <a:round/>
            <a:headEnd/>
            <a:tailEnd/>
          </a:ln>
          <a:effectLst>
            <a:outerShdw dist="52363" dir="6242175" algn="ctr" rotWithShape="0">
              <a:schemeClr val="bg1"/>
            </a:outerShdw>
          </a:effectLst>
        </p:spPr>
        <p:txBody>
          <a:bodyPr lIns="100899" tIns="50450" rIns="100899" bIns="50450" anchor="ctr"/>
          <a:lstStyle/>
          <a:p>
            <a:pPr eaLnBrk="0" hangingPunct="0">
              <a:lnSpc>
                <a:spcPct val="80000"/>
              </a:lnSpc>
              <a:spcAft>
                <a:spcPts val="662"/>
              </a:spcAft>
              <a:defRPr/>
            </a:pPr>
            <a:r>
              <a:rPr lang="ru-RU" sz="1600" b="1" dirty="0">
                <a:solidFill>
                  <a:schemeClr val="bg1"/>
                </a:solidFill>
              </a:rPr>
              <a:t>Новые продукты: </a:t>
            </a:r>
            <a:r>
              <a:rPr lang="ru-RU" sz="1600" dirty="0">
                <a:solidFill>
                  <a:schemeClr val="bg1"/>
                </a:solidFill>
              </a:rPr>
              <a:t>«Бизнес-старт», проектное финансирование, «Лига бизнеса» и др.,</a:t>
            </a:r>
          </a:p>
          <a:p>
            <a:pPr eaLnBrk="0" hangingPunct="0">
              <a:lnSpc>
                <a:spcPct val="80000"/>
              </a:lnSpc>
              <a:spcAft>
                <a:spcPts val="662"/>
              </a:spcAft>
              <a:defRPr/>
            </a:pPr>
            <a:r>
              <a:rPr lang="ru-RU" sz="1600" b="1" dirty="0">
                <a:solidFill>
                  <a:schemeClr val="bg1"/>
                </a:solidFill>
              </a:rPr>
              <a:t>Отмена комиссий, снижение ставок</a:t>
            </a:r>
            <a:r>
              <a:rPr lang="ru-RU" sz="1600" dirty="0">
                <a:solidFill>
                  <a:schemeClr val="bg1"/>
                </a:solidFill>
              </a:rPr>
              <a:t>  </a:t>
            </a:r>
          </a:p>
          <a:p>
            <a:pPr eaLnBrk="0" hangingPunct="0">
              <a:lnSpc>
                <a:spcPct val="80000"/>
              </a:lnSpc>
              <a:spcAft>
                <a:spcPts val="662"/>
              </a:spcAft>
              <a:defRPr/>
            </a:pPr>
            <a:r>
              <a:rPr lang="ru-RU" sz="1600" b="1" dirty="0">
                <a:solidFill>
                  <a:schemeClr val="bg1"/>
                </a:solidFill>
              </a:rPr>
              <a:t>Новые технологии: </a:t>
            </a:r>
            <a:r>
              <a:rPr lang="ru-RU" sz="1600" dirty="0">
                <a:solidFill>
                  <a:schemeClr val="bg1"/>
                </a:solidFill>
              </a:rPr>
              <a:t>«Кредитный конвейер», «Кредитная фабрика»,</a:t>
            </a:r>
          </a:p>
          <a:p>
            <a:pPr eaLnBrk="0" hangingPunct="0">
              <a:lnSpc>
                <a:spcPct val="80000"/>
              </a:lnSpc>
              <a:spcAft>
                <a:spcPts val="662"/>
              </a:spcAft>
              <a:defRPr/>
            </a:pPr>
            <a:r>
              <a:rPr lang="ru-RU" sz="1600" dirty="0">
                <a:solidFill>
                  <a:schemeClr val="bg1"/>
                </a:solidFill>
              </a:rPr>
              <a:t>Сотрудничество с инфраструктурой господдержки: </a:t>
            </a:r>
            <a:r>
              <a:rPr lang="ru-RU" sz="1600" b="1" dirty="0">
                <a:solidFill>
                  <a:schemeClr val="bg1"/>
                </a:solidFill>
              </a:rPr>
              <a:t>гарфонды и др.</a:t>
            </a:r>
          </a:p>
        </p:txBody>
      </p:sp>
      <p:sp>
        <p:nvSpPr>
          <p:cNvPr id="13" name="AutoShape 23"/>
          <p:cNvSpPr>
            <a:spLocks noChangeArrowheads="1"/>
          </p:cNvSpPr>
          <p:nvPr/>
        </p:nvSpPr>
        <p:spPr bwMode="auto">
          <a:xfrm>
            <a:off x="4556125" y="5265738"/>
            <a:ext cx="4271963" cy="1498600"/>
          </a:xfrm>
          <a:prstGeom prst="roundRect">
            <a:avLst>
              <a:gd name="adj" fmla="val 16667"/>
            </a:avLst>
          </a:prstGeom>
          <a:solidFill>
            <a:srgbClr val="315683"/>
          </a:solidFill>
          <a:ln w="9525">
            <a:solidFill>
              <a:schemeClr val="tx2"/>
            </a:solidFill>
            <a:round/>
            <a:headEnd/>
            <a:tailEnd/>
          </a:ln>
          <a:effectLst>
            <a:outerShdw dist="52363" dir="6242175" algn="ctr" rotWithShape="0">
              <a:schemeClr val="bg1"/>
            </a:outerShdw>
          </a:effectLst>
        </p:spPr>
        <p:txBody>
          <a:bodyPr lIns="100899" tIns="50450" rIns="100899" bIns="50450" anchor="ctr"/>
          <a:lstStyle/>
          <a:p>
            <a:pPr eaLnBrk="0" hangingPunct="0">
              <a:spcAft>
                <a:spcPts val="662"/>
              </a:spcAft>
              <a:defRPr/>
            </a:pPr>
            <a:r>
              <a:rPr lang="ru-RU" sz="1600" b="1" dirty="0">
                <a:solidFill>
                  <a:srgbClr val="FFFFFF"/>
                </a:solidFill>
                <a:ea typeface="ヒラギノ角ゴ ProN W3"/>
                <a:cs typeface="ヒラギノ角ゴ ProN W3"/>
              </a:rPr>
              <a:t>Электронные аукционы</a:t>
            </a:r>
            <a:r>
              <a:rPr lang="ru-RU" sz="1600" dirty="0">
                <a:solidFill>
                  <a:srgbClr val="FFFFFF"/>
                </a:solidFill>
                <a:ea typeface="ヒラギノ角ゴ ProN W3"/>
                <a:cs typeface="ヒラギノ角ゴ ProN W3"/>
              </a:rPr>
              <a:t> на площадке Сбербанка и «Деловой среды»,</a:t>
            </a:r>
          </a:p>
          <a:p>
            <a:pPr eaLnBrk="0" hangingPunct="0">
              <a:spcAft>
                <a:spcPts val="662"/>
              </a:spcAft>
              <a:defRPr/>
            </a:pPr>
            <a:r>
              <a:rPr lang="ru-RU" sz="1600" dirty="0">
                <a:solidFill>
                  <a:srgbClr val="FFFFFF"/>
                </a:solidFill>
                <a:ea typeface="ヒラギノ角ゴ ProN W3"/>
                <a:cs typeface="ヒラギノ角ゴ ProN W3"/>
              </a:rPr>
              <a:t>Специальный продукт </a:t>
            </a:r>
            <a:r>
              <a:rPr lang="ru-RU" sz="1600" b="1" dirty="0">
                <a:solidFill>
                  <a:srgbClr val="FFFFFF"/>
                </a:solidFill>
                <a:ea typeface="ヒラギノ角ゴ ProN W3"/>
                <a:cs typeface="ヒラギノ角ゴ ProN W3"/>
              </a:rPr>
              <a:t>«Госзаказ»,</a:t>
            </a:r>
          </a:p>
          <a:p>
            <a:pPr eaLnBrk="0" hangingPunct="0">
              <a:spcAft>
                <a:spcPts val="662"/>
              </a:spcAft>
              <a:defRPr/>
            </a:pPr>
            <a:r>
              <a:rPr lang="ru-RU" sz="1600" b="1" dirty="0">
                <a:solidFill>
                  <a:srgbClr val="FFFFFF"/>
                </a:solidFill>
                <a:ea typeface="ヒラギノ角ゴ ProN W3"/>
                <a:cs typeface="ヒラギノ角ゴ ProN W3"/>
              </a:rPr>
              <a:t>Обучение и консультирование бизнеса</a:t>
            </a:r>
          </a:p>
        </p:txBody>
      </p:sp>
      <p:sp>
        <p:nvSpPr>
          <p:cNvPr id="14" name="AutoShape 23"/>
          <p:cNvSpPr>
            <a:spLocks noChangeArrowheads="1"/>
          </p:cNvSpPr>
          <p:nvPr/>
        </p:nvSpPr>
        <p:spPr bwMode="auto">
          <a:xfrm>
            <a:off x="4573588" y="4144963"/>
            <a:ext cx="4171950" cy="1147762"/>
          </a:xfrm>
          <a:prstGeom prst="roundRect">
            <a:avLst>
              <a:gd name="adj" fmla="val 16667"/>
            </a:avLst>
          </a:prstGeom>
          <a:solidFill>
            <a:srgbClr val="315683"/>
          </a:solidFill>
          <a:ln w="9525">
            <a:solidFill>
              <a:schemeClr val="tx2"/>
            </a:solidFill>
            <a:round/>
            <a:headEnd/>
            <a:tailEnd/>
          </a:ln>
          <a:effectLst>
            <a:outerShdw dist="52363" dir="6242175" algn="ctr" rotWithShape="0">
              <a:schemeClr val="bg1"/>
            </a:outerShdw>
          </a:effectLst>
        </p:spPr>
        <p:txBody>
          <a:bodyPr lIns="100899" tIns="50450" rIns="100899" bIns="50450" anchor="ctr"/>
          <a:lstStyle/>
          <a:p>
            <a:pPr eaLnBrk="0" hangingPunct="0">
              <a:spcAft>
                <a:spcPts val="662"/>
              </a:spcAft>
              <a:defRPr/>
            </a:pPr>
            <a:endParaRPr lang="ru-RU" sz="1600" b="1" dirty="0">
              <a:solidFill>
                <a:schemeClr val="bg1"/>
              </a:solidFill>
              <a:ea typeface="ヒラギノ角ゴ ProN W3"/>
              <a:cs typeface="ヒラギノ角ゴ ProN W3"/>
            </a:endParaRPr>
          </a:p>
          <a:p>
            <a:pPr eaLnBrk="0" hangingPunct="0">
              <a:spcAft>
                <a:spcPts val="662"/>
              </a:spcAft>
              <a:defRPr/>
            </a:pPr>
            <a:r>
              <a:rPr lang="ru-RU" sz="1600" b="1" dirty="0">
                <a:solidFill>
                  <a:schemeClr val="bg1"/>
                </a:solidFill>
                <a:ea typeface="ヒラギノ角ゴ ProN W3"/>
                <a:cs typeface="ヒラギノ角ゴ ProN W3"/>
              </a:rPr>
              <a:t>Консультирование</a:t>
            </a:r>
            <a:r>
              <a:rPr lang="ru-RU" sz="1600" dirty="0">
                <a:solidFill>
                  <a:schemeClr val="bg1"/>
                </a:solidFill>
                <a:ea typeface="ヒラギノ角ゴ ProN W3"/>
                <a:cs typeface="ヒラギノ角ゴ ProN W3"/>
              </a:rPr>
              <a:t>: помощь в составлении, сдаче отчетности</a:t>
            </a:r>
            <a:r>
              <a:rPr lang="ru-RU" sz="1600" b="1" dirty="0">
                <a:solidFill>
                  <a:schemeClr val="bg1"/>
                </a:solidFill>
                <a:ea typeface="ヒラギノ角ゴ ProN W3"/>
                <a:cs typeface="ヒラギノ角ゴ ProN W3"/>
              </a:rPr>
              <a:t/>
            </a:r>
            <a:br>
              <a:rPr lang="ru-RU" sz="1600" b="1" dirty="0">
                <a:solidFill>
                  <a:schemeClr val="bg1"/>
                </a:solidFill>
                <a:ea typeface="ヒラギノ角ゴ ProN W3"/>
                <a:cs typeface="ヒラギノ角ゴ ProN W3"/>
              </a:rPr>
            </a:br>
            <a:r>
              <a:rPr lang="ru-RU" sz="1600" dirty="0">
                <a:solidFill>
                  <a:schemeClr val="bg1"/>
                </a:solidFill>
                <a:ea typeface="ヒラギノ角ゴ ProN W3"/>
                <a:cs typeface="ヒラギノ角ゴ ProN W3"/>
              </a:rPr>
              <a:t>(в Центрах развития бизнеса).</a:t>
            </a:r>
          </a:p>
          <a:p>
            <a:pPr eaLnBrk="0" hangingPunct="0">
              <a:spcAft>
                <a:spcPts val="662"/>
              </a:spcAft>
              <a:defRPr/>
            </a:pPr>
            <a:r>
              <a:rPr lang="ru-RU" sz="1600" dirty="0">
                <a:solidFill>
                  <a:srgbClr val="FFFFFF"/>
                </a:solidFill>
                <a:latin typeface="Arial" pitchFamily="34" charset="0"/>
                <a:ea typeface="ヒラギノ角ゴ ProN W3"/>
                <a:cs typeface="ヒラギノ角ゴ ProN W3"/>
              </a:rPr>
              <a:t>Приложения и аналитика </a:t>
            </a:r>
            <a:r>
              <a:rPr lang="ru-RU" sz="1600" b="1" dirty="0">
                <a:solidFill>
                  <a:srgbClr val="FFFFFF"/>
                </a:solidFill>
                <a:latin typeface="Arial" pitchFamily="34" charset="0"/>
                <a:ea typeface="ヒラギノ角ゴ ProN W3"/>
                <a:cs typeface="ヒラギノ角ゴ ProN W3"/>
              </a:rPr>
              <a:t>в </a:t>
            </a:r>
            <a:r>
              <a:rPr lang="en-US" sz="1600" b="1" dirty="0" err="1">
                <a:solidFill>
                  <a:srgbClr val="FFFFFF"/>
                </a:solidFill>
                <a:latin typeface="Arial" pitchFamily="34" charset="0"/>
                <a:ea typeface="ヒラギノ角ゴ ProN W3"/>
                <a:cs typeface="ヒラギノ角ゴ ProN W3"/>
              </a:rPr>
              <a:t>Sberstore</a:t>
            </a:r>
            <a:endParaRPr lang="ru-RU" sz="1600" b="1" dirty="0">
              <a:solidFill>
                <a:srgbClr val="FFFFFF"/>
              </a:solidFill>
              <a:latin typeface="Arial" pitchFamily="34" charset="0"/>
              <a:ea typeface="ヒラギノ角ゴ ProN W3"/>
              <a:cs typeface="ヒラギノ角ゴ ProN W3"/>
            </a:endParaRPr>
          </a:p>
          <a:p>
            <a:pPr eaLnBrk="0" hangingPunct="0">
              <a:spcAft>
                <a:spcPts val="662"/>
              </a:spcAft>
              <a:defRPr/>
            </a:pPr>
            <a:endParaRPr lang="ru-RU" sz="1600" dirty="0">
              <a:solidFill>
                <a:schemeClr val="bg1"/>
              </a:solidFill>
              <a:ea typeface="ヒラギノ角ゴ ProN W3"/>
              <a:cs typeface="ヒラギノ角ゴ ProN W3"/>
            </a:endParaRPr>
          </a:p>
        </p:txBody>
      </p:sp>
      <p:sp>
        <p:nvSpPr>
          <p:cNvPr id="15" name="Rectangle 35"/>
          <p:cNvSpPr>
            <a:spLocks noChangeArrowheads="1"/>
          </p:cNvSpPr>
          <p:nvPr/>
        </p:nvSpPr>
        <p:spPr bwMode="auto">
          <a:xfrm>
            <a:off x="277196" y="3976144"/>
            <a:ext cx="2539484" cy="1147756"/>
          </a:xfrm>
          <a:prstGeom prst="rect">
            <a:avLst/>
          </a:prstGeom>
          <a:solidFill>
            <a:srgbClr val="53B848"/>
          </a:solidFill>
          <a:ln>
            <a:noFill/>
            <a:headEnd type="none" w="med" len="med"/>
            <a:tailEnd type="none" w="med" len="med"/>
          </a:ln>
          <a:effectLst>
            <a:softEdge rad="31750"/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b="1" kern="0" dirty="0">
                <a:solidFill>
                  <a:srgbClr val="FFFFFF"/>
                </a:solidFill>
                <a:latin typeface="+mj-lt"/>
              </a:rPr>
              <a:t>Налоги,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b="1" kern="0" dirty="0">
                <a:solidFill>
                  <a:srgbClr val="FFFFFF"/>
                </a:solidFill>
                <a:latin typeface="+mj-lt"/>
              </a:rPr>
              <a:t>администрировани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b="1" kern="0" dirty="0">
                <a:solidFill>
                  <a:srgbClr val="FFFFFF"/>
                </a:solidFill>
                <a:latin typeface="+mj-lt"/>
              </a:rPr>
              <a:t>просто</a:t>
            </a:r>
            <a:endParaRPr lang="en-US" sz="1900" b="1" kern="0" dirty="0">
              <a:solidFill>
                <a:srgbClr val="FFFFFF"/>
              </a:solidFill>
              <a:latin typeface="+mj-lt"/>
            </a:endParaRPr>
          </a:p>
        </p:txBody>
      </p:sp>
      <p:pic>
        <p:nvPicPr>
          <p:cNvPr id="16" name="Рисунок 27"/>
          <p:cNvPicPr>
            <a:picLocks noChangeAspect="1" noChangeArrowheads="1"/>
          </p:cNvPicPr>
          <p:nvPr/>
        </p:nvPicPr>
        <p:blipFill>
          <a:blip r:embed="rId5" cstate="print">
            <a:extLst/>
          </a:blip>
          <a:srcRect/>
          <a:stretch>
            <a:fillRect/>
          </a:stretch>
        </p:blipFill>
        <p:spPr bwMode="auto">
          <a:xfrm>
            <a:off x="2848830" y="4022473"/>
            <a:ext cx="1693289" cy="1148056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sp>
        <p:nvSpPr>
          <p:cNvPr id="18" name="Прямоугольник 17"/>
          <p:cNvSpPr/>
          <p:nvPr/>
        </p:nvSpPr>
        <p:spPr bwMode="auto">
          <a:xfrm>
            <a:off x="0" y="-1588"/>
            <a:ext cx="277813" cy="685800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9" name="Овал 18"/>
          <p:cNvSpPr/>
          <p:nvPr/>
        </p:nvSpPr>
        <p:spPr bwMode="auto">
          <a:xfrm>
            <a:off x="74613" y="431800"/>
            <a:ext cx="825500" cy="7858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0" name="Полилиния 19"/>
          <p:cNvSpPr/>
          <p:nvPr/>
        </p:nvSpPr>
        <p:spPr bwMode="auto">
          <a:xfrm>
            <a:off x="528638" y="717550"/>
            <a:ext cx="7007225" cy="190500"/>
          </a:xfrm>
          <a:custGeom>
            <a:avLst/>
            <a:gdLst>
              <a:gd name="connsiteX0" fmla="*/ 0 w 3136900"/>
              <a:gd name="connsiteY0" fmla="*/ 279400 h 279400"/>
              <a:gd name="connsiteX1" fmla="*/ 203200 w 3136900"/>
              <a:gd name="connsiteY1" fmla="*/ 0 h 279400"/>
              <a:gd name="connsiteX2" fmla="*/ 3136900 w 3136900"/>
              <a:gd name="connsiteY2" fmla="*/ 635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36900" h="279400">
                <a:moveTo>
                  <a:pt x="0" y="279400"/>
                </a:moveTo>
                <a:lnTo>
                  <a:pt x="203200" y="0"/>
                </a:lnTo>
                <a:lnTo>
                  <a:pt x="3136900" y="6350"/>
                </a:lnTo>
              </a:path>
            </a:pathLst>
          </a:cu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947098" name="Объект 3"/>
          <p:cNvSpPr>
            <a:spLocks/>
          </p:cNvSpPr>
          <p:nvPr/>
        </p:nvSpPr>
        <p:spPr bwMode="auto">
          <a:xfrm>
            <a:off x="788988" y="-36513"/>
            <a:ext cx="795655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355" tIns="33677" rIns="67355" bIns="33677"/>
          <a:lstStyle/>
          <a:p>
            <a:pPr marL="158750">
              <a:spcBef>
                <a:spcPts val="1688"/>
              </a:spcBef>
              <a:buClr>
                <a:srgbClr val="FB7009"/>
              </a:buClr>
              <a:buSzPct val="100000"/>
            </a:pPr>
            <a:r>
              <a:rPr lang="ru-RU" sz="2400" b="1">
                <a:solidFill>
                  <a:srgbClr val="000000"/>
                </a:solidFill>
                <a:ea typeface="ヒラギノ角ゴ ProN W3"/>
                <a:cs typeface="ヒラギノ角ゴ ProN W3"/>
                <a:sym typeface="Helvetica" pitchFamily="34" charset="0"/>
              </a:rPr>
              <a:t>Концепция развития малого бизнеса Сбербанка – ответ на современные вызов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0"/>
            <a:ext cx="714375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" name="Овал 5"/>
          <p:cNvSpPr/>
          <p:nvPr/>
        </p:nvSpPr>
        <p:spPr>
          <a:xfrm>
            <a:off x="322263" y="500063"/>
            <a:ext cx="785812" cy="78581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723900" y="357188"/>
            <a:ext cx="601663" cy="1143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565150" y="765175"/>
            <a:ext cx="276225" cy="276225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9" name="Полилиния 8"/>
          <p:cNvSpPr/>
          <p:nvPr/>
        </p:nvSpPr>
        <p:spPr>
          <a:xfrm>
            <a:off x="749300" y="571500"/>
            <a:ext cx="6680200" cy="190500"/>
          </a:xfrm>
          <a:custGeom>
            <a:avLst/>
            <a:gdLst>
              <a:gd name="connsiteX0" fmla="*/ 0 w 3136900"/>
              <a:gd name="connsiteY0" fmla="*/ 279400 h 279400"/>
              <a:gd name="connsiteX1" fmla="*/ 203200 w 3136900"/>
              <a:gd name="connsiteY1" fmla="*/ 0 h 279400"/>
              <a:gd name="connsiteX2" fmla="*/ 3136900 w 3136900"/>
              <a:gd name="connsiteY2" fmla="*/ 635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36900" h="279400">
                <a:moveTo>
                  <a:pt x="0" y="279400"/>
                </a:moveTo>
                <a:lnTo>
                  <a:pt x="203200" y="0"/>
                </a:lnTo>
                <a:lnTo>
                  <a:pt x="3136900" y="6350"/>
                </a:lnTo>
              </a:path>
            </a:pathLst>
          </a:cu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948102" name="TextBox 9"/>
          <p:cNvSpPr txBox="1">
            <a:spLocks noChangeArrowheads="1"/>
          </p:cNvSpPr>
          <p:nvPr/>
        </p:nvSpPr>
        <p:spPr bwMode="auto">
          <a:xfrm>
            <a:off x="1285875" y="144463"/>
            <a:ext cx="72866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800" b="1" dirty="0"/>
              <a:t>Вызовы, стоящие перед МСП</a:t>
            </a:r>
          </a:p>
        </p:txBody>
      </p:sp>
      <p:grpSp>
        <p:nvGrpSpPr>
          <p:cNvPr id="2948103" name="Группа 68"/>
          <p:cNvGrpSpPr>
            <a:grpSpLocks/>
          </p:cNvGrpSpPr>
          <p:nvPr/>
        </p:nvGrpSpPr>
        <p:grpSpPr bwMode="auto">
          <a:xfrm>
            <a:off x="477838" y="1500188"/>
            <a:ext cx="617537" cy="701675"/>
            <a:chOff x="1883864" y="1571612"/>
            <a:chExt cx="1003760" cy="1143008"/>
          </a:xfrm>
        </p:grpSpPr>
        <p:sp>
          <p:nvSpPr>
            <p:cNvPr id="66" name="Овал 65"/>
            <p:cNvSpPr/>
            <p:nvPr/>
          </p:nvSpPr>
          <p:spPr>
            <a:xfrm>
              <a:off x="1883864" y="1713841"/>
              <a:ext cx="787010" cy="78614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67" name="Прямоугольник 66"/>
            <p:cNvSpPr/>
            <p:nvPr/>
          </p:nvSpPr>
          <p:spPr>
            <a:xfrm>
              <a:off x="2286400" y="1571612"/>
              <a:ext cx="601224" cy="114300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68" name="Овал 67"/>
            <p:cNvSpPr/>
            <p:nvPr/>
          </p:nvSpPr>
          <p:spPr>
            <a:xfrm>
              <a:off x="2126418" y="1980199"/>
              <a:ext cx="276098" cy="276700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grpSp>
        <p:nvGrpSpPr>
          <p:cNvPr id="2948104" name="Группа 69"/>
          <p:cNvGrpSpPr>
            <a:grpSpLocks/>
          </p:cNvGrpSpPr>
          <p:nvPr/>
        </p:nvGrpSpPr>
        <p:grpSpPr bwMode="auto">
          <a:xfrm>
            <a:off x="476250" y="2127250"/>
            <a:ext cx="615950" cy="701675"/>
            <a:chOff x="1883864" y="1571612"/>
            <a:chExt cx="1003760" cy="1143008"/>
          </a:xfrm>
        </p:grpSpPr>
        <p:sp>
          <p:nvSpPr>
            <p:cNvPr id="71" name="Овал 70"/>
            <p:cNvSpPr/>
            <p:nvPr/>
          </p:nvSpPr>
          <p:spPr>
            <a:xfrm>
              <a:off x="1883864" y="1713842"/>
              <a:ext cx="786451" cy="78614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72" name="Прямоугольник 71"/>
            <p:cNvSpPr/>
            <p:nvPr/>
          </p:nvSpPr>
          <p:spPr>
            <a:xfrm>
              <a:off x="2284851" y="1571612"/>
              <a:ext cx="602773" cy="114300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73" name="Овал 72"/>
            <p:cNvSpPr/>
            <p:nvPr/>
          </p:nvSpPr>
          <p:spPr>
            <a:xfrm>
              <a:off x="2127043" y="1980199"/>
              <a:ext cx="276811" cy="276702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grpSp>
        <p:nvGrpSpPr>
          <p:cNvPr id="2948105" name="Группа 73"/>
          <p:cNvGrpSpPr>
            <a:grpSpLocks/>
          </p:cNvGrpSpPr>
          <p:nvPr/>
        </p:nvGrpSpPr>
        <p:grpSpPr bwMode="auto">
          <a:xfrm>
            <a:off x="479425" y="3357563"/>
            <a:ext cx="615950" cy="701675"/>
            <a:chOff x="1883864" y="1571612"/>
            <a:chExt cx="1003760" cy="1143008"/>
          </a:xfrm>
        </p:grpSpPr>
        <p:sp>
          <p:nvSpPr>
            <p:cNvPr id="75" name="Овал 74"/>
            <p:cNvSpPr/>
            <p:nvPr/>
          </p:nvSpPr>
          <p:spPr>
            <a:xfrm>
              <a:off x="1883864" y="1713841"/>
              <a:ext cx="786451" cy="78614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2284851" y="1571612"/>
              <a:ext cx="602773" cy="114300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77" name="Овал 76"/>
            <p:cNvSpPr/>
            <p:nvPr/>
          </p:nvSpPr>
          <p:spPr>
            <a:xfrm>
              <a:off x="2127043" y="1980199"/>
              <a:ext cx="276811" cy="276700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grpSp>
        <p:nvGrpSpPr>
          <p:cNvPr id="2948106" name="Группа 77"/>
          <p:cNvGrpSpPr>
            <a:grpSpLocks/>
          </p:cNvGrpSpPr>
          <p:nvPr/>
        </p:nvGrpSpPr>
        <p:grpSpPr bwMode="auto">
          <a:xfrm>
            <a:off x="476250" y="3930650"/>
            <a:ext cx="615950" cy="701675"/>
            <a:chOff x="1883864" y="1571612"/>
            <a:chExt cx="1003760" cy="1143008"/>
          </a:xfrm>
        </p:grpSpPr>
        <p:sp>
          <p:nvSpPr>
            <p:cNvPr id="79" name="Овал 78"/>
            <p:cNvSpPr/>
            <p:nvPr/>
          </p:nvSpPr>
          <p:spPr>
            <a:xfrm>
              <a:off x="1883864" y="1713842"/>
              <a:ext cx="786451" cy="78614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80" name="Прямоугольник 79"/>
            <p:cNvSpPr/>
            <p:nvPr/>
          </p:nvSpPr>
          <p:spPr>
            <a:xfrm>
              <a:off x="2284851" y="1571612"/>
              <a:ext cx="602773" cy="114300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81" name="Овал 80"/>
            <p:cNvSpPr/>
            <p:nvPr/>
          </p:nvSpPr>
          <p:spPr>
            <a:xfrm>
              <a:off x="2127043" y="1980199"/>
              <a:ext cx="276811" cy="276702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grpSp>
        <p:nvGrpSpPr>
          <p:cNvPr id="2948107" name="Группа 81"/>
          <p:cNvGrpSpPr>
            <a:grpSpLocks/>
          </p:cNvGrpSpPr>
          <p:nvPr/>
        </p:nvGrpSpPr>
        <p:grpSpPr bwMode="auto">
          <a:xfrm>
            <a:off x="474663" y="4556125"/>
            <a:ext cx="615950" cy="701675"/>
            <a:chOff x="1883864" y="1571612"/>
            <a:chExt cx="1003760" cy="1143008"/>
          </a:xfrm>
        </p:grpSpPr>
        <p:sp>
          <p:nvSpPr>
            <p:cNvPr id="83" name="Овал 82"/>
            <p:cNvSpPr/>
            <p:nvPr/>
          </p:nvSpPr>
          <p:spPr>
            <a:xfrm>
              <a:off x="1883864" y="1713842"/>
              <a:ext cx="786451" cy="78614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84" name="Прямоугольник 83"/>
            <p:cNvSpPr/>
            <p:nvPr/>
          </p:nvSpPr>
          <p:spPr>
            <a:xfrm>
              <a:off x="2284850" y="1571612"/>
              <a:ext cx="602774" cy="114300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85" name="Овал 84"/>
            <p:cNvSpPr/>
            <p:nvPr/>
          </p:nvSpPr>
          <p:spPr>
            <a:xfrm>
              <a:off x="2127043" y="1980199"/>
              <a:ext cx="276809" cy="276702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grpSp>
        <p:nvGrpSpPr>
          <p:cNvPr id="2948108" name="Группа 85"/>
          <p:cNvGrpSpPr>
            <a:grpSpLocks/>
          </p:cNvGrpSpPr>
          <p:nvPr/>
        </p:nvGrpSpPr>
        <p:grpSpPr bwMode="auto">
          <a:xfrm>
            <a:off x="476250" y="5156200"/>
            <a:ext cx="615950" cy="701675"/>
            <a:chOff x="1883864" y="1571612"/>
            <a:chExt cx="1003760" cy="1143008"/>
          </a:xfrm>
        </p:grpSpPr>
        <p:sp>
          <p:nvSpPr>
            <p:cNvPr id="87" name="Овал 86"/>
            <p:cNvSpPr/>
            <p:nvPr/>
          </p:nvSpPr>
          <p:spPr>
            <a:xfrm>
              <a:off x="1883864" y="1713842"/>
              <a:ext cx="786451" cy="78614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88" name="Прямоугольник 87"/>
            <p:cNvSpPr/>
            <p:nvPr/>
          </p:nvSpPr>
          <p:spPr>
            <a:xfrm>
              <a:off x="2284851" y="1571612"/>
              <a:ext cx="602773" cy="114300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89" name="Овал 88"/>
            <p:cNvSpPr/>
            <p:nvPr/>
          </p:nvSpPr>
          <p:spPr>
            <a:xfrm>
              <a:off x="2127043" y="1980199"/>
              <a:ext cx="276811" cy="276702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grpSp>
        <p:nvGrpSpPr>
          <p:cNvPr id="2948109" name="Группа 89"/>
          <p:cNvGrpSpPr>
            <a:grpSpLocks/>
          </p:cNvGrpSpPr>
          <p:nvPr/>
        </p:nvGrpSpPr>
        <p:grpSpPr bwMode="auto">
          <a:xfrm>
            <a:off x="477838" y="5799138"/>
            <a:ext cx="615950" cy="701675"/>
            <a:chOff x="1883864" y="1571612"/>
            <a:chExt cx="1003760" cy="1143008"/>
          </a:xfrm>
        </p:grpSpPr>
        <p:sp>
          <p:nvSpPr>
            <p:cNvPr id="91" name="Овал 90"/>
            <p:cNvSpPr/>
            <p:nvPr/>
          </p:nvSpPr>
          <p:spPr>
            <a:xfrm>
              <a:off x="1883864" y="1713841"/>
              <a:ext cx="786451" cy="78614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92" name="Прямоугольник 91"/>
            <p:cNvSpPr/>
            <p:nvPr/>
          </p:nvSpPr>
          <p:spPr>
            <a:xfrm>
              <a:off x="2284850" y="1571612"/>
              <a:ext cx="602774" cy="114300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93" name="Овал 92"/>
            <p:cNvSpPr/>
            <p:nvPr/>
          </p:nvSpPr>
          <p:spPr>
            <a:xfrm>
              <a:off x="2127043" y="1980199"/>
              <a:ext cx="276809" cy="276700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grpSp>
        <p:nvGrpSpPr>
          <p:cNvPr id="2948110" name="Группа 103"/>
          <p:cNvGrpSpPr>
            <a:grpSpLocks/>
          </p:cNvGrpSpPr>
          <p:nvPr/>
        </p:nvGrpSpPr>
        <p:grpSpPr bwMode="auto">
          <a:xfrm>
            <a:off x="481013" y="2727325"/>
            <a:ext cx="517525" cy="630238"/>
            <a:chOff x="1883864" y="1571614"/>
            <a:chExt cx="842473" cy="1026684"/>
          </a:xfrm>
        </p:grpSpPr>
        <p:sp>
          <p:nvSpPr>
            <p:cNvPr id="105" name="Овал 104"/>
            <p:cNvSpPr/>
            <p:nvPr/>
          </p:nvSpPr>
          <p:spPr>
            <a:xfrm>
              <a:off x="1883864" y="1713851"/>
              <a:ext cx="785619" cy="78617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06" name="Прямоугольник 105"/>
            <p:cNvSpPr/>
            <p:nvPr/>
          </p:nvSpPr>
          <p:spPr>
            <a:xfrm>
              <a:off x="2284426" y="1571614"/>
              <a:ext cx="441911" cy="10266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07" name="Овал 106"/>
            <p:cNvSpPr/>
            <p:nvPr/>
          </p:nvSpPr>
          <p:spPr>
            <a:xfrm>
              <a:off x="2126786" y="1980218"/>
              <a:ext cx="276516" cy="276714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2948111" name="TextBox 41"/>
          <p:cNvSpPr txBox="1">
            <a:spLocks noChangeArrowheads="1"/>
          </p:cNvSpPr>
          <p:nvPr/>
        </p:nvSpPr>
        <p:spPr bwMode="auto">
          <a:xfrm>
            <a:off x="1908175" y="1052513"/>
            <a:ext cx="6840538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2000"/>
              <a:t>Высокие социальные платежи для индивидуальных предпринимателей и юридических лиц</a:t>
            </a:r>
          </a:p>
        </p:txBody>
      </p:sp>
      <p:sp>
        <p:nvSpPr>
          <p:cNvPr id="2948112" name="TextBox 41"/>
          <p:cNvSpPr txBox="1">
            <a:spLocks noChangeArrowheads="1"/>
          </p:cNvSpPr>
          <p:nvPr/>
        </p:nvSpPr>
        <p:spPr bwMode="auto">
          <a:xfrm>
            <a:off x="1979613" y="2060575"/>
            <a:ext cx="68405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/>
              <a:t>Высокие тарифы на электроэнергию. </a:t>
            </a:r>
          </a:p>
        </p:txBody>
      </p:sp>
      <p:sp>
        <p:nvSpPr>
          <p:cNvPr id="2948113" name="TextBox 41"/>
          <p:cNvSpPr txBox="1">
            <a:spLocks noChangeArrowheads="1"/>
          </p:cNvSpPr>
          <p:nvPr/>
        </p:nvSpPr>
        <p:spPr bwMode="auto">
          <a:xfrm>
            <a:off x="1979613" y="3068638"/>
            <a:ext cx="6840537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/>
              <a:t>Завышенная кадастровая оценка земельных участков, высокий земельный налог и арендные платежи</a:t>
            </a:r>
          </a:p>
        </p:txBody>
      </p:sp>
      <p:sp>
        <p:nvSpPr>
          <p:cNvPr id="2948114" name="TextBox 41"/>
          <p:cNvSpPr txBox="1">
            <a:spLocks noChangeArrowheads="1"/>
          </p:cNvSpPr>
          <p:nvPr/>
        </p:nvSpPr>
        <p:spPr bwMode="auto">
          <a:xfrm>
            <a:off x="1979613" y="4005263"/>
            <a:ext cx="684053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/>
              <a:t>Бухгалтерский учет для УСН</a:t>
            </a:r>
          </a:p>
        </p:txBody>
      </p:sp>
      <p:sp>
        <p:nvSpPr>
          <p:cNvPr id="2948115" name="TextBox 41"/>
          <p:cNvSpPr txBox="1">
            <a:spLocks noChangeArrowheads="1"/>
          </p:cNvSpPr>
          <p:nvPr/>
        </p:nvSpPr>
        <p:spPr bwMode="auto">
          <a:xfrm>
            <a:off x="1979613" y="4941888"/>
            <a:ext cx="684053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/>
              <a:t>Кассовые операции для ИП</a:t>
            </a:r>
          </a:p>
        </p:txBody>
      </p:sp>
      <p:sp>
        <p:nvSpPr>
          <p:cNvPr id="63" name="Скругленный прямоугольник 11"/>
          <p:cNvSpPr/>
          <p:nvPr/>
        </p:nvSpPr>
        <p:spPr>
          <a:xfrm>
            <a:off x="971550" y="4940300"/>
            <a:ext cx="619125" cy="417513"/>
          </a:xfrm>
          <a:prstGeom prst="roundRect">
            <a:avLst>
              <a:gd name="adj" fmla="val 10000"/>
            </a:avLst>
          </a:prstGeom>
          <a:blipFill rotWithShape="0">
            <a:blip r:embed="rId3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74" name="Скругленный прямоугольник 73"/>
          <p:cNvSpPr/>
          <p:nvPr/>
        </p:nvSpPr>
        <p:spPr>
          <a:xfrm>
            <a:off x="971550" y="1196975"/>
            <a:ext cx="619125" cy="417513"/>
          </a:xfrm>
          <a:prstGeom prst="roundRect">
            <a:avLst>
              <a:gd name="adj" fmla="val 10000"/>
            </a:avLst>
          </a:prstGeom>
          <a:blipFill rotWithShape="0">
            <a:blip r:embed="rId3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78" name="Скругленный прямоугольник 11"/>
          <p:cNvSpPr/>
          <p:nvPr/>
        </p:nvSpPr>
        <p:spPr>
          <a:xfrm>
            <a:off x="971550" y="2132013"/>
            <a:ext cx="619125" cy="417512"/>
          </a:xfrm>
          <a:prstGeom prst="roundRect">
            <a:avLst>
              <a:gd name="adj" fmla="val 10000"/>
            </a:avLst>
          </a:prstGeom>
          <a:blipFill rotWithShape="0">
            <a:blip r:embed="rId3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2" name="Скругленный прямоугольник 11"/>
          <p:cNvSpPr/>
          <p:nvPr/>
        </p:nvSpPr>
        <p:spPr>
          <a:xfrm>
            <a:off x="971550" y="4005263"/>
            <a:ext cx="619125" cy="417512"/>
          </a:xfrm>
          <a:prstGeom prst="roundRect">
            <a:avLst>
              <a:gd name="adj" fmla="val 10000"/>
            </a:avLst>
          </a:prstGeom>
          <a:blipFill rotWithShape="0">
            <a:blip r:embed="rId3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6" name="Скругленный прямоугольник 11"/>
          <p:cNvSpPr/>
          <p:nvPr/>
        </p:nvSpPr>
        <p:spPr>
          <a:xfrm>
            <a:off x="971550" y="3068638"/>
            <a:ext cx="619125" cy="417512"/>
          </a:xfrm>
          <a:prstGeom prst="roundRect">
            <a:avLst>
              <a:gd name="adj" fmla="val 10000"/>
            </a:avLst>
          </a:prstGeom>
          <a:blipFill rotWithShape="0">
            <a:blip r:embed="rId3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0" name="Скругленный прямоугольник 11"/>
          <p:cNvSpPr/>
          <p:nvPr/>
        </p:nvSpPr>
        <p:spPr>
          <a:xfrm>
            <a:off x="1042988" y="5732463"/>
            <a:ext cx="619125" cy="417512"/>
          </a:xfrm>
          <a:prstGeom prst="roundRect">
            <a:avLst>
              <a:gd name="adj" fmla="val 10000"/>
            </a:avLst>
          </a:prstGeom>
          <a:blipFill rotWithShape="0">
            <a:blip r:embed="rId3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948122" name="TextBox 41"/>
          <p:cNvSpPr txBox="1">
            <a:spLocks noChangeArrowheads="1"/>
          </p:cNvSpPr>
          <p:nvPr/>
        </p:nvSpPr>
        <p:spPr bwMode="auto">
          <a:xfrm>
            <a:off x="2051050" y="5661025"/>
            <a:ext cx="684053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/>
              <a:t>Доминирование ГУПов и МУПов (более 23 000)</a:t>
            </a:r>
          </a:p>
        </p:txBody>
      </p:sp>
      <p:sp>
        <p:nvSpPr>
          <p:cNvPr id="5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D2BBA89-916D-4FC2-B483-942F8E152103}" type="slidenum">
              <a:rPr lang="ru-RU" smtClean="0"/>
              <a:pPr>
                <a:defRPr/>
              </a:pPr>
              <a:t>34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20449" name="Группа 10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3" name="Овал 12"/>
            <p:cNvSpPr/>
            <p:nvPr/>
          </p:nvSpPr>
          <p:spPr>
            <a:xfrm>
              <a:off x="322263" y="500063"/>
              <a:ext cx="785812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714375" y="357188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Овал 14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Полилиния 15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31747" name="Rectangle 2"/>
          <p:cNvSpPr>
            <a:spLocks noGrp="1"/>
          </p:cNvSpPr>
          <p:nvPr>
            <p:ph type="title"/>
          </p:nvPr>
        </p:nvSpPr>
        <p:spPr>
          <a:xfrm>
            <a:off x="250825" y="-144463"/>
            <a:ext cx="8229600" cy="836613"/>
          </a:xfrm>
        </p:spPr>
        <p:txBody>
          <a:bodyPr/>
          <a:lstStyle/>
          <a:p>
            <a:pPr>
              <a:defRPr/>
            </a:pPr>
            <a:r>
              <a:rPr lang="ru-RU" sz="2800" b="1" dirty="0" smtClean="0">
                <a:latin typeface="Arial" pitchFamily="34" charset="0"/>
                <a:ea typeface="+mn-ea"/>
                <a:cs typeface="Arial" pitchFamily="34" charset="0"/>
              </a:rPr>
              <a:t>Социальные платежи </a:t>
            </a:r>
            <a:r>
              <a:rPr lang="ru-RU" sz="2800" b="1" dirty="0">
                <a:latin typeface="Arial" pitchFamily="34" charset="0"/>
                <a:ea typeface="+mn-ea"/>
                <a:cs typeface="Arial" pitchFamily="34" charset="0"/>
              </a:rPr>
              <a:t>субъектов МСП</a:t>
            </a:r>
          </a:p>
        </p:txBody>
      </p:sp>
      <p:sp>
        <p:nvSpPr>
          <p:cNvPr id="2920451" name="Rectangle 4"/>
          <p:cNvSpPr>
            <a:spLocks noGrp="1"/>
          </p:cNvSpPr>
          <p:nvPr>
            <p:ph type="body" sz="half" idx="2"/>
          </p:nvPr>
        </p:nvSpPr>
        <p:spPr>
          <a:xfrm>
            <a:off x="1042988" y="3068638"/>
            <a:ext cx="7345362" cy="1512887"/>
          </a:xfrm>
        </p:spPr>
        <p:txBody>
          <a:bodyPr/>
          <a:lstStyle/>
          <a:p>
            <a:pPr>
              <a:lnSpc>
                <a:spcPct val="80000"/>
              </a:lnSpc>
              <a:buFont typeface="Arial" charset="0"/>
              <a:buNone/>
            </a:pPr>
            <a:r>
              <a:rPr lang="ru-RU" sz="2000" b="1" smtClean="0"/>
              <a:t>Индивидуальные предприниматели </a:t>
            </a:r>
            <a:r>
              <a:rPr lang="ru-RU" sz="2000" smtClean="0"/>
              <a:t>в отношении самих себя:</a:t>
            </a:r>
          </a:p>
          <a:p>
            <a:pPr>
              <a:lnSpc>
                <a:spcPct val="80000"/>
              </a:lnSpc>
              <a:buFont typeface="Arial" charset="0"/>
              <a:buNone/>
            </a:pPr>
            <a:r>
              <a:rPr lang="ru-RU" sz="2000" smtClean="0"/>
              <a:t>2012 г. – 17208 руб.</a:t>
            </a:r>
          </a:p>
          <a:p>
            <a:pPr>
              <a:lnSpc>
                <a:spcPct val="80000"/>
              </a:lnSpc>
              <a:buFont typeface="Arial" charset="0"/>
              <a:buNone/>
            </a:pPr>
            <a:r>
              <a:rPr lang="ru-RU" sz="2000" smtClean="0"/>
              <a:t>2013 г. – 35665 руб.</a:t>
            </a:r>
          </a:p>
          <a:p>
            <a:pPr>
              <a:lnSpc>
                <a:spcPct val="80000"/>
              </a:lnSpc>
            </a:pPr>
            <a:endParaRPr lang="ru-RU" sz="2000" smtClean="0"/>
          </a:p>
          <a:p>
            <a:pPr>
              <a:lnSpc>
                <a:spcPct val="80000"/>
              </a:lnSpc>
            </a:pPr>
            <a:endParaRPr lang="ru-RU" sz="2000" smtClean="0"/>
          </a:p>
        </p:txBody>
      </p:sp>
      <p:graphicFrame>
        <p:nvGraphicFramePr>
          <p:cNvPr id="29733" name="Group 37"/>
          <p:cNvGraphicFramePr>
            <a:graphicFrameLocks noGrp="1"/>
          </p:cNvGraphicFramePr>
          <p:nvPr/>
        </p:nvGraphicFramePr>
        <p:xfrm>
          <a:off x="900113" y="4365625"/>
          <a:ext cx="8064500" cy="1575691"/>
        </p:xfrm>
        <a:graphic>
          <a:graphicData uri="http://schemas.openxmlformats.org/drawingml/2006/table">
            <a:tbl>
              <a:tblPr/>
              <a:tblGrid>
                <a:gridCol w="4032250"/>
                <a:gridCol w="4032250"/>
              </a:tblGrid>
              <a:tr h="50353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Страховые взносы для ИП с 2014 г. зависят от дохода</a:t>
                      </a:r>
                    </a:p>
                  </a:txBody>
                  <a:tcPr marT="45734" marB="45734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320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Годовой доход до 300 тыс. руб.</a:t>
                      </a:r>
                    </a:p>
                  </a:txBody>
                  <a:tcPr marT="45734" marB="45734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sng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Годовой доход свыше 300 тыс. руб.</a:t>
                      </a:r>
                    </a:p>
                  </a:txBody>
                  <a:tcPr marT="45734" marB="45734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3715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20728 руб.</a:t>
                      </a:r>
                    </a:p>
                  </a:txBody>
                  <a:tcPr marT="45734" marB="45734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20728 руб. + 1 % от дохода, превышающего 300 тыс. руб.</a:t>
                      </a:r>
                    </a:p>
                  </a:txBody>
                  <a:tcPr marT="45734" marB="45734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sp>
        <p:nvSpPr>
          <p:cNvPr id="2920465" name="TextBox 17"/>
          <p:cNvSpPr txBox="1">
            <a:spLocks noChangeArrowheads="1"/>
          </p:cNvSpPr>
          <p:nvPr/>
        </p:nvSpPr>
        <p:spPr bwMode="auto">
          <a:xfrm>
            <a:off x="1116013" y="838200"/>
            <a:ext cx="6911975" cy="2289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latin typeface="Calibri" pitchFamily="34" charset="0"/>
              </a:rPr>
              <a:t>Юридические лица и ИП (в отношении работников) </a:t>
            </a:r>
            <a:r>
              <a:rPr lang="ru-RU">
                <a:latin typeface="Calibri" pitchFamily="34" charset="0"/>
              </a:rPr>
              <a:t>– 30 % от фонда оплаты труда.</a:t>
            </a:r>
          </a:p>
          <a:p>
            <a:endParaRPr lang="ru-RU">
              <a:latin typeface="Calibri" pitchFamily="34" charset="0"/>
            </a:endParaRPr>
          </a:p>
          <a:p>
            <a:r>
              <a:rPr lang="ru-RU">
                <a:latin typeface="Calibri" pitchFamily="34" charset="0"/>
              </a:rPr>
              <a:t>Льготы:</a:t>
            </a:r>
          </a:p>
          <a:p>
            <a:r>
              <a:rPr lang="ru-RU">
                <a:latin typeface="Calibri" pitchFamily="34" charset="0"/>
              </a:rPr>
              <a:t>производственные  и социальные предприятия на УСН – 20 %;</a:t>
            </a:r>
          </a:p>
          <a:p>
            <a:r>
              <a:rPr lang="en-US">
                <a:latin typeface="Calibri" pitchFamily="34" charset="0"/>
              </a:rPr>
              <a:t>IT</a:t>
            </a:r>
            <a:r>
              <a:rPr lang="ru-RU">
                <a:latin typeface="Calibri" pitchFamily="34" charset="0"/>
              </a:rPr>
              <a:t>-предприятия (число сотрудников более 7) – 14 %;</a:t>
            </a:r>
          </a:p>
          <a:p>
            <a:r>
              <a:rPr lang="ru-RU">
                <a:latin typeface="Calibri" pitchFamily="34" charset="0"/>
              </a:rPr>
              <a:t>инновационные предприятия, созданные по 217-ФЗ  - 14 %.</a:t>
            </a:r>
          </a:p>
          <a:p>
            <a:endParaRPr lang="ru-RU" b="1">
              <a:latin typeface="Calibri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40BC56-40F3-45B5-887C-CCD33CD069DB}" type="slidenum">
              <a:rPr lang="ru-RU" smtClean="0"/>
              <a:pPr>
                <a:defRPr/>
              </a:pPr>
              <a:t>35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 txBox="1">
            <a:spLocks noGrp="1"/>
          </p:cNvSpPr>
          <p:nvPr/>
        </p:nvSpPr>
        <p:spPr>
          <a:xfrm>
            <a:off x="6831013" y="6376988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F1570ABA-20A8-467B-848B-3F1D37F6ACFC}" type="slidenum">
              <a:rPr lang="ru-RU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36</a:t>
            </a:fld>
            <a:endParaRPr lang="ru-RU" sz="1200" dirty="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0" y="0"/>
            <a:ext cx="714375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" name="Овал 4"/>
          <p:cNvSpPr/>
          <p:nvPr/>
        </p:nvSpPr>
        <p:spPr bwMode="auto">
          <a:xfrm>
            <a:off x="322263" y="752475"/>
            <a:ext cx="785812" cy="7858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" name="Овал 5"/>
          <p:cNvSpPr/>
          <p:nvPr/>
        </p:nvSpPr>
        <p:spPr bwMode="auto">
          <a:xfrm>
            <a:off x="565150" y="1017588"/>
            <a:ext cx="276225" cy="276225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" name="Полилиния 6"/>
          <p:cNvSpPr/>
          <p:nvPr/>
        </p:nvSpPr>
        <p:spPr bwMode="auto">
          <a:xfrm>
            <a:off x="749300" y="823913"/>
            <a:ext cx="6680200" cy="190500"/>
          </a:xfrm>
          <a:custGeom>
            <a:avLst/>
            <a:gdLst>
              <a:gd name="connsiteX0" fmla="*/ 0 w 3136900"/>
              <a:gd name="connsiteY0" fmla="*/ 279400 h 279400"/>
              <a:gd name="connsiteX1" fmla="*/ 203200 w 3136900"/>
              <a:gd name="connsiteY1" fmla="*/ 0 h 279400"/>
              <a:gd name="connsiteX2" fmla="*/ 3136900 w 3136900"/>
              <a:gd name="connsiteY2" fmla="*/ 635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36900" h="279400">
                <a:moveTo>
                  <a:pt x="0" y="279400"/>
                </a:moveTo>
                <a:lnTo>
                  <a:pt x="203200" y="0"/>
                </a:lnTo>
                <a:lnTo>
                  <a:pt x="3136900" y="6350"/>
                </a:lnTo>
              </a:path>
            </a:pathLst>
          </a:cu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950150" name="Заголовок 4"/>
          <p:cNvSpPr txBox="1">
            <a:spLocks/>
          </p:cNvSpPr>
          <p:nvPr/>
        </p:nvSpPr>
        <p:spPr bwMode="auto">
          <a:xfrm>
            <a:off x="971550" y="-26988"/>
            <a:ext cx="7569200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/>
            <a:r>
              <a:rPr lang="ru-RU" sz="2400" b="1"/>
              <a:t>Последствия повышения страховых взносов для ИП с 1 января 2013 года </a:t>
            </a:r>
          </a:p>
        </p:txBody>
      </p:sp>
      <p:grpSp>
        <p:nvGrpSpPr>
          <p:cNvPr id="2950151" name="Group 3"/>
          <p:cNvGrpSpPr>
            <a:grpSpLocks/>
          </p:cNvGrpSpPr>
          <p:nvPr/>
        </p:nvGrpSpPr>
        <p:grpSpPr bwMode="auto">
          <a:xfrm>
            <a:off x="395288" y="1268413"/>
            <a:ext cx="8836025" cy="4652962"/>
            <a:chOff x="96" y="1108"/>
            <a:chExt cx="5566" cy="2931"/>
          </a:xfrm>
        </p:grpSpPr>
        <p:grpSp>
          <p:nvGrpSpPr>
            <p:cNvPr id="2950154" name="Group 4"/>
            <p:cNvGrpSpPr>
              <a:grpSpLocks/>
            </p:cNvGrpSpPr>
            <p:nvPr/>
          </p:nvGrpSpPr>
          <p:grpSpPr bwMode="auto">
            <a:xfrm>
              <a:off x="4503" y="1893"/>
              <a:ext cx="1105" cy="1074"/>
              <a:chOff x="2457" y="2000"/>
              <a:chExt cx="901" cy="888"/>
            </a:xfrm>
          </p:grpSpPr>
          <p:pic>
            <p:nvPicPr>
              <p:cNvPr id="2950219" name="Picture 5" descr="circuler_1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ltGray">
              <a:xfrm>
                <a:off x="2457" y="2000"/>
                <a:ext cx="901" cy="8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72" name="Oval 6"/>
              <p:cNvSpPr>
                <a:spLocks noChangeArrowheads="1"/>
              </p:cNvSpPr>
              <p:nvPr/>
            </p:nvSpPr>
            <p:spPr bwMode="ltGray">
              <a:xfrm>
                <a:off x="2457" y="2000"/>
                <a:ext cx="895" cy="888"/>
              </a:xfrm>
              <a:prstGeom prst="ellipse">
                <a:avLst/>
              </a:prstGeom>
              <a:solidFill>
                <a:srgbClr val="7DC244"/>
              </a:solidFill>
              <a:ln w="38100" cap="flat" cmpd="sng" algn="ctr">
                <a:solidFill>
                  <a:srgbClr val="FFFFFF"/>
                </a:solidFill>
                <a:prstDash val="solid"/>
                <a:headEnd/>
                <a:tailE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kern="0" dirty="0">
                  <a:solidFill>
                    <a:srgbClr val="FFFFFF"/>
                  </a:solidFill>
                  <a:latin typeface="Century Gothic" pitchFamily="34" charset="0"/>
                  <a:cs typeface="+mn-cs"/>
                </a:endParaRPr>
              </a:p>
            </p:txBody>
          </p:sp>
          <p:sp>
            <p:nvSpPr>
              <p:cNvPr id="173" name="Freeform 7"/>
              <p:cNvSpPr>
                <a:spLocks/>
              </p:cNvSpPr>
              <p:nvPr/>
            </p:nvSpPr>
            <p:spPr bwMode="ltGray">
              <a:xfrm>
                <a:off x="2550" y="2018"/>
                <a:ext cx="703" cy="308"/>
              </a:xfrm>
              <a:custGeom>
                <a:avLst/>
                <a:gdLst>
                  <a:gd name="T0" fmla="*/ 692 w 1321"/>
                  <a:gd name="T1" fmla="*/ 173 h 712"/>
                  <a:gd name="T2" fmla="*/ 701 w 1321"/>
                  <a:gd name="T3" fmla="*/ 191 h 712"/>
                  <a:gd name="T4" fmla="*/ 703 w 1321"/>
                  <a:gd name="T5" fmla="*/ 208 h 712"/>
                  <a:gd name="T6" fmla="*/ 700 w 1321"/>
                  <a:gd name="T7" fmla="*/ 223 h 712"/>
                  <a:gd name="T8" fmla="*/ 691 w 1321"/>
                  <a:gd name="T9" fmla="*/ 238 h 712"/>
                  <a:gd name="T10" fmla="*/ 677 w 1321"/>
                  <a:gd name="T11" fmla="*/ 250 h 712"/>
                  <a:gd name="T12" fmla="*/ 659 w 1321"/>
                  <a:gd name="T13" fmla="*/ 261 h 712"/>
                  <a:gd name="T14" fmla="*/ 636 w 1321"/>
                  <a:gd name="T15" fmla="*/ 272 h 712"/>
                  <a:gd name="T16" fmla="*/ 610 w 1321"/>
                  <a:gd name="T17" fmla="*/ 281 h 712"/>
                  <a:gd name="T18" fmla="*/ 581 w 1321"/>
                  <a:gd name="T19" fmla="*/ 289 h 712"/>
                  <a:gd name="T20" fmla="*/ 549 w 1321"/>
                  <a:gd name="T21" fmla="*/ 295 h 712"/>
                  <a:gd name="T22" fmla="*/ 515 w 1321"/>
                  <a:gd name="T23" fmla="*/ 300 h 712"/>
                  <a:gd name="T24" fmla="*/ 477 w 1321"/>
                  <a:gd name="T25" fmla="*/ 305 h 712"/>
                  <a:gd name="T26" fmla="*/ 439 w 1321"/>
                  <a:gd name="T27" fmla="*/ 307 h 712"/>
                  <a:gd name="T28" fmla="*/ 423 w 1321"/>
                  <a:gd name="T29" fmla="*/ 308 h 712"/>
                  <a:gd name="T30" fmla="*/ 253 w 1321"/>
                  <a:gd name="T31" fmla="*/ 308 h 712"/>
                  <a:gd name="T32" fmla="*/ 251 w 1321"/>
                  <a:gd name="T33" fmla="*/ 308 h 712"/>
                  <a:gd name="T34" fmla="*/ 218 w 1321"/>
                  <a:gd name="T35" fmla="*/ 306 h 712"/>
                  <a:gd name="T36" fmla="*/ 185 w 1321"/>
                  <a:gd name="T37" fmla="*/ 305 h 712"/>
                  <a:gd name="T38" fmla="*/ 154 w 1321"/>
                  <a:gd name="T39" fmla="*/ 301 h 712"/>
                  <a:gd name="T40" fmla="*/ 125 w 1321"/>
                  <a:gd name="T41" fmla="*/ 298 h 712"/>
                  <a:gd name="T42" fmla="*/ 99 w 1321"/>
                  <a:gd name="T43" fmla="*/ 293 h 712"/>
                  <a:gd name="T44" fmla="*/ 75 w 1321"/>
                  <a:gd name="T45" fmla="*/ 287 h 712"/>
                  <a:gd name="T46" fmla="*/ 54 w 1321"/>
                  <a:gd name="T47" fmla="*/ 280 h 712"/>
                  <a:gd name="T48" fmla="*/ 36 w 1321"/>
                  <a:gd name="T49" fmla="*/ 273 h 712"/>
                  <a:gd name="T50" fmla="*/ 21 w 1321"/>
                  <a:gd name="T51" fmla="*/ 263 h 712"/>
                  <a:gd name="T52" fmla="*/ 10 w 1321"/>
                  <a:gd name="T53" fmla="*/ 252 h 712"/>
                  <a:gd name="T54" fmla="*/ 3 w 1321"/>
                  <a:gd name="T55" fmla="*/ 240 h 712"/>
                  <a:gd name="T56" fmla="*/ 0 w 1321"/>
                  <a:gd name="T57" fmla="*/ 227 h 712"/>
                  <a:gd name="T58" fmla="*/ 0 w 1321"/>
                  <a:gd name="T59" fmla="*/ 225 h 712"/>
                  <a:gd name="T60" fmla="*/ 2 w 1321"/>
                  <a:gd name="T61" fmla="*/ 211 h 712"/>
                  <a:gd name="T62" fmla="*/ 9 w 1321"/>
                  <a:gd name="T63" fmla="*/ 193 h 712"/>
                  <a:gd name="T64" fmla="*/ 27 w 1321"/>
                  <a:gd name="T65" fmla="*/ 160 h 712"/>
                  <a:gd name="T66" fmla="*/ 50 w 1321"/>
                  <a:gd name="T67" fmla="*/ 129 h 712"/>
                  <a:gd name="T68" fmla="*/ 78 w 1321"/>
                  <a:gd name="T69" fmla="*/ 102 h 712"/>
                  <a:gd name="T70" fmla="*/ 109 w 1321"/>
                  <a:gd name="T71" fmla="*/ 76 h 712"/>
                  <a:gd name="T72" fmla="*/ 144 w 1321"/>
                  <a:gd name="T73" fmla="*/ 54 h 712"/>
                  <a:gd name="T74" fmla="*/ 181 w 1321"/>
                  <a:gd name="T75" fmla="*/ 35 h 712"/>
                  <a:gd name="T76" fmla="*/ 221 w 1321"/>
                  <a:gd name="T77" fmla="*/ 20 h 712"/>
                  <a:gd name="T78" fmla="*/ 264 w 1321"/>
                  <a:gd name="T79" fmla="*/ 9 h 712"/>
                  <a:gd name="T80" fmla="*/ 309 w 1321"/>
                  <a:gd name="T81" fmla="*/ 3 h 712"/>
                  <a:gd name="T82" fmla="*/ 355 w 1321"/>
                  <a:gd name="T83" fmla="*/ 0 h 712"/>
                  <a:gd name="T84" fmla="*/ 355 w 1321"/>
                  <a:gd name="T85" fmla="*/ 0 h 712"/>
                  <a:gd name="T86" fmla="*/ 404 w 1321"/>
                  <a:gd name="T87" fmla="*/ 3 h 712"/>
                  <a:gd name="T88" fmla="*/ 451 w 1321"/>
                  <a:gd name="T89" fmla="*/ 10 h 712"/>
                  <a:gd name="T90" fmla="*/ 496 w 1321"/>
                  <a:gd name="T91" fmla="*/ 23 h 712"/>
                  <a:gd name="T92" fmla="*/ 537 w 1321"/>
                  <a:gd name="T93" fmla="*/ 39 h 712"/>
                  <a:gd name="T94" fmla="*/ 576 w 1321"/>
                  <a:gd name="T95" fmla="*/ 59 h 712"/>
                  <a:gd name="T96" fmla="*/ 611 w 1321"/>
                  <a:gd name="T97" fmla="*/ 84 h 712"/>
                  <a:gd name="T98" fmla="*/ 643 w 1321"/>
                  <a:gd name="T99" fmla="*/ 111 h 712"/>
                  <a:gd name="T100" fmla="*/ 669 w 1321"/>
                  <a:gd name="T101" fmla="*/ 141 h 712"/>
                  <a:gd name="T102" fmla="*/ 692 w 1321"/>
                  <a:gd name="T103" fmla="*/ 173 h 712"/>
                  <a:gd name="T104" fmla="*/ 692 w 1321"/>
                  <a:gd name="T105" fmla="*/ 173 h 71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1321" h="712">
                    <a:moveTo>
                      <a:pt x="1301" y="401"/>
                    </a:moveTo>
                    <a:lnTo>
                      <a:pt x="1317" y="442"/>
                    </a:lnTo>
                    <a:lnTo>
                      <a:pt x="1321" y="481"/>
                    </a:lnTo>
                    <a:lnTo>
                      <a:pt x="1315" y="516"/>
                    </a:lnTo>
                    <a:lnTo>
                      <a:pt x="1298" y="550"/>
                    </a:lnTo>
                    <a:lnTo>
                      <a:pt x="1272" y="579"/>
                    </a:lnTo>
                    <a:lnTo>
                      <a:pt x="1239" y="604"/>
                    </a:lnTo>
                    <a:lnTo>
                      <a:pt x="1196" y="628"/>
                    </a:lnTo>
                    <a:lnTo>
                      <a:pt x="1147" y="649"/>
                    </a:lnTo>
                    <a:lnTo>
                      <a:pt x="1092" y="667"/>
                    </a:lnTo>
                    <a:lnTo>
                      <a:pt x="1031" y="683"/>
                    </a:lnTo>
                    <a:lnTo>
                      <a:pt x="967" y="694"/>
                    </a:lnTo>
                    <a:lnTo>
                      <a:pt x="896" y="704"/>
                    </a:lnTo>
                    <a:lnTo>
                      <a:pt x="824" y="710"/>
                    </a:lnTo>
                    <a:lnTo>
                      <a:pt x="795" y="712"/>
                    </a:lnTo>
                    <a:lnTo>
                      <a:pt x="476" y="712"/>
                    </a:lnTo>
                    <a:lnTo>
                      <a:pt x="472" y="712"/>
                    </a:lnTo>
                    <a:lnTo>
                      <a:pt x="409" y="708"/>
                    </a:lnTo>
                    <a:lnTo>
                      <a:pt x="348" y="704"/>
                    </a:lnTo>
                    <a:lnTo>
                      <a:pt x="290" y="696"/>
                    </a:lnTo>
                    <a:lnTo>
                      <a:pt x="235" y="689"/>
                    </a:lnTo>
                    <a:lnTo>
                      <a:pt x="186" y="677"/>
                    </a:lnTo>
                    <a:lnTo>
                      <a:pt x="141" y="663"/>
                    </a:lnTo>
                    <a:lnTo>
                      <a:pt x="102" y="648"/>
                    </a:lnTo>
                    <a:lnTo>
                      <a:pt x="67" y="630"/>
                    </a:lnTo>
                    <a:lnTo>
                      <a:pt x="39" y="608"/>
                    </a:lnTo>
                    <a:lnTo>
                      <a:pt x="18" y="583"/>
                    </a:lnTo>
                    <a:lnTo>
                      <a:pt x="6" y="554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487"/>
                    </a:lnTo>
                    <a:lnTo>
                      <a:pt x="16" y="446"/>
                    </a:lnTo>
                    <a:lnTo>
                      <a:pt x="51" y="370"/>
                    </a:lnTo>
                    <a:lnTo>
                      <a:pt x="94" y="299"/>
                    </a:lnTo>
                    <a:lnTo>
                      <a:pt x="147" y="235"/>
                    </a:lnTo>
                    <a:lnTo>
                      <a:pt x="204" y="176"/>
                    </a:lnTo>
                    <a:lnTo>
                      <a:pt x="270" y="125"/>
                    </a:lnTo>
                    <a:lnTo>
                      <a:pt x="341" y="82"/>
                    </a:lnTo>
                    <a:lnTo>
                      <a:pt x="415" y="47"/>
                    </a:lnTo>
                    <a:lnTo>
                      <a:pt x="497" y="21"/>
                    </a:lnTo>
                    <a:lnTo>
                      <a:pt x="581" y="6"/>
                    </a:lnTo>
                    <a:lnTo>
                      <a:pt x="667" y="0"/>
                    </a:lnTo>
                    <a:lnTo>
                      <a:pt x="759" y="6"/>
                    </a:lnTo>
                    <a:lnTo>
                      <a:pt x="847" y="23"/>
                    </a:lnTo>
                    <a:lnTo>
                      <a:pt x="932" y="53"/>
                    </a:lnTo>
                    <a:lnTo>
                      <a:pt x="1010" y="90"/>
                    </a:lnTo>
                    <a:lnTo>
                      <a:pt x="1082" y="137"/>
                    </a:lnTo>
                    <a:lnTo>
                      <a:pt x="1149" y="194"/>
                    </a:lnTo>
                    <a:lnTo>
                      <a:pt x="1208" y="256"/>
                    </a:lnTo>
                    <a:lnTo>
                      <a:pt x="1258" y="325"/>
                    </a:lnTo>
                    <a:lnTo>
                      <a:pt x="1301" y="401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DDDDDD"/>
                  </a:gs>
                </a:gsLst>
                <a:lin ang="5400000" scaled="1"/>
              </a:gra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kern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2950222" name="Group 8"/>
              <p:cNvGrpSpPr>
                <a:grpSpLocks/>
              </p:cNvGrpSpPr>
              <p:nvPr/>
            </p:nvGrpSpPr>
            <p:grpSpPr bwMode="auto">
              <a:xfrm rot="-1297425" flipH="1" flipV="1">
                <a:off x="2525" y="2693"/>
                <a:ext cx="781" cy="188"/>
                <a:chOff x="2532" y="1051"/>
                <a:chExt cx="893" cy="246"/>
              </a:xfrm>
            </p:grpSpPr>
            <p:grpSp>
              <p:nvGrpSpPr>
                <p:cNvPr id="2950223" name="Group 9"/>
                <p:cNvGrpSpPr>
                  <a:grpSpLocks/>
                </p:cNvGrpSpPr>
                <p:nvPr/>
              </p:nvGrpSpPr>
              <p:grpSpPr bwMode="auto">
                <a:xfrm>
                  <a:off x="2532" y="1051"/>
                  <a:ext cx="743" cy="185"/>
                  <a:chOff x="1565" y="2568"/>
                  <a:chExt cx="1118" cy="279"/>
                </a:xfrm>
              </p:grpSpPr>
              <p:sp>
                <p:nvSpPr>
                  <p:cNvPr id="181" name="AutoShape 10"/>
                  <p:cNvSpPr>
                    <a:spLocks noChangeArrowheads="1"/>
                  </p:cNvSpPr>
                  <p:nvPr/>
                </p:nvSpPr>
                <p:spPr bwMode="ltGray">
                  <a:xfrm rot="5263130">
                    <a:off x="1888" y="2291"/>
                    <a:ext cx="227" cy="815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8F8F8">
                      <a:alpha val="3922"/>
                    </a:srgbClr>
                  </a:solidFill>
                  <a:ln>
                    <a:noFill/>
                  </a:ln>
                  <a:extLst/>
                </p:spPr>
                <p:txBody>
                  <a:bodyPr wrap="none" anchor="ctr"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kern="0">
                      <a:solidFill>
                        <a:sysClr val="windowText" lastClr="000000"/>
                      </a:solidFill>
                      <a:latin typeface="Century Gothic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82" name="AutoShape 11"/>
                  <p:cNvSpPr>
                    <a:spLocks noChangeArrowheads="1"/>
                  </p:cNvSpPr>
                  <p:nvPr/>
                </p:nvSpPr>
                <p:spPr bwMode="ltGray">
                  <a:xfrm rot="6078281">
                    <a:off x="2027" y="2293"/>
                    <a:ext cx="227" cy="815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8F8F8">
                      <a:alpha val="3922"/>
                    </a:srgbClr>
                  </a:solidFill>
                  <a:ln>
                    <a:noFill/>
                  </a:ln>
                  <a:extLst/>
                </p:spPr>
                <p:txBody>
                  <a:bodyPr wrap="none" anchor="ctr"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kern="0">
                      <a:solidFill>
                        <a:sysClr val="windowText" lastClr="000000"/>
                      </a:solidFill>
                      <a:latin typeface="Century Gothic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83" name="AutoShape 12"/>
                  <p:cNvSpPr>
                    <a:spLocks noChangeArrowheads="1"/>
                  </p:cNvSpPr>
                  <p:nvPr/>
                </p:nvSpPr>
                <p:spPr bwMode="ltGray">
                  <a:xfrm rot="6373927">
                    <a:off x="2098" y="2317"/>
                    <a:ext cx="227" cy="815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8F8F8">
                      <a:alpha val="3922"/>
                    </a:srgbClr>
                  </a:solidFill>
                  <a:ln>
                    <a:noFill/>
                  </a:ln>
                  <a:extLst/>
                </p:spPr>
                <p:txBody>
                  <a:bodyPr wrap="none" anchor="ctr"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kern="0">
                      <a:solidFill>
                        <a:sysClr val="windowText" lastClr="000000"/>
                      </a:solidFill>
                      <a:latin typeface="Century Gothic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84" name="AutoShape 13"/>
                  <p:cNvSpPr>
                    <a:spLocks noChangeArrowheads="1"/>
                  </p:cNvSpPr>
                  <p:nvPr/>
                </p:nvSpPr>
                <p:spPr bwMode="ltGray">
                  <a:xfrm rot="6906312">
                    <a:off x="2186" y="2353"/>
                    <a:ext cx="227" cy="815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8F8F8">
                      <a:alpha val="3922"/>
                    </a:srgbClr>
                  </a:solidFill>
                  <a:ln>
                    <a:noFill/>
                  </a:ln>
                  <a:extLst/>
                </p:spPr>
                <p:txBody>
                  <a:bodyPr wrap="none" anchor="ctr"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kern="0">
                      <a:solidFill>
                        <a:sysClr val="windowText" lastClr="000000"/>
                      </a:solidFill>
                      <a:latin typeface="Century Gothic" pitchFamily="34" charset="0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2950224" name="Group 14"/>
                <p:cNvGrpSpPr>
                  <a:grpSpLocks/>
                </p:cNvGrpSpPr>
                <p:nvPr/>
              </p:nvGrpSpPr>
              <p:grpSpPr bwMode="auto">
                <a:xfrm rot="1353540">
                  <a:off x="2682" y="1111"/>
                  <a:ext cx="743" cy="186"/>
                  <a:chOff x="1565" y="2568"/>
                  <a:chExt cx="1118" cy="279"/>
                </a:xfrm>
              </p:grpSpPr>
              <p:sp>
                <p:nvSpPr>
                  <p:cNvPr id="177" name="AutoShape 15"/>
                  <p:cNvSpPr>
                    <a:spLocks noChangeArrowheads="1"/>
                  </p:cNvSpPr>
                  <p:nvPr/>
                </p:nvSpPr>
                <p:spPr bwMode="ltGray">
                  <a:xfrm rot="5263130">
                    <a:off x="1896" y="2300"/>
                    <a:ext cx="227" cy="815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8F8F8">
                      <a:alpha val="3922"/>
                    </a:srgbClr>
                  </a:solidFill>
                  <a:ln>
                    <a:noFill/>
                  </a:ln>
                  <a:extLst/>
                </p:spPr>
                <p:txBody>
                  <a:bodyPr wrap="none" anchor="ctr"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kern="0">
                      <a:solidFill>
                        <a:sysClr val="windowText" lastClr="000000"/>
                      </a:solidFill>
                      <a:latin typeface="Century Gothic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78" name="AutoShape 16"/>
                  <p:cNvSpPr>
                    <a:spLocks noChangeArrowheads="1"/>
                  </p:cNvSpPr>
                  <p:nvPr/>
                </p:nvSpPr>
                <p:spPr bwMode="ltGray">
                  <a:xfrm rot="6078281">
                    <a:off x="2031" y="2304"/>
                    <a:ext cx="227" cy="815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8F8F8">
                      <a:alpha val="3922"/>
                    </a:srgbClr>
                  </a:solidFill>
                  <a:ln>
                    <a:noFill/>
                  </a:ln>
                  <a:extLst/>
                </p:spPr>
                <p:txBody>
                  <a:bodyPr wrap="none" anchor="ctr"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kern="0">
                      <a:solidFill>
                        <a:sysClr val="windowText" lastClr="000000"/>
                      </a:solidFill>
                      <a:latin typeface="Century Gothic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79" name="AutoShape 17"/>
                  <p:cNvSpPr>
                    <a:spLocks noChangeArrowheads="1"/>
                  </p:cNvSpPr>
                  <p:nvPr/>
                </p:nvSpPr>
                <p:spPr bwMode="ltGray">
                  <a:xfrm rot="6373927">
                    <a:off x="2099" y="2319"/>
                    <a:ext cx="227" cy="815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8F8F8">
                      <a:alpha val="3922"/>
                    </a:srgbClr>
                  </a:solidFill>
                  <a:ln>
                    <a:noFill/>
                  </a:ln>
                  <a:extLst/>
                </p:spPr>
                <p:txBody>
                  <a:bodyPr wrap="none" anchor="ctr"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kern="0">
                      <a:solidFill>
                        <a:sysClr val="windowText" lastClr="000000"/>
                      </a:solidFill>
                      <a:latin typeface="Century Gothic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80" name="AutoShape 18"/>
                  <p:cNvSpPr>
                    <a:spLocks noChangeArrowheads="1"/>
                  </p:cNvSpPr>
                  <p:nvPr/>
                </p:nvSpPr>
                <p:spPr bwMode="ltGray">
                  <a:xfrm rot="6906312">
                    <a:off x="2184" y="2349"/>
                    <a:ext cx="226" cy="815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8F8F8">
                      <a:alpha val="3922"/>
                    </a:srgbClr>
                  </a:solidFill>
                  <a:ln>
                    <a:noFill/>
                  </a:ln>
                  <a:extLst/>
                </p:spPr>
                <p:txBody>
                  <a:bodyPr wrap="none" anchor="ctr"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ru-RU" kern="0">
                      <a:solidFill>
                        <a:sysClr val="windowText" lastClr="000000"/>
                      </a:solidFill>
                      <a:latin typeface="Century Gothic" pitchFamily="34" charset="0"/>
                      <a:cs typeface="Arial" pitchFamily="34" charset="0"/>
                    </a:endParaRPr>
                  </a:p>
                </p:txBody>
              </p:sp>
            </p:grpSp>
          </p:grpSp>
        </p:grpSp>
        <p:grpSp>
          <p:nvGrpSpPr>
            <p:cNvPr id="2950155" name="Group 19"/>
            <p:cNvGrpSpPr>
              <a:grpSpLocks/>
            </p:cNvGrpSpPr>
            <p:nvPr/>
          </p:nvGrpSpPr>
          <p:grpSpPr bwMode="auto">
            <a:xfrm rot="-5400000">
              <a:off x="2725" y="2048"/>
              <a:ext cx="2547" cy="790"/>
              <a:chOff x="564" y="2001"/>
              <a:chExt cx="2658" cy="869"/>
            </a:xfrm>
          </p:grpSpPr>
          <p:sp>
            <p:nvSpPr>
              <p:cNvPr id="168" name="Freeform 20"/>
              <p:cNvSpPr>
                <a:spLocks/>
              </p:cNvSpPr>
              <p:nvPr/>
            </p:nvSpPr>
            <p:spPr bwMode="invGray">
              <a:xfrm>
                <a:off x="569" y="2006"/>
                <a:ext cx="1197" cy="86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82" y="202"/>
                  </a:cxn>
                  <a:cxn ang="0">
                    <a:pos x="577" y="202"/>
                  </a:cxn>
                  <a:cxn ang="0">
                    <a:pos x="637" y="249"/>
                  </a:cxn>
                  <a:cxn ang="0">
                    <a:pos x="639" y="402"/>
                  </a:cxn>
                  <a:cxn ang="0">
                    <a:pos x="598" y="400"/>
                  </a:cxn>
                  <a:cxn ang="0">
                    <a:pos x="669" y="532"/>
                  </a:cxn>
                  <a:cxn ang="0">
                    <a:pos x="735" y="402"/>
                  </a:cxn>
                  <a:cxn ang="0">
                    <a:pos x="696" y="402"/>
                  </a:cxn>
                  <a:cxn ang="0">
                    <a:pos x="694" y="226"/>
                  </a:cxn>
                  <a:cxn ang="0">
                    <a:pos x="616" y="150"/>
                  </a:cxn>
                  <a:cxn ang="0">
                    <a:pos x="335" y="149"/>
                  </a:cxn>
                  <a:cxn ang="0">
                    <a:pos x="69" y="0"/>
                  </a:cxn>
                  <a:cxn ang="0">
                    <a:pos x="0" y="0"/>
                  </a:cxn>
                </a:cxnLst>
                <a:rect l="0" t="0" r="r" b="b"/>
                <a:pathLst>
                  <a:path w="735" h="532">
                    <a:moveTo>
                      <a:pt x="0" y="0"/>
                    </a:moveTo>
                    <a:cubicBezTo>
                      <a:pt x="0" y="0"/>
                      <a:pt x="85" y="216"/>
                      <a:pt x="382" y="202"/>
                    </a:cubicBezTo>
                    <a:cubicBezTo>
                      <a:pt x="479" y="202"/>
                      <a:pt x="577" y="202"/>
                      <a:pt x="577" y="202"/>
                    </a:cubicBezTo>
                    <a:cubicBezTo>
                      <a:pt x="577" y="202"/>
                      <a:pt x="639" y="201"/>
                      <a:pt x="637" y="249"/>
                    </a:cubicBezTo>
                    <a:cubicBezTo>
                      <a:pt x="638" y="325"/>
                      <a:pt x="639" y="402"/>
                      <a:pt x="639" y="402"/>
                    </a:cubicBezTo>
                    <a:lnTo>
                      <a:pt x="598" y="400"/>
                    </a:lnTo>
                    <a:lnTo>
                      <a:pt x="669" y="532"/>
                    </a:lnTo>
                    <a:lnTo>
                      <a:pt x="735" y="402"/>
                    </a:lnTo>
                    <a:lnTo>
                      <a:pt x="696" y="402"/>
                    </a:lnTo>
                    <a:cubicBezTo>
                      <a:pt x="696" y="402"/>
                      <a:pt x="695" y="314"/>
                      <a:pt x="694" y="226"/>
                    </a:cubicBezTo>
                    <a:cubicBezTo>
                      <a:pt x="687" y="160"/>
                      <a:pt x="616" y="150"/>
                      <a:pt x="616" y="150"/>
                    </a:cubicBezTo>
                    <a:cubicBezTo>
                      <a:pt x="556" y="137"/>
                      <a:pt x="473" y="153"/>
                      <a:pt x="335" y="149"/>
                    </a:cubicBezTo>
                    <a:cubicBezTo>
                      <a:pt x="110" y="126"/>
                      <a:pt x="69" y="0"/>
                      <a:pt x="6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333333">
                      <a:gamma/>
                      <a:tint val="0"/>
                      <a:invGamma/>
                      <a:alpha val="0"/>
                    </a:srgbClr>
                  </a:gs>
                  <a:gs pos="100000">
                    <a:srgbClr val="333333"/>
                  </a:gs>
                </a:gsLst>
                <a:lin ang="5400000" scaled="1"/>
              </a:gra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Century Gothic" pitchFamily="34" charset="0"/>
                  <a:cs typeface="Arial" pitchFamily="34" charset="0"/>
                </a:endParaRPr>
              </a:p>
            </p:txBody>
          </p:sp>
          <p:sp>
            <p:nvSpPr>
              <p:cNvPr id="170" name="Freeform 22"/>
              <p:cNvSpPr>
                <a:spLocks/>
              </p:cNvSpPr>
              <p:nvPr/>
            </p:nvSpPr>
            <p:spPr bwMode="invGray">
              <a:xfrm flipH="1">
                <a:off x="2030" y="2007"/>
                <a:ext cx="1197" cy="86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82" y="202"/>
                  </a:cxn>
                  <a:cxn ang="0">
                    <a:pos x="577" y="202"/>
                  </a:cxn>
                  <a:cxn ang="0">
                    <a:pos x="637" y="249"/>
                  </a:cxn>
                  <a:cxn ang="0">
                    <a:pos x="639" y="402"/>
                  </a:cxn>
                  <a:cxn ang="0">
                    <a:pos x="598" y="400"/>
                  </a:cxn>
                  <a:cxn ang="0">
                    <a:pos x="669" y="532"/>
                  </a:cxn>
                  <a:cxn ang="0">
                    <a:pos x="735" y="402"/>
                  </a:cxn>
                  <a:cxn ang="0">
                    <a:pos x="696" y="402"/>
                  </a:cxn>
                  <a:cxn ang="0">
                    <a:pos x="694" y="226"/>
                  </a:cxn>
                  <a:cxn ang="0">
                    <a:pos x="616" y="150"/>
                  </a:cxn>
                  <a:cxn ang="0">
                    <a:pos x="335" y="149"/>
                  </a:cxn>
                  <a:cxn ang="0">
                    <a:pos x="69" y="0"/>
                  </a:cxn>
                  <a:cxn ang="0">
                    <a:pos x="0" y="0"/>
                  </a:cxn>
                </a:cxnLst>
                <a:rect l="0" t="0" r="r" b="b"/>
                <a:pathLst>
                  <a:path w="735" h="532">
                    <a:moveTo>
                      <a:pt x="0" y="0"/>
                    </a:moveTo>
                    <a:cubicBezTo>
                      <a:pt x="0" y="0"/>
                      <a:pt x="85" y="216"/>
                      <a:pt x="382" y="202"/>
                    </a:cubicBezTo>
                    <a:cubicBezTo>
                      <a:pt x="479" y="202"/>
                      <a:pt x="577" y="202"/>
                      <a:pt x="577" y="202"/>
                    </a:cubicBezTo>
                    <a:cubicBezTo>
                      <a:pt x="577" y="202"/>
                      <a:pt x="639" y="201"/>
                      <a:pt x="637" y="249"/>
                    </a:cubicBezTo>
                    <a:cubicBezTo>
                      <a:pt x="638" y="325"/>
                      <a:pt x="639" y="402"/>
                      <a:pt x="639" y="402"/>
                    </a:cubicBezTo>
                    <a:lnTo>
                      <a:pt x="598" y="400"/>
                    </a:lnTo>
                    <a:lnTo>
                      <a:pt x="669" y="532"/>
                    </a:lnTo>
                    <a:lnTo>
                      <a:pt x="735" y="402"/>
                    </a:lnTo>
                    <a:lnTo>
                      <a:pt x="696" y="402"/>
                    </a:lnTo>
                    <a:cubicBezTo>
                      <a:pt x="696" y="402"/>
                      <a:pt x="695" y="314"/>
                      <a:pt x="694" y="226"/>
                    </a:cubicBezTo>
                    <a:cubicBezTo>
                      <a:pt x="687" y="160"/>
                      <a:pt x="616" y="150"/>
                      <a:pt x="616" y="150"/>
                    </a:cubicBezTo>
                    <a:cubicBezTo>
                      <a:pt x="556" y="137"/>
                      <a:pt x="473" y="153"/>
                      <a:pt x="335" y="149"/>
                    </a:cubicBezTo>
                    <a:cubicBezTo>
                      <a:pt x="110" y="126"/>
                      <a:pt x="69" y="0"/>
                      <a:pt x="6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333333">
                      <a:gamma/>
                      <a:tint val="0"/>
                      <a:invGamma/>
                      <a:alpha val="0"/>
                    </a:srgbClr>
                  </a:gs>
                  <a:gs pos="100000">
                    <a:srgbClr val="333333"/>
                  </a:gs>
                </a:gsLst>
                <a:lin ang="5400000" scaled="1"/>
              </a:gra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Century Gothic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2950156" name="Group 23"/>
            <p:cNvGrpSpPr>
              <a:grpSpLocks/>
            </p:cNvGrpSpPr>
            <p:nvPr/>
          </p:nvGrpSpPr>
          <p:grpSpPr bwMode="auto">
            <a:xfrm>
              <a:off x="1674" y="2351"/>
              <a:ext cx="329" cy="251"/>
              <a:chOff x="2180" y="1267"/>
              <a:chExt cx="1350" cy="1030"/>
            </a:xfrm>
          </p:grpSpPr>
          <p:sp>
            <p:nvSpPr>
              <p:cNvPr id="121" name="Oval 24"/>
              <p:cNvSpPr>
                <a:spLocks noChangeArrowheads="1"/>
              </p:cNvSpPr>
              <p:nvPr/>
            </p:nvSpPr>
            <p:spPr bwMode="gray">
              <a:xfrm>
                <a:off x="2299" y="1267"/>
                <a:ext cx="1022" cy="1030"/>
              </a:xfrm>
              <a:prstGeom prst="ellipse">
                <a:avLst/>
              </a:prstGeom>
              <a:gradFill rotWithShape="0">
                <a:gsLst>
                  <a:gs pos="0">
                    <a:srgbClr val="666666">
                      <a:gamma/>
                      <a:shade val="66275"/>
                      <a:invGamma/>
                    </a:srgbClr>
                  </a:gs>
                  <a:gs pos="50000">
                    <a:srgbClr val="666666"/>
                  </a:gs>
                  <a:gs pos="100000">
                    <a:srgbClr val="666666">
                      <a:gamma/>
                      <a:shade val="66275"/>
                      <a:invGamma/>
                    </a:srgbClr>
                  </a:gs>
                </a:gsLst>
                <a:lin ang="2700000" scaled="1"/>
              </a:gradFill>
              <a:ln w="28575">
                <a:solidFill>
                  <a:srgbClr val="EAEAEA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Century Gothic" pitchFamily="34" charset="0"/>
                  <a:cs typeface="Arial" pitchFamily="34" charset="0"/>
                </a:endParaRPr>
              </a:p>
            </p:txBody>
          </p:sp>
          <p:grpSp>
            <p:nvGrpSpPr>
              <p:cNvPr id="2950171" name="Group 25"/>
              <p:cNvGrpSpPr>
                <a:grpSpLocks/>
              </p:cNvGrpSpPr>
              <p:nvPr/>
            </p:nvGrpSpPr>
            <p:grpSpPr bwMode="auto">
              <a:xfrm rot="10082854">
                <a:off x="2180" y="2013"/>
                <a:ext cx="926" cy="237"/>
                <a:chOff x="2598" y="1026"/>
                <a:chExt cx="957" cy="242"/>
              </a:xfrm>
            </p:grpSpPr>
            <p:grpSp>
              <p:nvGrpSpPr>
                <p:cNvPr id="2950195" name="Group 26"/>
                <p:cNvGrpSpPr>
                  <a:grpSpLocks/>
                </p:cNvGrpSpPr>
                <p:nvPr/>
              </p:nvGrpSpPr>
              <p:grpSpPr bwMode="auto">
                <a:xfrm rot="-9970459" flipH="1" flipV="1">
                  <a:off x="2598" y="1026"/>
                  <a:ext cx="957" cy="242"/>
                  <a:chOff x="2532" y="1051"/>
                  <a:chExt cx="893" cy="246"/>
                </a:xfrm>
              </p:grpSpPr>
              <p:grpSp>
                <p:nvGrpSpPr>
                  <p:cNvPr id="2950207" name="Group 27"/>
                  <p:cNvGrpSpPr>
                    <a:grpSpLocks/>
                  </p:cNvGrpSpPr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164" name="AutoShape 28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963" y="2356"/>
                      <a:ext cx="231" cy="840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65" name="AutoShape 29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2069" y="2377"/>
                      <a:ext cx="289" cy="834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66" name="AutoShape 30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157" y="2378"/>
                      <a:ext cx="231" cy="834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67" name="AutoShape 31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206" y="2429"/>
                      <a:ext cx="321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</p:grpSp>
              <p:grpSp>
                <p:nvGrpSpPr>
                  <p:cNvPr id="2950208" name="Group 32"/>
                  <p:cNvGrpSpPr>
                    <a:grpSpLocks/>
                  </p:cNvGrpSpPr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160" name="AutoShape 33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59" y="2275"/>
                      <a:ext cx="230" cy="81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61" name="AutoShape 34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2025" y="2270"/>
                      <a:ext cx="243" cy="840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62" name="AutoShape 35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133" y="2287"/>
                      <a:ext cx="236" cy="822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63" name="AutoShape 36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228" y="2338"/>
                      <a:ext cx="262" cy="840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</p:grpSp>
            </p:grpSp>
            <p:grpSp>
              <p:nvGrpSpPr>
                <p:cNvPr id="2950196" name="Group 37"/>
                <p:cNvGrpSpPr>
                  <a:grpSpLocks/>
                </p:cNvGrpSpPr>
                <p:nvPr/>
              </p:nvGrpSpPr>
              <p:grpSpPr bwMode="auto">
                <a:xfrm rot="-9970459" flipH="1" flipV="1">
                  <a:off x="2688" y="1056"/>
                  <a:ext cx="784" cy="198"/>
                  <a:chOff x="2532" y="1051"/>
                  <a:chExt cx="893" cy="246"/>
                </a:xfrm>
              </p:grpSpPr>
              <p:grpSp>
                <p:nvGrpSpPr>
                  <p:cNvPr id="2950197" name="Group 38"/>
                  <p:cNvGrpSpPr>
                    <a:grpSpLocks/>
                  </p:cNvGrpSpPr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154" name="AutoShape 39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2112" y="2358"/>
                      <a:ext cx="259" cy="814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55" name="AutoShape 40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2228" y="2361"/>
                      <a:ext cx="275" cy="814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56" name="AutoShape 41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269" y="2403"/>
                      <a:ext cx="290" cy="821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57" name="AutoShape 42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376" y="2412"/>
                      <a:ext cx="267" cy="83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</p:grpSp>
              <p:grpSp>
                <p:nvGrpSpPr>
                  <p:cNvPr id="2950198" name="Group 43"/>
                  <p:cNvGrpSpPr>
                    <a:grpSpLocks/>
                  </p:cNvGrpSpPr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150" name="AutoShape 44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2074" y="2292"/>
                      <a:ext cx="273" cy="83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51" name="AutoShape 45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2227" y="2307"/>
                      <a:ext cx="273" cy="829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52" name="AutoShape 46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2280" y="2314"/>
                      <a:ext cx="281" cy="83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53" name="AutoShape 47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346" y="2393"/>
                      <a:ext cx="258" cy="821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</p:grpSp>
            </p:grpSp>
          </p:grpSp>
          <p:grpSp>
            <p:nvGrpSpPr>
              <p:cNvPr id="2950172" name="Group 48"/>
              <p:cNvGrpSpPr>
                <a:grpSpLocks/>
              </p:cNvGrpSpPr>
              <p:nvPr/>
            </p:nvGrpSpPr>
            <p:grpSpPr bwMode="auto">
              <a:xfrm>
                <a:off x="2604" y="1361"/>
                <a:ext cx="926" cy="237"/>
                <a:chOff x="2598" y="1026"/>
                <a:chExt cx="957" cy="242"/>
              </a:xfrm>
            </p:grpSpPr>
            <p:grpSp>
              <p:nvGrpSpPr>
                <p:cNvPr id="2950173" name="Group 49"/>
                <p:cNvGrpSpPr>
                  <a:grpSpLocks/>
                </p:cNvGrpSpPr>
                <p:nvPr/>
              </p:nvGrpSpPr>
              <p:grpSpPr bwMode="auto">
                <a:xfrm rot="-9970459" flipH="1" flipV="1">
                  <a:off x="2598" y="1026"/>
                  <a:ext cx="957" cy="242"/>
                  <a:chOff x="2532" y="1051"/>
                  <a:chExt cx="893" cy="246"/>
                </a:xfrm>
              </p:grpSpPr>
              <p:grpSp>
                <p:nvGrpSpPr>
                  <p:cNvPr id="2950185" name="Group 50"/>
                  <p:cNvGrpSpPr>
                    <a:grpSpLocks/>
                  </p:cNvGrpSpPr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142" name="AutoShape 51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682" y="2143"/>
                      <a:ext cx="270" cy="851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43" name="AutoShape 52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826" y="2161"/>
                      <a:ext cx="289" cy="84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44" name="AutoShape 53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1898" y="2183"/>
                      <a:ext cx="283" cy="840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45" name="AutoShape 54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1981" y="2211"/>
                      <a:ext cx="276" cy="840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</p:grpSp>
              <p:grpSp>
                <p:nvGrpSpPr>
                  <p:cNvPr id="2950186" name="Group 55"/>
                  <p:cNvGrpSpPr>
                    <a:grpSpLocks/>
                  </p:cNvGrpSpPr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138" name="AutoShape 56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641" y="2243"/>
                      <a:ext cx="262" cy="840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39" name="AutoShape 57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812" y="2267"/>
                      <a:ext cx="243" cy="840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40" name="AutoShape 58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1877" y="2286"/>
                      <a:ext cx="236" cy="822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41" name="AutoShape 59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1981" y="2317"/>
                      <a:ext cx="243" cy="846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</p:grpSp>
            </p:grpSp>
            <p:grpSp>
              <p:nvGrpSpPr>
                <p:cNvPr id="2950174" name="Group 60"/>
                <p:cNvGrpSpPr>
                  <a:grpSpLocks/>
                </p:cNvGrpSpPr>
                <p:nvPr/>
              </p:nvGrpSpPr>
              <p:grpSpPr bwMode="auto">
                <a:xfrm rot="-9970459" flipH="1" flipV="1">
                  <a:off x="2688" y="1056"/>
                  <a:ext cx="784" cy="198"/>
                  <a:chOff x="2532" y="1051"/>
                  <a:chExt cx="893" cy="246"/>
                </a:xfrm>
              </p:grpSpPr>
              <p:grpSp>
                <p:nvGrpSpPr>
                  <p:cNvPr id="2950175" name="Group 61"/>
                  <p:cNvGrpSpPr>
                    <a:grpSpLocks/>
                  </p:cNvGrpSpPr>
                  <p:nvPr/>
                </p:nvGrpSpPr>
                <p:grpSpPr bwMode="auto">
                  <a:xfrm>
                    <a:off x="2532" y="1051"/>
                    <a:ext cx="743" cy="185"/>
                    <a:chOff x="1565" y="2568"/>
                    <a:chExt cx="1118" cy="279"/>
                  </a:xfrm>
                </p:grpSpPr>
                <p:sp>
                  <p:nvSpPr>
                    <p:cNvPr id="132" name="AutoShape 62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623" y="2125"/>
                      <a:ext cx="267" cy="821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33" name="AutoShape 63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805" y="2124"/>
                      <a:ext cx="290" cy="843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34" name="AutoShape 64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1836" y="2152"/>
                      <a:ext cx="283" cy="829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35" name="AutoShape 65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1991" y="2175"/>
                      <a:ext cx="283" cy="829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</p:grpSp>
              <p:grpSp>
                <p:nvGrpSpPr>
                  <p:cNvPr id="2950176" name="Group 66"/>
                  <p:cNvGrpSpPr>
                    <a:grpSpLocks/>
                  </p:cNvGrpSpPr>
                  <p:nvPr/>
                </p:nvGrpSpPr>
                <p:grpSpPr bwMode="auto">
                  <a:xfrm rot="1353540">
                    <a:off x="2682" y="1111"/>
                    <a:ext cx="743" cy="186"/>
                    <a:chOff x="1565" y="2568"/>
                    <a:chExt cx="1118" cy="279"/>
                  </a:xfrm>
                </p:grpSpPr>
                <p:sp>
                  <p:nvSpPr>
                    <p:cNvPr id="128" name="AutoShape 67"/>
                    <p:cNvSpPr>
                      <a:spLocks noChangeArrowheads="1"/>
                    </p:cNvSpPr>
                    <p:nvPr/>
                  </p:nvSpPr>
                  <p:spPr bwMode="gray">
                    <a:xfrm rot="5263130">
                      <a:off x="1809" y="2205"/>
                      <a:ext cx="234" cy="814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29" name="AutoShape 68"/>
                    <p:cNvSpPr>
                      <a:spLocks noChangeArrowheads="1"/>
                    </p:cNvSpPr>
                    <p:nvPr/>
                  </p:nvSpPr>
                  <p:spPr bwMode="gray">
                    <a:xfrm rot="6078281">
                      <a:off x="1884" y="2218"/>
                      <a:ext cx="250" cy="821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30" name="AutoShape 69"/>
                    <p:cNvSpPr>
                      <a:spLocks noChangeArrowheads="1"/>
                    </p:cNvSpPr>
                    <p:nvPr/>
                  </p:nvSpPr>
                  <p:spPr bwMode="gray">
                    <a:xfrm rot="6373927">
                      <a:off x="1855" y="2176"/>
                      <a:ext cx="242" cy="821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31" name="AutoShape 70"/>
                    <p:cNvSpPr>
                      <a:spLocks noChangeArrowheads="1"/>
                    </p:cNvSpPr>
                    <p:nvPr/>
                  </p:nvSpPr>
                  <p:spPr bwMode="gray">
                    <a:xfrm rot="6906312">
                      <a:off x="2056" y="2264"/>
                      <a:ext cx="226" cy="814"/>
                    </a:xfrm>
                    <a:prstGeom prst="moon">
                      <a:avLst>
                        <a:gd name="adj" fmla="val 49773"/>
                      </a:avLst>
                    </a:prstGeom>
                    <a:solidFill>
                      <a:srgbClr val="FFFFFF">
                        <a:alpha val="3922"/>
                      </a:srgbClr>
                    </a:solidFill>
                    <a:ln>
                      <a:noFill/>
                    </a:ln>
                    <a:extLst/>
                  </p:spPr>
                  <p:txBody>
                    <a:bodyPr wrap="none" anchor="ctr"/>
                    <a:lstStyle/>
                    <a:p>
                      <a:pPr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kern="0">
                        <a:solidFill>
                          <a:sysClr val="windowText" lastClr="000000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p:txBody>
                </p:sp>
              </p:grpSp>
            </p:grpSp>
          </p:grpSp>
        </p:grpSp>
        <p:cxnSp>
          <p:nvCxnSpPr>
            <p:cNvPr id="2950157" name="AutoShape 71"/>
            <p:cNvCxnSpPr>
              <a:cxnSpLocks noChangeShapeType="1"/>
              <a:stCxn id="121" idx="0"/>
            </p:cNvCxnSpPr>
            <p:nvPr/>
          </p:nvCxnSpPr>
          <p:spPr bwMode="auto">
            <a:xfrm rot="-5400000">
              <a:off x="1597" y="1690"/>
              <a:ext cx="883" cy="422"/>
            </a:xfrm>
            <a:prstGeom prst="bentConnector2">
              <a:avLst/>
            </a:prstGeom>
            <a:noFill/>
            <a:ln w="19050">
              <a:solidFill>
                <a:srgbClr val="333333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2950158" name="AutoShape 72"/>
            <p:cNvCxnSpPr>
              <a:cxnSpLocks noChangeShapeType="1"/>
              <a:stCxn id="121" idx="4"/>
            </p:cNvCxnSpPr>
            <p:nvPr/>
          </p:nvCxnSpPr>
          <p:spPr bwMode="auto">
            <a:xfrm rot="16200000" flipH="1">
              <a:off x="1599" y="2840"/>
              <a:ext cx="879" cy="422"/>
            </a:xfrm>
            <a:prstGeom prst="bentConnector2">
              <a:avLst/>
            </a:prstGeom>
            <a:noFill/>
            <a:ln w="19050">
              <a:solidFill>
                <a:srgbClr val="333333"/>
              </a:solidFill>
              <a:miter lim="800000"/>
              <a:headEnd/>
              <a:tailEnd type="triangle" w="med" len="med"/>
            </a:ln>
          </p:spPr>
        </p:cxnSp>
        <p:grpSp>
          <p:nvGrpSpPr>
            <p:cNvPr id="2950159" name="Group 74"/>
            <p:cNvGrpSpPr>
              <a:grpSpLocks/>
            </p:cNvGrpSpPr>
            <p:nvPr/>
          </p:nvGrpSpPr>
          <p:grpSpPr bwMode="auto">
            <a:xfrm>
              <a:off x="2256" y="1108"/>
              <a:ext cx="1467" cy="710"/>
              <a:chOff x="2289" y="1260"/>
              <a:chExt cx="1388" cy="672"/>
            </a:xfrm>
          </p:grpSpPr>
          <p:sp>
            <p:nvSpPr>
              <p:cNvPr id="119" name="AutoShape 75"/>
              <p:cNvSpPr>
                <a:spLocks noChangeArrowheads="1"/>
              </p:cNvSpPr>
              <p:nvPr/>
            </p:nvSpPr>
            <p:spPr bwMode="ltGray">
              <a:xfrm>
                <a:off x="2289" y="1260"/>
                <a:ext cx="1388" cy="672"/>
              </a:xfrm>
              <a:prstGeom prst="roundRect">
                <a:avLst>
                  <a:gd name="adj" fmla="val 11921"/>
                </a:avLst>
              </a:prstGeom>
              <a:gradFill rotWithShape="1">
                <a:gsLst>
                  <a:gs pos="0">
                    <a:srgbClr val="FA8300"/>
                  </a:gs>
                  <a:gs pos="100000">
                    <a:srgbClr val="FA8300">
                      <a:gamma/>
                      <a:shade val="69804"/>
                      <a:invGamma/>
                    </a:srgbClr>
                  </a:gs>
                </a:gsLst>
                <a:lin ang="5400000" scaled="1"/>
              </a:gradFill>
              <a:ln w="25400">
                <a:solidFill>
                  <a:srgbClr val="FEFEFE"/>
                </a:solidFill>
                <a:round/>
                <a:headEnd/>
                <a:tailEnd/>
              </a:ln>
              <a:effectLst>
                <a:outerShdw dist="53882" dir="2700000" algn="ctr" rotWithShape="0">
                  <a:srgbClr val="000000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Century Gothic" pitchFamily="34" charset="0"/>
                  <a:cs typeface="Arial" pitchFamily="34" charset="0"/>
                </a:endParaRPr>
              </a:p>
            </p:txBody>
          </p:sp>
          <p:pic>
            <p:nvPicPr>
              <p:cNvPr id="2950169" name="Picture 76" descr="Picture4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ltGray">
              <a:xfrm>
                <a:off x="2313" y="1280"/>
                <a:ext cx="386" cy="4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2950160" name="Picture 79" descr="Picture4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ltGray">
            <a:xfrm>
              <a:off x="2281" y="2154"/>
              <a:ext cx="408" cy="4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2950161" name="Group 80"/>
            <p:cNvGrpSpPr>
              <a:grpSpLocks/>
            </p:cNvGrpSpPr>
            <p:nvPr/>
          </p:nvGrpSpPr>
          <p:grpSpPr bwMode="auto">
            <a:xfrm>
              <a:off x="2260" y="3157"/>
              <a:ext cx="1411" cy="855"/>
              <a:chOff x="2293" y="3198"/>
              <a:chExt cx="1335" cy="809"/>
            </a:xfrm>
          </p:grpSpPr>
          <p:sp>
            <p:nvSpPr>
              <p:cNvPr id="115" name="AutoShape 81"/>
              <p:cNvSpPr>
                <a:spLocks noChangeArrowheads="1"/>
              </p:cNvSpPr>
              <p:nvPr/>
            </p:nvSpPr>
            <p:spPr bwMode="ltGray">
              <a:xfrm>
                <a:off x="2293" y="3198"/>
                <a:ext cx="1335" cy="809"/>
              </a:xfrm>
              <a:prstGeom prst="roundRect">
                <a:avLst>
                  <a:gd name="adj" fmla="val 11921"/>
                </a:avLst>
              </a:prstGeom>
              <a:gradFill rotWithShape="1">
                <a:gsLst>
                  <a:gs pos="0">
                    <a:srgbClr val="3181B7"/>
                  </a:gs>
                  <a:gs pos="100000">
                    <a:srgbClr val="3181B7">
                      <a:gamma/>
                      <a:shade val="69804"/>
                      <a:invGamma/>
                    </a:srgbClr>
                  </a:gs>
                </a:gsLst>
                <a:lin ang="5400000" scaled="1"/>
              </a:gradFill>
              <a:ln w="25400">
                <a:solidFill>
                  <a:srgbClr val="FEFEFE"/>
                </a:solidFill>
                <a:round/>
                <a:headEnd/>
                <a:tailEnd/>
              </a:ln>
              <a:effectLst>
                <a:outerShdw dist="53882" dir="2700000" algn="ctr" rotWithShape="0">
                  <a:srgbClr val="000000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Century Gothic" pitchFamily="34" charset="0"/>
                  <a:cs typeface="Arial" pitchFamily="34" charset="0"/>
                </a:endParaRPr>
              </a:p>
            </p:txBody>
          </p:sp>
          <p:pic>
            <p:nvPicPr>
              <p:cNvPr id="2950167" name="Picture 82" descr="Picture4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ltGray">
              <a:xfrm>
                <a:off x="2313" y="3216"/>
                <a:ext cx="386" cy="4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10" name="Rectangle 83"/>
            <p:cNvSpPr>
              <a:spLocks noChangeArrowheads="1"/>
            </p:cNvSpPr>
            <p:nvPr/>
          </p:nvSpPr>
          <p:spPr bwMode="auto">
            <a:xfrm>
              <a:off x="2228" y="1130"/>
              <a:ext cx="1493" cy="60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 За </a:t>
              </a:r>
              <a:r>
                <a:rPr lang="ru-RU" b="1" u="sng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10 мес</a:t>
              </a:r>
              <a:r>
                <a:rPr lang="ru-RU" b="1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. число ИП сократилось на 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b="1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14 % </a:t>
              </a:r>
              <a:r>
                <a:rPr lang="ru-RU" sz="1400" b="1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(около 540 тыс.)</a:t>
              </a:r>
              <a:endParaRPr lang="en-US" sz="14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2" name="Rectangle 85"/>
            <p:cNvSpPr>
              <a:spLocks noChangeArrowheads="1"/>
            </p:cNvSpPr>
            <p:nvPr/>
          </p:nvSpPr>
          <p:spPr bwMode="auto">
            <a:xfrm>
              <a:off x="2225" y="3128"/>
              <a:ext cx="1493" cy="91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 Налоговые потери 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b="1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~ </a:t>
              </a:r>
              <a:r>
                <a:rPr lang="ru-RU" sz="2800" b="1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19</a:t>
              </a:r>
              <a:r>
                <a:rPr lang="en-US" sz="2800" b="1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2800" b="1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млрд. </a:t>
              </a:r>
              <a:r>
                <a:rPr lang="ru-RU" sz="2400" b="1" kern="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руб.</a:t>
              </a:r>
              <a:endParaRPr lang="en-US" sz="24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3" name="Rectangle 86"/>
            <p:cNvSpPr>
              <a:spLocks noChangeArrowheads="1"/>
            </p:cNvSpPr>
            <p:nvPr/>
          </p:nvSpPr>
          <p:spPr bwMode="auto">
            <a:xfrm>
              <a:off x="96" y="1988"/>
              <a:ext cx="1605" cy="23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kern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.</a:t>
              </a:r>
            </a:p>
          </p:txBody>
        </p:sp>
        <p:sp>
          <p:nvSpPr>
            <p:cNvPr id="114" name="Rectangle 87"/>
            <p:cNvSpPr>
              <a:spLocks noChangeArrowheads="1"/>
            </p:cNvSpPr>
            <p:nvPr/>
          </p:nvSpPr>
          <p:spPr bwMode="auto">
            <a:xfrm>
              <a:off x="4461" y="1922"/>
              <a:ext cx="1201" cy="10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i="1" kern="0" dirty="0">
                  <a:solidFill>
                    <a:srgbClr val="080808"/>
                  </a:solidFill>
                  <a:latin typeface="Arial"/>
                </a:rPr>
                <a:t>Совокупные </a:t>
              </a:r>
              <a:r>
                <a:rPr lang="ru-RU" i="1" kern="0" dirty="0">
                  <a:solidFill>
                    <a:srgbClr val="080808"/>
                  </a:solidFill>
                  <a:latin typeface="Arial"/>
                </a:rPr>
                <a:t>расходы государства </a:t>
              </a:r>
              <a:r>
                <a:rPr lang="en-US" sz="3200" i="1" kern="0" dirty="0">
                  <a:solidFill>
                    <a:srgbClr val="080808"/>
                  </a:solidFill>
                  <a:latin typeface="Arial"/>
                </a:rPr>
                <a:t>&gt;</a:t>
              </a:r>
              <a:r>
                <a:rPr lang="ru-RU" sz="3200" b="1" kern="0" dirty="0">
                  <a:solidFill>
                    <a:srgbClr val="B05800"/>
                  </a:solidFill>
                  <a:latin typeface="Arial"/>
                </a:rPr>
                <a:t>38</a:t>
              </a:r>
              <a:r>
                <a:rPr lang="ru-RU" sz="2000" b="1" kern="0" dirty="0">
                  <a:solidFill>
                    <a:srgbClr val="080808"/>
                  </a:solidFill>
                  <a:latin typeface="Arial"/>
                </a:rPr>
                <a:t>млрд. руб. </a:t>
              </a:r>
              <a:r>
                <a:rPr lang="ru-RU" sz="2000" b="1" kern="0" dirty="0">
                  <a:solidFill>
                    <a:srgbClr val="B05800"/>
                  </a:solidFill>
                  <a:latin typeface="Arial"/>
                </a:rPr>
                <a:t>*</a:t>
              </a:r>
              <a:endParaRPr lang="en-US" sz="2000" b="1" kern="0" dirty="0">
                <a:solidFill>
                  <a:srgbClr val="B05800"/>
                </a:solidFill>
                <a:latin typeface="Arial"/>
              </a:endParaRPr>
            </a:p>
          </p:txBody>
        </p:sp>
      </p:grpSp>
      <p:sp>
        <p:nvSpPr>
          <p:cNvPr id="185" name="Прямоугольник 184"/>
          <p:cNvSpPr/>
          <p:nvPr/>
        </p:nvSpPr>
        <p:spPr>
          <a:xfrm>
            <a:off x="606425" y="2822575"/>
            <a:ext cx="2452688" cy="20462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Размер страховых взносов для ИП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увеличился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в</a:t>
            </a:r>
            <a:r>
              <a:rPr lang="ru-RU" sz="2800" b="1" kern="0" dirty="0">
                <a:solidFill>
                  <a:srgbClr val="FA830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2,1 </a:t>
            </a:r>
            <a:r>
              <a:rPr lang="ru-RU" sz="2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раза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700" i="1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i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(было – </a:t>
            </a:r>
            <a:r>
              <a:rPr lang="ru-RU" sz="1600" i="1" kern="0" dirty="0">
                <a:solidFill>
                  <a:srgbClr val="FA830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17</a:t>
            </a:r>
            <a:r>
              <a:rPr lang="ru-RU" sz="1600" i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тыс. руб.,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i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стало – </a:t>
            </a:r>
            <a:r>
              <a:rPr lang="ru-RU" sz="1600" i="1" kern="0" dirty="0">
                <a:solidFill>
                  <a:srgbClr val="FA830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36</a:t>
            </a:r>
            <a:r>
              <a:rPr lang="ru-RU" sz="1600" i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тыс. руб.) </a:t>
            </a:r>
          </a:p>
        </p:txBody>
      </p:sp>
      <p:sp>
        <p:nvSpPr>
          <p:cNvPr id="186" name="Прямоугольник 28"/>
          <p:cNvSpPr>
            <a:spLocks noChangeArrowheads="1"/>
          </p:cNvSpPr>
          <p:nvPr/>
        </p:nvSpPr>
        <p:spPr bwMode="auto">
          <a:xfrm>
            <a:off x="820738" y="5949950"/>
            <a:ext cx="7854950" cy="554038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kern="0" dirty="0">
                <a:solidFill>
                  <a:srgbClr val="B05800"/>
                </a:solidFill>
                <a:latin typeface="Arial" pitchFamily="34" charset="0"/>
                <a:cs typeface="Arial" pitchFamily="34" charset="0"/>
              </a:rPr>
              <a:t>*</a:t>
            </a:r>
            <a:r>
              <a:rPr lang="ru-RU" sz="1200" kern="0" dirty="0">
                <a:solidFill>
                  <a:srgbClr val="B05800"/>
                </a:solidFill>
                <a:latin typeface="Arial" pitchFamily="34" charset="0"/>
                <a:cs typeface="Arial" pitchFamily="34" charset="0"/>
              </a:rPr>
              <a:t>Неполученные страховые взносы ИП, которые прекратили деятельность (19 млрд. руб.) и налоговые потери в связи с закрытием ИП (19 млрд. руб.). </a:t>
            </a:r>
            <a:endParaRPr lang="en-US" sz="1200" kern="0" dirty="0">
              <a:solidFill>
                <a:srgbClr val="B058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746DA3-5987-49B9-85FB-E25FE4D65841}" type="slidenum">
              <a:rPr lang="ru-RU" smtClean="0"/>
              <a:pPr>
                <a:defRPr/>
              </a:pPr>
              <a:t>37</a:t>
            </a:fld>
            <a:endParaRPr lang="ru-RU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0" y="0"/>
            <a:ext cx="714375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" name="Овал 4"/>
          <p:cNvSpPr/>
          <p:nvPr/>
        </p:nvSpPr>
        <p:spPr bwMode="auto">
          <a:xfrm>
            <a:off x="322263" y="611188"/>
            <a:ext cx="785812" cy="78581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" name="Овал 5"/>
          <p:cNvSpPr/>
          <p:nvPr/>
        </p:nvSpPr>
        <p:spPr bwMode="auto">
          <a:xfrm>
            <a:off x="565150" y="876300"/>
            <a:ext cx="276225" cy="276225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" name="Полилиния 6"/>
          <p:cNvSpPr/>
          <p:nvPr/>
        </p:nvSpPr>
        <p:spPr bwMode="auto">
          <a:xfrm>
            <a:off x="749300" y="682625"/>
            <a:ext cx="6680200" cy="190500"/>
          </a:xfrm>
          <a:custGeom>
            <a:avLst/>
            <a:gdLst>
              <a:gd name="connsiteX0" fmla="*/ 0 w 3136900"/>
              <a:gd name="connsiteY0" fmla="*/ 279400 h 279400"/>
              <a:gd name="connsiteX1" fmla="*/ 203200 w 3136900"/>
              <a:gd name="connsiteY1" fmla="*/ 0 h 279400"/>
              <a:gd name="connsiteX2" fmla="*/ 3136900 w 3136900"/>
              <a:gd name="connsiteY2" fmla="*/ 635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36900" h="279400">
                <a:moveTo>
                  <a:pt x="0" y="279400"/>
                </a:moveTo>
                <a:lnTo>
                  <a:pt x="203200" y="0"/>
                </a:lnTo>
                <a:lnTo>
                  <a:pt x="3136900" y="6350"/>
                </a:lnTo>
              </a:path>
            </a:pathLst>
          </a:cu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/>
        </p:nvGraphicFramePr>
        <p:xfrm>
          <a:off x="1501775" y="914400"/>
          <a:ext cx="7345363" cy="2817876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505272"/>
                <a:gridCol w="2879356"/>
                <a:gridCol w="3960735"/>
              </a:tblGrid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2000" dirty="0" smtClean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effectLst/>
                        </a:rPr>
                        <a:t>№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Снижение числа ИП, </a:t>
                      </a:r>
                      <a:endParaRPr lang="ru-RU" sz="2000" dirty="0" smtClean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i="1" dirty="0" smtClean="0">
                          <a:effectLst/>
                        </a:rPr>
                        <a:t>в %</a:t>
                      </a: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Регион</a:t>
                      </a:r>
                      <a:endParaRPr lang="ru-RU" sz="18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5" marR="68585" marT="0" marB="0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1 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,30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lang="ru-RU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спублика Ингушетия</a:t>
                      </a:r>
                      <a:endParaRPr lang="ru-RU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2 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 smtClean="0">
                          <a:latin typeface="+mj-lt"/>
                          <a:ea typeface="Calibri"/>
                          <a:cs typeface="Times New Roman"/>
                        </a:rPr>
                        <a:t>22</a:t>
                      </a:r>
                      <a:r>
                        <a:rPr lang="ru-RU" sz="1800" dirty="0" smtClean="0">
                          <a:latin typeface="+mj-lt"/>
                          <a:ea typeface="Calibri"/>
                          <a:cs typeface="Times New Roman"/>
                        </a:rPr>
                        <a:t>,1</a:t>
                      </a:r>
                      <a:r>
                        <a:rPr lang="en-US" sz="1800" dirty="0" smtClean="0">
                          <a:latin typeface="+mj-lt"/>
                          <a:ea typeface="Calibri"/>
                          <a:cs typeface="Times New Roman"/>
                        </a:rPr>
                        <a:t>4</a:t>
                      </a:r>
                      <a:r>
                        <a:rPr lang="ru-RU" sz="1800" dirty="0" smtClean="0">
                          <a:latin typeface="+mj-lt"/>
                          <a:ea typeface="Calibri"/>
                          <a:cs typeface="Times New Roman"/>
                        </a:rPr>
                        <a:t>%</a:t>
                      </a:r>
                      <a:endParaRPr lang="ru-RU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dirty="0" smtClean="0">
                          <a:latin typeface="+mj-lt"/>
                          <a:ea typeface="Calibri"/>
                          <a:cs typeface="Times New Roman"/>
                        </a:rPr>
                        <a:t>Брянская</a:t>
                      </a:r>
                      <a:r>
                        <a:rPr lang="ru-RU" sz="1800" baseline="0" dirty="0" smtClean="0">
                          <a:latin typeface="+mj-lt"/>
                          <a:ea typeface="Calibri"/>
                          <a:cs typeface="Times New Roman"/>
                        </a:rPr>
                        <a:t> область</a:t>
                      </a:r>
                      <a:endParaRPr lang="ru-RU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3 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dirty="0" smtClean="0">
                          <a:latin typeface="+mj-lt"/>
                          <a:ea typeface="Calibri"/>
                          <a:cs typeface="Times New Roman"/>
                        </a:rPr>
                        <a:t>21,47%</a:t>
                      </a:r>
                      <a:endParaRPr lang="ru-RU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увашская Республика - Чувашия</a:t>
                      </a:r>
                      <a:endParaRPr lang="ru-RU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4 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dirty="0" smtClean="0">
                          <a:latin typeface="+mj-lt"/>
                          <a:ea typeface="Calibri"/>
                          <a:cs typeface="Times New Roman"/>
                        </a:rPr>
                        <a:t>20,98%</a:t>
                      </a:r>
                      <a:endParaRPr lang="ru-RU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dirty="0">
                          <a:latin typeface="+mj-lt"/>
                          <a:ea typeface="Calibri"/>
                          <a:cs typeface="Times New Roman"/>
                        </a:rPr>
                        <a:t>Удмуртская Республика</a:t>
                      </a: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5 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dirty="0" smtClean="0">
                          <a:latin typeface="+mj-lt"/>
                          <a:ea typeface="Calibri"/>
                          <a:cs typeface="Times New Roman"/>
                        </a:rPr>
                        <a:t>20,45%</a:t>
                      </a:r>
                      <a:endParaRPr lang="ru-RU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ировская область</a:t>
                      </a:r>
                      <a:endParaRPr lang="ru-RU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6 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dirty="0" smtClean="0">
                          <a:latin typeface="+mj-lt"/>
                          <a:ea typeface="Calibri"/>
                          <a:cs typeface="Times New Roman"/>
                        </a:rPr>
                        <a:t>20,13%</a:t>
                      </a:r>
                      <a:endParaRPr lang="ru-RU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ологодская область </a:t>
                      </a:r>
                      <a:endParaRPr lang="ru-RU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7 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dirty="0" smtClean="0">
                          <a:latin typeface="+mj-lt"/>
                          <a:ea typeface="Calibri"/>
                          <a:cs typeface="Times New Roman"/>
                        </a:rPr>
                        <a:t>19,08%</a:t>
                      </a:r>
                      <a:endParaRPr lang="ru-RU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еченская Республика</a:t>
                      </a:r>
                      <a:endParaRPr lang="ru-RU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1501775" y="3722688"/>
          <a:ext cx="7345363" cy="2817876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536845"/>
                <a:gridCol w="2847783"/>
                <a:gridCol w="3960735"/>
              </a:tblGrid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2000" dirty="0" smtClean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effectLst/>
                        </a:rPr>
                        <a:t>№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Снижение числа ИП, </a:t>
                      </a:r>
                      <a:endParaRPr lang="ru-RU" sz="2000" dirty="0" smtClean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i="1" dirty="0" smtClean="0">
                          <a:effectLst/>
                        </a:rPr>
                        <a:t>в един.</a:t>
                      </a:r>
                      <a:endParaRPr lang="ru-RU" sz="2000" i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effectLst/>
                        </a:rPr>
                        <a:t>Регион 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5" marR="68585" marT="0" marB="0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1 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22 142</a:t>
                      </a:r>
                      <a:endParaRPr lang="ru-RU" sz="1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>
                          <a:effectLst/>
                          <a:latin typeface="+mn-lt"/>
                          <a:ea typeface="Calibri"/>
                          <a:cs typeface="Times New Roman"/>
                        </a:rPr>
                        <a:t>Краснодарский край</a:t>
                      </a: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2 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20 915</a:t>
                      </a:r>
                      <a:endParaRPr lang="ru-RU" sz="1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>
                          <a:effectLst/>
                          <a:latin typeface="+mn-lt"/>
                          <a:ea typeface="Calibri"/>
                          <a:cs typeface="Times New Roman"/>
                        </a:rPr>
                        <a:t>Республика Татарстан</a:t>
                      </a: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3 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18 190</a:t>
                      </a:r>
                      <a:endParaRPr lang="ru-RU" sz="1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>
                          <a:effectLst/>
                          <a:latin typeface="+mn-lt"/>
                          <a:ea typeface="Calibri"/>
                          <a:cs typeface="Times New Roman"/>
                        </a:rPr>
                        <a:t>Челябинская область </a:t>
                      </a: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4 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17 139</a:t>
                      </a:r>
                      <a:endParaRPr lang="ru-RU" sz="1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Республика Башкортостан</a:t>
                      </a: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5 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1</a:t>
                      </a:r>
                      <a:r>
                        <a:rPr lang="en-US" sz="18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6 781</a:t>
                      </a:r>
                      <a:endParaRPr lang="ru-RU" sz="1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>
                          <a:effectLst/>
                          <a:latin typeface="+mn-lt"/>
                          <a:ea typeface="Calibri"/>
                          <a:cs typeface="Times New Roman"/>
                        </a:rPr>
                        <a:t>Ростовская область</a:t>
                      </a: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6 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1</a:t>
                      </a:r>
                      <a:r>
                        <a:rPr lang="en-US" sz="18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5 730</a:t>
                      </a:r>
                      <a:endParaRPr lang="ru-RU" sz="1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>
                          <a:effectLst/>
                          <a:latin typeface="+mn-lt"/>
                          <a:ea typeface="Calibri"/>
                          <a:cs typeface="Times New Roman"/>
                        </a:rPr>
                        <a:t>Свердловская область </a:t>
                      </a: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7 </a:t>
                      </a:r>
                      <a:endParaRPr lang="ru-RU" sz="2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5" marR="6858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1</a:t>
                      </a:r>
                      <a:r>
                        <a:rPr lang="en-US" sz="18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5 129</a:t>
                      </a:r>
                      <a:endParaRPr lang="ru-RU" sz="1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Нижегородская область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1258888" y="-26988"/>
            <a:ext cx="7345362" cy="70802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2000" b="1" dirty="0">
                <a:latin typeface="Arial" pitchFamily="34" charset="0"/>
                <a:ea typeface="+mj-ea"/>
                <a:cs typeface="Arial" pitchFamily="34" charset="0"/>
              </a:rPr>
              <a:t>Рейтинг регионов РФ по количеству закрывшихся ИП </a:t>
            </a:r>
          </a:p>
          <a:p>
            <a:pPr>
              <a:defRPr/>
            </a:pPr>
            <a:r>
              <a:rPr lang="ru-RU" sz="2000" b="1" dirty="0">
                <a:latin typeface="Arial" pitchFamily="34" charset="0"/>
                <a:ea typeface="+mj-ea"/>
                <a:cs typeface="Arial" pitchFamily="34" charset="0"/>
              </a:rPr>
              <a:t>(с 01.12.2012 по 01.</a:t>
            </a:r>
            <a:r>
              <a:rPr lang="en-US" sz="2000" b="1" dirty="0">
                <a:latin typeface="Arial" pitchFamily="34" charset="0"/>
                <a:ea typeface="+mj-ea"/>
                <a:cs typeface="Arial" pitchFamily="34" charset="0"/>
              </a:rPr>
              <a:t>10</a:t>
            </a:r>
            <a:r>
              <a:rPr lang="ru-RU" sz="2000" b="1" dirty="0">
                <a:latin typeface="Arial" pitchFamily="34" charset="0"/>
                <a:ea typeface="+mj-ea"/>
                <a:cs typeface="Arial" pitchFamily="34" charset="0"/>
              </a:rPr>
              <a:t>.2013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CF0E42D-C64D-495F-9AFA-9311A01ECEDD}" type="slidenum">
              <a:rPr lang="ru-RU" smtClean="0"/>
              <a:pPr>
                <a:defRPr/>
              </a:pPr>
              <a:t>38</a:t>
            </a:fld>
            <a:endParaRPr lang="ru-RU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0" y="0"/>
            <a:ext cx="714375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" name="Овал 4"/>
          <p:cNvSpPr/>
          <p:nvPr/>
        </p:nvSpPr>
        <p:spPr bwMode="auto">
          <a:xfrm>
            <a:off x="322263" y="500063"/>
            <a:ext cx="785812" cy="78581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" name="Овал 5"/>
          <p:cNvSpPr/>
          <p:nvPr/>
        </p:nvSpPr>
        <p:spPr bwMode="auto">
          <a:xfrm>
            <a:off x="565150" y="765175"/>
            <a:ext cx="276225" cy="276225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" name="Полилиния 6"/>
          <p:cNvSpPr/>
          <p:nvPr/>
        </p:nvSpPr>
        <p:spPr bwMode="auto">
          <a:xfrm>
            <a:off x="749300" y="571500"/>
            <a:ext cx="6680200" cy="190500"/>
          </a:xfrm>
          <a:custGeom>
            <a:avLst/>
            <a:gdLst>
              <a:gd name="connsiteX0" fmla="*/ 0 w 3136900"/>
              <a:gd name="connsiteY0" fmla="*/ 279400 h 279400"/>
              <a:gd name="connsiteX1" fmla="*/ 203200 w 3136900"/>
              <a:gd name="connsiteY1" fmla="*/ 0 h 279400"/>
              <a:gd name="connsiteX2" fmla="*/ 3136900 w 3136900"/>
              <a:gd name="connsiteY2" fmla="*/ 635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36900" h="279400">
                <a:moveTo>
                  <a:pt x="0" y="279400"/>
                </a:moveTo>
                <a:lnTo>
                  <a:pt x="203200" y="0"/>
                </a:lnTo>
                <a:lnTo>
                  <a:pt x="3136900" y="6350"/>
                </a:lnTo>
              </a:path>
            </a:pathLst>
          </a:cu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7" name="Picture 5" descr="C:\Documents and Settings\golenkova-yy\Local Settings\Temporary Internet Files\Content.IE5\BL8LNURV\MC900437629[1].pn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323528" y="1052736"/>
            <a:ext cx="2159000" cy="2160587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19" name="Freeform 76"/>
          <p:cNvSpPr>
            <a:spLocks/>
          </p:cNvSpPr>
          <p:nvPr/>
        </p:nvSpPr>
        <p:spPr bwMode="gray">
          <a:xfrm>
            <a:off x="2411413" y="765175"/>
            <a:ext cx="1012825" cy="914400"/>
          </a:xfrm>
          <a:custGeom>
            <a:avLst/>
            <a:gdLst/>
            <a:ahLst/>
            <a:cxnLst>
              <a:cxn ang="0">
                <a:pos x="133" y="0"/>
              </a:cxn>
              <a:cxn ang="0">
                <a:pos x="161" y="3"/>
              </a:cxn>
              <a:cxn ang="0">
                <a:pos x="186" y="12"/>
              </a:cxn>
              <a:cxn ang="0">
                <a:pos x="209" y="25"/>
              </a:cxn>
              <a:cxn ang="0">
                <a:pos x="228" y="42"/>
              </a:cxn>
              <a:cxn ang="0">
                <a:pos x="245" y="64"/>
              </a:cxn>
              <a:cxn ang="0">
                <a:pos x="257" y="88"/>
              </a:cxn>
              <a:cxn ang="0">
                <a:pos x="265" y="116"/>
              </a:cxn>
              <a:cxn ang="0">
                <a:pos x="267" y="146"/>
              </a:cxn>
              <a:cxn ang="0">
                <a:pos x="265" y="175"/>
              </a:cxn>
              <a:cxn ang="0">
                <a:pos x="257" y="203"/>
              </a:cxn>
              <a:cxn ang="0">
                <a:pos x="245" y="227"/>
              </a:cxn>
              <a:cxn ang="0">
                <a:pos x="228" y="249"/>
              </a:cxn>
              <a:cxn ang="0">
                <a:pos x="209" y="267"/>
              </a:cxn>
              <a:cxn ang="0">
                <a:pos x="186" y="281"/>
              </a:cxn>
              <a:cxn ang="0">
                <a:pos x="161" y="289"/>
              </a:cxn>
              <a:cxn ang="0">
                <a:pos x="133" y="292"/>
              </a:cxn>
              <a:cxn ang="0">
                <a:pos x="103" y="288"/>
              </a:cxn>
              <a:cxn ang="0">
                <a:pos x="75" y="277"/>
              </a:cxn>
              <a:cxn ang="0">
                <a:pos x="51" y="260"/>
              </a:cxn>
              <a:cxn ang="0">
                <a:pos x="29" y="237"/>
              </a:cxn>
              <a:cxn ang="0">
                <a:pos x="13" y="210"/>
              </a:cxn>
              <a:cxn ang="0">
                <a:pos x="4" y="178"/>
              </a:cxn>
              <a:cxn ang="0">
                <a:pos x="0" y="146"/>
              </a:cxn>
              <a:cxn ang="0">
                <a:pos x="4" y="113"/>
              </a:cxn>
              <a:cxn ang="0">
                <a:pos x="13" y="81"/>
              </a:cxn>
              <a:cxn ang="0">
                <a:pos x="29" y="54"/>
              </a:cxn>
              <a:cxn ang="0">
                <a:pos x="51" y="32"/>
              </a:cxn>
              <a:cxn ang="0">
                <a:pos x="75" y="14"/>
              </a:cxn>
              <a:cxn ang="0">
                <a:pos x="103" y="3"/>
              </a:cxn>
              <a:cxn ang="0">
                <a:pos x="133" y="0"/>
              </a:cxn>
            </a:cxnLst>
            <a:rect l="0" t="0" r="r" b="b"/>
            <a:pathLst>
              <a:path w="267" h="292">
                <a:moveTo>
                  <a:pt x="133" y="0"/>
                </a:moveTo>
                <a:lnTo>
                  <a:pt x="161" y="3"/>
                </a:lnTo>
                <a:lnTo>
                  <a:pt x="186" y="12"/>
                </a:lnTo>
                <a:lnTo>
                  <a:pt x="209" y="25"/>
                </a:lnTo>
                <a:lnTo>
                  <a:pt x="228" y="42"/>
                </a:lnTo>
                <a:lnTo>
                  <a:pt x="245" y="64"/>
                </a:lnTo>
                <a:lnTo>
                  <a:pt x="257" y="88"/>
                </a:lnTo>
                <a:lnTo>
                  <a:pt x="265" y="116"/>
                </a:lnTo>
                <a:lnTo>
                  <a:pt x="267" y="146"/>
                </a:lnTo>
                <a:lnTo>
                  <a:pt x="265" y="175"/>
                </a:lnTo>
                <a:lnTo>
                  <a:pt x="257" y="203"/>
                </a:lnTo>
                <a:lnTo>
                  <a:pt x="245" y="227"/>
                </a:lnTo>
                <a:lnTo>
                  <a:pt x="228" y="249"/>
                </a:lnTo>
                <a:lnTo>
                  <a:pt x="209" y="267"/>
                </a:lnTo>
                <a:lnTo>
                  <a:pt x="186" y="281"/>
                </a:lnTo>
                <a:lnTo>
                  <a:pt x="161" y="289"/>
                </a:lnTo>
                <a:lnTo>
                  <a:pt x="133" y="292"/>
                </a:lnTo>
                <a:lnTo>
                  <a:pt x="103" y="288"/>
                </a:lnTo>
                <a:lnTo>
                  <a:pt x="75" y="277"/>
                </a:lnTo>
                <a:lnTo>
                  <a:pt x="51" y="260"/>
                </a:lnTo>
                <a:lnTo>
                  <a:pt x="29" y="237"/>
                </a:lnTo>
                <a:lnTo>
                  <a:pt x="13" y="210"/>
                </a:lnTo>
                <a:lnTo>
                  <a:pt x="4" y="178"/>
                </a:lnTo>
                <a:lnTo>
                  <a:pt x="0" y="146"/>
                </a:lnTo>
                <a:lnTo>
                  <a:pt x="4" y="113"/>
                </a:lnTo>
                <a:lnTo>
                  <a:pt x="13" y="81"/>
                </a:lnTo>
                <a:lnTo>
                  <a:pt x="29" y="54"/>
                </a:lnTo>
                <a:lnTo>
                  <a:pt x="51" y="32"/>
                </a:lnTo>
                <a:lnTo>
                  <a:pt x="75" y="14"/>
                </a:lnTo>
                <a:lnTo>
                  <a:pt x="103" y="3"/>
                </a:lnTo>
                <a:lnTo>
                  <a:pt x="133" y="0"/>
                </a:lnTo>
                <a:close/>
              </a:path>
            </a:pathLst>
          </a:cu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solidFill>
                <a:sysClr val="window" lastClr="FFFFFF"/>
              </a:solidFill>
              <a:latin typeface="Century Gothic" pitchFamily="34" charset="0"/>
            </a:endParaRPr>
          </a:p>
        </p:txBody>
      </p:sp>
      <p:sp>
        <p:nvSpPr>
          <p:cNvPr id="20" name="Freeform 77"/>
          <p:cNvSpPr>
            <a:spLocks/>
          </p:cNvSpPr>
          <p:nvPr/>
        </p:nvSpPr>
        <p:spPr bwMode="gray">
          <a:xfrm>
            <a:off x="2144713" y="1790700"/>
            <a:ext cx="1563687" cy="2530475"/>
          </a:xfrm>
          <a:custGeom>
            <a:avLst/>
            <a:gdLst/>
            <a:ahLst/>
            <a:cxnLst>
              <a:cxn ang="0">
                <a:pos x="72" y="5"/>
              </a:cxn>
              <a:cxn ang="0">
                <a:pos x="30" y="32"/>
              </a:cxn>
              <a:cxn ang="0">
                <a:pos x="4" y="75"/>
              </a:cxn>
              <a:cxn ang="0">
                <a:pos x="0" y="509"/>
              </a:cxn>
              <a:cxn ang="0">
                <a:pos x="1" y="516"/>
              </a:cxn>
              <a:cxn ang="0">
                <a:pos x="9" y="533"/>
              </a:cxn>
              <a:cxn ang="0">
                <a:pos x="26" y="550"/>
              </a:cxn>
              <a:cxn ang="0">
                <a:pos x="56" y="557"/>
              </a:cxn>
              <a:cxn ang="0">
                <a:pos x="84" y="551"/>
              </a:cxn>
              <a:cxn ang="0">
                <a:pos x="100" y="534"/>
              </a:cxn>
              <a:cxn ang="0">
                <a:pos x="106" y="516"/>
              </a:cxn>
              <a:cxn ang="0">
                <a:pos x="108" y="503"/>
              </a:cxn>
              <a:cxn ang="0">
                <a:pos x="108" y="166"/>
              </a:cxn>
              <a:cxn ang="0">
                <a:pos x="135" y="1066"/>
              </a:cxn>
              <a:cxn ang="0">
                <a:pos x="138" y="1073"/>
              </a:cxn>
              <a:cxn ang="0">
                <a:pos x="151" y="1089"/>
              </a:cxn>
              <a:cxn ang="0">
                <a:pos x="174" y="1105"/>
              </a:cxn>
              <a:cxn ang="0">
                <a:pos x="199" y="1111"/>
              </a:cxn>
              <a:cxn ang="0">
                <a:pos x="227" y="1110"/>
              </a:cxn>
              <a:cxn ang="0">
                <a:pos x="255" y="1097"/>
              </a:cxn>
              <a:cxn ang="0">
                <a:pos x="272" y="1080"/>
              </a:cxn>
              <a:cxn ang="0">
                <a:pos x="278" y="1068"/>
              </a:cxn>
              <a:cxn ang="0">
                <a:pos x="279" y="499"/>
              </a:cxn>
              <a:cxn ang="0">
                <a:pos x="302" y="503"/>
              </a:cxn>
              <a:cxn ang="0">
                <a:pos x="302" y="534"/>
              </a:cxn>
              <a:cxn ang="0">
                <a:pos x="304" y="590"/>
              </a:cxn>
              <a:cxn ang="0">
                <a:pos x="304" y="664"/>
              </a:cxn>
              <a:cxn ang="0">
                <a:pos x="304" y="750"/>
              </a:cxn>
              <a:cxn ang="0">
                <a:pos x="304" y="838"/>
              </a:cxn>
              <a:cxn ang="0">
                <a:pos x="305" y="926"/>
              </a:cxn>
              <a:cxn ang="0">
                <a:pos x="305" y="1004"/>
              </a:cxn>
              <a:cxn ang="0">
                <a:pos x="305" y="1066"/>
              </a:cxn>
              <a:cxn ang="0">
                <a:pos x="306" y="1073"/>
              </a:cxn>
              <a:cxn ang="0">
                <a:pos x="315" y="1088"/>
              </a:cxn>
              <a:cxn ang="0">
                <a:pos x="335" y="1103"/>
              </a:cxn>
              <a:cxn ang="0">
                <a:pos x="372" y="1111"/>
              </a:cxn>
              <a:cxn ang="0">
                <a:pos x="408" y="1103"/>
              </a:cxn>
              <a:cxn ang="0">
                <a:pos x="429" y="1089"/>
              </a:cxn>
              <a:cxn ang="0">
                <a:pos x="437" y="1073"/>
              </a:cxn>
              <a:cxn ang="0">
                <a:pos x="438" y="1067"/>
              </a:cxn>
              <a:cxn ang="0">
                <a:pos x="466" y="166"/>
              </a:cxn>
              <a:cxn ang="0">
                <a:pos x="468" y="503"/>
              </a:cxn>
              <a:cxn ang="0">
                <a:pos x="472" y="517"/>
              </a:cxn>
              <a:cxn ang="0">
                <a:pos x="483" y="537"/>
              </a:cxn>
              <a:cxn ang="0">
                <a:pos x="505" y="551"/>
              </a:cxn>
              <a:cxn ang="0">
                <a:pos x="536" y="551"/>
              </a:cxn>
              <a:cxn ang="0">
                <a:pos x="557" y="537"/>
              </a:cxn>
              <a:cxn ang="0">
                <a:pos x="570" y="517"/>
              </a:cxn>
              <a:cxn ang="0">
                <a:pos x="573" y="508"/>
              </a:cxn>
              <a:cxn ang="0">
                <a:pos x="572" y="68"/>
              </a:cxn>
              <a:cxn ang="0">
                <a:pos x="546" y="28"/>
              </a:cxn>
              <a:cxn ang="0">
                <a:pos x="506" y="4"/>
              </a:cxn>
              <a:cxn ang="0">
                <a:pos x="94" y="0"/>
              </a:cxn>
            </a:cxnLst>
            <a:rect l="0" t="0" r="r" b="b"/>
            <a:pathLst>
              <a:path w="573" h="1111">
                <a:moveTo>
                  <a:pt x="94" y="0"/>
                </a:moveTo>
                <a:lnTo>
                  <a:pt x="72" y="5"/>
                </a:lnTo>
                <a:lnTo>
                  <a:pt x="50" y="16"/>
                </a:lnTo>
                <a:lnTo>
                  <a:pt x="30" y="32"/>
                </a:lnTo>
                <a:lnTo>
                  <a:pt x="15" y="53"/>
                </a:lnTo>
                <a:lnTo>
                  <a:pt x="4" y="75"/>
                </a:lnTo>
                <a:lnTo>
                  <a:pt x="0" y="99"/>
                </a:lnTo>
                <a:lnTo>
                  <a:pt x="0" y="509"/>
                </a:lnTo>
                <a:lnTo>
                  <a:pt x="0" y="511"/>
                </a:lnTo>
                <a:lnTo>
                  <a:pt x="1" y="516"/>
                </a:lnTo>
                <a:lnTo>
                  <a:pt x="4" y="525"/>
                </a:lnTo>
                <a:lnTo>
                  <a:pt x="9" y="533"/>
                </a:lnTo>
                <a:lnTo>
                  <a:pt x="16" y="543"/>
                </a:lnTo>
                <a:lnTo>
                  <a:pt x="26" y="550"/>
                </a:lnTo>
                <a:lnTo>
                  <a:pt x="39" y="556"/>
                </a:lnTo>
                <a:lnTo>
                  <a:pt x="56" y="557"/>
                </a:lnTo>
                <a:lnTo>
                  <a:pt x="72" y="556"/>
                </a:lnTo>
                <a:lnTo>
                  <a:pt x="84" y="551"/>
                </a:lnTo>
                <a:lnTo>
                  <a:pt x="92" y="543"/>
                </a:lnTo>
                <a:lnTo>
                  <a:pt x="100" y="534"/>
                </a:lnTo>
                <a:lnTo>
                  <a:pt x="103" y="525"/>
                </a:lnTo>
                <a:lnTo>
                  <a:pt x="106" y="516"/>
                </a:lnTo>
                <a:lnTo>
                  <a:pt x="107" y="508"/>
                </a:lnTo>
                <a:lnTo>
                  <a:pt x="108" y="503"/>
                </a:lnTo>
                <a:lnTo>
                  <a:pt x="108" y="500"/>
                </a:lnTo>
                <a:lnTo>
                  <a:pt x="108" y="166"/>
                </a:lnTo>
                <a:lnTo>
                  <a:pt x="134" y="167"/>
                </a:lnTo>
                <a:lnTo>
                  <a:pt x="135" y="1066"/>
                </a:lnTo>
                <a:lnTo>
                  <a:pt x="136" y="1068"/>
                </a:lnTo>
                <a:lnTo>
                  <a:pt x="138" y="1073"/>
                </a:lnTo>
                <a:lnTo>
                  <a:pt x="143" y="1080"/>
                </a:lnTo>
                <a:lnTo>
                  <a:pt x="151" y="1089"/>
                </a:lnTo>
                <a:lnTo>
                  <a:pt x="162" y="1097"/>
                </a:lnTo>
                <a:lnTo>
                  <a:pt x="174" y="1105"/>
                </a:lnTo>
                <a:lnTo>
                  <a:pt x="189" y="1110"/>
                </a:lnTo>
                <a:lnTo>
                  <a:pt x="199" y="1111"/>
                </a:lnTo>
                <a:lnTo>
                  <a:pt x="217" y="1111"/>
                </a:lnTo>
                <a:lnTo>
                  <a:pt x="227" y="1110"/>
                </a:lnTo>
                <a:lnTo>
                  <a:pt x="243" y="1105"/>
                </a:lnTo>
                <a:lnTo>
                  <a:pt x="255" y="1097"/>
                </a:lnTo>
                <a:lnTo>
                  <a:pt x="265" y="1089"/>
                </a:lnTo>
                <a:lnTo>
                  <a:pt x="272" y="1080"/>
                </a:lnTo>
                <a:lnTo>
                  <a:pt x="276" y="1073"/>
                </a:lnTo>
                <a:lnTo>
                  <a:pt x="278" y="1068"/>
                </a:lnTo>
                <a:lnTo>
                  <a:pt x="279" y="1066"/>
                </a:lnTo>
                <a:lnTo>
                  <a:pt x="279" y="499"/>
                </a:lnTo>
                <a:lnTo>
                  <a:pt x="302" y="499"/>
                </a:lnTo>
                <a:lnTo>
                  <a:pt x="302" y="503"/>
                </a:lnTo>
                <a:lnTo>
                  <a:pt x="302" y="515"/>
                </a:lnTo>
                <a:lnTo>
                  <a:pt x="302" y="534"/>
                </a:lnTo>
                <a:lnTo>
                  <a:pt x="302" y="560"/>
                </a:lnTo>
                <a:lnTo>
                  <a:pt x="304" y="590"/>
                </a:lnTo>
                <a:lnTo>
                  <a:pt x="304" y="626"/>
                </a:lnTo>
                <a:lnTo>
                  <a:pt x="304" y="664"/>
                </a:lnTo>
                <a:lnTo>
                  <a:pt x="304" y="706"/>
                </a:lnTo>
                <a:lnTo>
                  <a:pt x="304" y="750"/>
                </a:lnTo>
                <a:lnTo>
                  <a:pt x="304" y="793"/>
                </a:lnTo>
                <a:lnTo>
                  <a:pt x="304" y="838"/>
                </a:lnTo>
                <a:lnTo>
                  <a:pt x="305" y="882"/>
                </a:lnTo>
                <a:lnTo>
                  <a:pt x="305" y="926"/>
                </a:lnTo>
                <a:lnTo>
                  <a:pt x="305" y="966"/>
                </a:lnTo>
                <a:lnTo>
                  <a:pt x="305" y="1004"/>
                </a:lnTo>
                <a:lnTo>
                  <a:pt x="305" y="1037"/>
                </a:lnTo>
                <a:lnTo>
                  <a:pt x="305" y="1066"/>
                </a:lnTo>
                <a:lnTo>
                  <a:pt x="305" y="1067"/>
                </a:lnTo>
                <a:lnTo>
                  <a:pt x="306" y="1073"/>
                </a:lnTo>
                <a:lnTo>
                  <a:pt x="310" y="1079"/>
                </a:lnTo>
                <a:lnTo>
                  <a:pt x="315" y="1088"/>
                </a:lnTo>
                <a:lnTo>
                  <a:pt x="323" y="1096"/>
                </a:lnTo>
                <a:lnTo>
                  <a:pt x="335" y="1103"/>
                </a:lnTo>
                <a:lnTo>
                  <a:pt x="351" y="1108"/>
                </a:lnTo>
                <a:lnTo>
                  <a:pt x="372" y="1111"/>
                </a:lnTo>
                <a:lnTo>
                  <a:pt x="392" y="1108"/>
                </a:lnTo>
                <a:lnTo>
                  <a:pt x="408" y="1103"/>
                </a:lnTo>
                <a:lnTo>
                  <a:pt x="420" y="1096"/>
                </a:lnTo>
                <a:lnTo>
                  <a:pt x="429" y="1089"/>
                </a:lnTo>
                <a:lnTo>
                  <a:pt x="434" y="1080"/>
                </a:lnTo>
                <a:lnTo>
                  <a:pt x="437" y="1073"/>
                </a:lnTo>
                <a:lnTo>
                  <a:pt x="438" y="1068"/>
                </a:lnTo>
                <a:lnTo>
                  <a:pt x="438" y="1067"/>
                </a:lnTo>
                <a:lnTo>
                  <a:pt x="440" y="166"/>
                </a:lnTo>
                <a:lnTo>
                  <a:pt x="466" y="166"/>
                </a:lnTo>
                <a:lnTo>
                  <a:pt x="466" y="500"/>
                </a:lnTo>
                <a:lnTo>
                  <a:pt x="468" y="503"/>
                </a:lnTo>
                <a:lnTo>
                  <a:pt x="469" y="509"/>
                </a:lnTo>
                <a:lnTo>
                  <a:pt x="472" y="517"/>
                </a:lnTo>
                <a:lnTo>
                  <a:pt x="477" y="527"/>
                </a:lnTo>
                <a:lnTo>
                  <a:pt x="483" y="537"/>
                </a:lnTo>
                <a:lnTo>
                  <a:pt x="493" y="545"/>
                </a:lnTo>
                <a:lnTo>
                  <a:pt x="505" y="551"/>
                </a:lnTo>
                <a:lnTo>
                  <a:pt x="520" y="554"/>
                </a:lnTo>
                <a:lnTo>
                  <a:pt x="536" y="551"/>
                </a:lnTo>
                <a:lnTo>
                  <a:pt x="548" y="545"/>
                </a:lnTo>
                <a:lnTo>
                  <a:pt x="557" y="537"/>
                </a:lnTo>
                <a:lnTo>
                  <a:pt x="563" y="527"/>
                </a:lnTo>
                <a:lnTo>
                  <a:pt x="570" y="517"/>
                </a:lnTo>
                <a:lnTo>
                  <a:pt x="573" y="510"/>
                </a:lnTo>
                <a:lnTo>
                  <a:pt x="573" y="508"/>
                </a:lnTo>
                <a:lnTo>
                  <a:pt x="573" y="79"/>
                </a:lnTo>
                <a:lnTo>
                  <a:pt x="572" y="68"/>
                </a:lnTo>
                <a:lnTo>
                  <a:pt x="561" y="47"/>
                </a:lnTo>
                <a:lnTo>
                  <a:pt x="546" y="28"/>
                </a:lnTo>
                <a:lnTo>
                  <a:pt x="528" y="14"/>
                </a:lnTo>
                <a:lnTo>
                  <a:pt x="506" y="4"/>
                </a:lnTo>
                <a:lnTo>
                  <a:pt x="485" y="0"/>
                </a:lnTo>
                <a:lnTo>
                  <a:pt x="94" y="0"/>
                </a:lnTo>
                <a:lnTo>
                  <a:pt x="94" y="0"/>
                </a:lnTo>
                <a:close/>
              </a:path>
            </a:pathLst>
          </a:cu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solidFill>
                <a:sysClr val="window" lastClr="FFFFFF"/>
              </a:solidFill>
              <a:latin typeface="Century Gothic" pitchFamily="34" charset="0"/>
            </a:endParaRPr>
          </a:p>
        </p:txBody>
      </p:sp>
      <p:grpSp>
        <p:nvGrpSpPr>
          <p:cNvPr id="2952201" name="Group 45"/>
          <p:cNvGrpSpPr>
            <a:grpSpLocks/>
          </p:cNvGrpSpPr>
          <p:nvPr/>
        </p:nvGrpSpPr>
        <p:grpSpPr bwMode="auto">
          <a:xfrm>
            <a:off x="4103688" y="973138"/>
            <a:ext cx="4692650" cy="3908425"/>
            <a:chOff x="530" y="1816"/>
            <a:chExt cx="2514" cy="1921"/>
          </a:xfrm>
        </p:grpSpPr>
        <p:sp>
          <p:nvSpPr>
            <p:cNvPr id="22" name="AutoShape 5"/>
            <p:cNvSpPr>
              <a:spLocks noChangeArrowheads="1"/>
            </p:cNvSpPr>
            <p:nvPr/>
          </p:nvSpPr>
          <p:spPr bwMode="gray">
            <a:xfrm>
              <a:off x="542" y="1816"/>
              <a:ext cx="2502" cy="701"/>
            </a:xfrm>
            <a:prstGeom prst="roundRect">
              <a:avLst>
                <a:gd name="adj" fmla="val 7574"/>
              </a:avLst>
            </a:prstGeom>
            <a:ln>
              <a:headEnd/>
              <a:tailEnd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lang="ru-RU" b="1" kern="0" dirty="0">
                  <a:solidFill>
                    <a:srgbClr val="333333"/>
                  </a:solidFill>
                  <a:latin typeface="Arial"/>
                </a:rPr>
                <a:t>Наибольший процент </a:t>
              </a:r>
              <a:r>
                <a:rPr lang="ru-RU" kern="0" dirty="0">
                  <a:solidFill>
                    <a:srgbClr val="333333"/>
                  </a:solidFill>
                  <a:latin typeface="Arial"/>
                </a:rPr>
                <a:t>закрытия</a:t>
              </a:r>
            </a:p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lang="ru-RU" b="1" kern="0" dirty="0">
                  <a:solidFill>
                    <a:srgbClr val="333333"/>
                  </a:solidFill>
                  <a:latin typeface="Arial"/>
                </a:rPr>
                <a:t>в сферах</a:t>
              </a:r>
              <a:r>
                <a:rPr lang="ru-RU" kern="0" dirty="0">
                  <a:solidFill>
                    <a:srgbClr val="333333"/>
                  </a:solidFill>
                  <a:latin typeface="Arial"/>
                </a:rPr>
                <a:t>, которые легче </a:t>
              </a:r>
            </a:p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lang="ru-RU" b="1" kern="0" dirty="0">
                  <a:solidFill>
                    <a:srgbClr val="333333"/>
                  </a:solidFill>
                  <a:latin typeface="Arial"/>
                </a:rPr>
                <a:t>увести «в тень» </a:t>
              </a:r>
              <a:r>
                <a:rPr lang="ru-RU" i="1" kern="0" dirty="0">
                  <a:solidFill>
                    <a:srgbClr val="333333"/>
                  </a:solidFill>
                  <a:latin typeface="Arial"/>
                </a:rPr>
                <a:t>(индивидуальный </a:t>
              </a:r>
            </a:p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lang="ru-RU" i="1" kern="0" dirty="0">
                  <a:solidFill>
                    <a:srgbClr val="333333"/>
                  </a:solidFill>
                  <a:latin typeface="Arial"/>
                </a:rPr>
                <a:t>пошив, парикмахерские услуги, такси,</a:t>
              </a:r>
            </a:p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lang="ru-RU" i="1" kern="0" dirty="0">
                  <a:solidFill>
                    <a:srgbClr val="333333"/>
                  </a:solidFill>
                  <a:latin typeface="Arial"/>
                </a:rPr>
                <a:t>строительные бригады и т.п.) </a:t>
              </a:r>
              <a:endParaRPr lang="en-US" sz="2000" b="1" i="1" kern="0" dirty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23" name="AutoShape 9"/>
            <p:cNvSpPr>
              <a:spLocks noChangeArrowheads="1"/>
            </p:cNvSpPr>
            <p:nvPr/>
          </p:nvSpPr>
          <p:spPr bwMode="gray">
            <a:xfrm>
              <a:off x="530" y="3230"/>
              <a:ext cx="2502" cy="507"/>
            </a:xfrm>
            <a:prstGeom prst="roundRect">
              <a:avLst>
                <a:gd name="adj" fmla="val 7574"/>
              </a:avLst>
            </a:prstGeom>
            <a:ln>
              <a:headEnd/>
              <a:tailEnd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lang="ru-RU" kern="0" dirty="0">
                  <a:solidFill>
                    <a:srgbClr val="333333"/>
                  </a:solidFill>
                  <a:latin typeface="Arial"/>
                </a:rPr>
                <a:t>Закрытие ИП в </a:t>
              </a:r>
              <a:r>
                <a:rPr lang="ru-RU" b="1" kern="0" dirty="0">
                  <a:solidFill>
                    <a:srgbClr val="333333"/>
                  </a:solidFill>
                  <a:latin typeface="Arial"/>
                </a:rPr>
                <a:t>сфере </a:t>
              </a:r>
            </a:p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lang="ru-RU" b="1" kern="0" dirty="0">
                  <a:solidFill>
                    <a:srgbClr val="333333"/>
                  </a:solidFill>
                  <a:latin typeface="Arial"/>
                </a:rPr>
                <a:t>торговли </a:t>
              </a:r>
              <a:r>
                <a:rPr lang="ru-RU" kern="0" dirty="0">
                  <a:solidFill>
                    <a:srgbClr val="333333"/>
                  </a:solidFill>
                  <a:latin typeface="Arial"/>
                </a:rPr>
                <a:t>происходит </a:t>
              </a:r>
              <a:r>
                <a:rPr lang="ru-RU" b="1" kern="0" dirty="0">
                  <a:solidFill>
                    <a:srgbClr val="333333"/>
                  </a:solidFill>
                  <a:latin typeface="Arial"/>
                </a:rPr>
                <a:t>в селах и</a:t>
              </a:r>
            </a:p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None/>
                <a:defRPr/>
              </a:pPr>
              <a:r>
                <a:rPr lang="ru-RU" b="1" kern="0" dirty="0">
                  <a:solidFill>
                    <a:srgbClr val="333333"/>
                  </a:solidFill>
                  <a:latin typeface="Arial"/>
                </a:rPr>
                <a:t>на окраинах</a:t>
              </a:r>
              <a:r>
                <a:rPr lang="ru-RU" kern="0" dirty="0">
                  <a:solidFill>
                    <a:srgbClr val="333333"/>
                  </a:solidFill>
                  <a:latin typeface="Arial"/>
                </a:rPr>
                <a:t> городских поселений</a:t>
              </a:r>
              <a:endParaRPr lang="en-US" kern="0" dirty="0">
                <a:solidFill>
                  <a:srgbClr val="333333"/>
                </a:solidFill>
                <a:latin typeface="Arial"/>
              </a:endParaRPr>
            </a:p>
          </p:txBody>
        </p:sp>
      </p:grpSp>
      <p:sp>
        <p:nvSpPr>
          <p:cNvPr id="24" name="AutoShape 9"/>
          <p:cNvSpPr>
            <a:spLocks noChangeArrowheads="1"/>
          </p:cNvSpPr>
          <p:nvPr/>
        </p:nvSpPr>
        <p:spPr bwMode="gray">
          <a:xfrm>
            <a:off x="4125913" y="2555875"/>
            <a:ext cx="4670425" cy="1152525"/>
          </a:xfrm>
          <a:prstGeom prst="roundRect">
            <a:avLst>
              <a:gd name="adj" fmla="val 7574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ru-RU" i="1" kern="0" dirty="0">
                <a:solidFill>
                  <a:srgbClr val="333333"/>
                </a:solidFill>
                <a:latin typeface="Arial"/>
              </a:rPr>
              <a:t>Предположение</a:t>
            </a:r>
            <a:r>
              <a:rPr lang="ru-RU" kern="0" dirty="0">
                <a:solidFill>
                  <a:srgbClr val="333333"/>
                </a:solidFill>
                <a:latin typeface="Arial"/>
              </a:rPr>
              <a:t>: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ru-RU" b="1" kern="0" dirty="0">
                <a:solidFill>
                  <a:srgbClr val="333333"/>
                </a:solidFill>
                <a:latin typeface="Arial"/>
              </a:rPr>
              <a:t>сельскохозяйственные предприятия 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ru-RU" kern="0" dirty="0">
                <a:solidFill>
                  <a:srgbClr val="333333"/>
                </a:solidFill>
                <a:latin typeface="Arial"/>
              </a:rPr>
              <a:t>наиболее инертны и </a:t>
            </a:r>
            <a:r>
              <a:rPr lang="ru-RU" b="1" kern="0" dirty="0">
                <a:solidFill>
                  <a:srgbClr val="333333"/>
                </a:solidFill>
                <a:latin typeface="Arial"/>
              </a:rPr>
              <a:t>пик</a:t>
            </a:r>
            <a:r>
              <a:rPr lang="ru-RU" kern="0" dirty="0">
                <a:solidFill>
                  <a:srgbClr val="333333"/>
                </a:solidFill>
                <a:latin typeface="Arial"/>
              </a:rPr>
              <a:t> их </a:t>
            </a:r>
            <a:r>
              <a:rPr lang="ru-RU" b="1" kern="0" dirty="0">
                <a:solidFill>
                  <a:srgbClr val="333333"/>
                </a:solidFill>
                <a:latin typeface="Arial"/>
              </a:rPr>
              <a:t>закрытия 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ru-RU" b="1" kern="0" dirty="0">
                <a:solidFill>
                  <a:srgbClr val="333333"/>
                </a:solidFill>
                <a:latin typeface="Arial"/>
              </a:rPr>
              <a:t>впереди</a:t>
            </a:r>
            <a:endParaRPr lang="en-US" b="1" kern="0" dirty="0">
              <a:solidFill>
                <a:srgbClr val="333333"/>
              </a:solidFill>
              <a:latin typeface="Arial"/>
            </a:endParaRPr>
          </a:p>
        </p:txBody>
      </p:sp>
      <p:sp>
        <p:nvSpPr>
          <p:cNvPr id="25" name="AutoShape 9"/>
          <p:cNvSpPr>
            <a:spLocks noChangeArrowheads="1"/>
          </p:cNvSpPr>
          <p:nvPr/>
        </p:nvSpPr>
        <p:spPr bwMode="gray">
          <a:xfrm>
            <a:off x="4121150" y="5014913"/>
            <a:ext cx="4670425" cy="1150937"/>
          </a:xfrm>
          <a:prstGeom prst="roundRect">
            <a:avLst>
              <a:gd name="adj" fmla="val 7574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ru-RU" b="1" kern="0" dirty="0">
                <a:solidFill>
                  <a:srgbClr val="333333"/>
                </a:solidFill>
                <a:latin typeface="Arial"/>
              </a:rPr>
              <a:t>Значительная часть</a:t>
            </a:r>
            <a:r>
              <a:rPr lang="ru-RU" kern="0" dirty="0">
                <a:solidFill>
                  <a:srgbClr val="333333"/>
                </a:solidFill>
                <a:latin typeface="Arial"/>
              </a:rPr>
              <a:t> закрывающихся ИП 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ru-RU" b="1" kern="0" dirty="0">
                <a:solidFill>
                  <a:srgbClr val="333333"/>
                </a:solidFill>
                <a:latin typeface="Arial"/>
              </a:rPr>
              <a:t>вела реальную деятельность 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ru-RU" kern="0" dirty="0">
                <a:solidFill>
                  <a:srgbClr val="333333"/>
                </a:solidFill>
                <a:latin typeface="Arial"/>
              </a:rPr>
              <a:t>(</a:t>
            </a:r>
            <a:r>
              <a:rPr lang="ru-RU" b="1" kern="0" dirty="0">
                <a:solidFill>
                  <a:srgbClr val="333333"/>
                </a:solidFill>
                <a:latin typeface="Arial"/>
              </a:rPr>
              <a:t>не «нулевая» </a:t>
            </a:r>
            <a:r>
              <a:rPr lang="ru-RU" kern="0" dirty="0">
                <a:solidFill>
                  <a:srgbClr val="333333"/>
                </a:solidFill>
                <a:latin typeface="Arial"/>
              </a:rPr>
              <a:t>отчетность, есть примеры)</a:t>
            </a:r>
          </a:p>
        </p:txBody>
      </p:sp>
      <p:sp>
        <p:nvSpPr>
          <p:cNvPr id="2952204" name="Заголовок 4"/>
          <p:cNvSpPr txBox="1">
            <a:spLocks/>
          </p:cNvSpPr>
          <p:nvPr/>
        </p:nvSpPr>
        <p:spPr bwMode="auto">
          <a:xfrm>
            <a:off x="1155700" y="79375"/>
            <a:ext cx="7618413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/>
            <a:r>
              <a:rPr lang="ru-RU" sz="2400" b="1"/>
              <a:t>Портрет закрывшихся ИП (некоторые выводы)</a:t>
            </a:r>
          </a:p>
        </p:txBody>
      </p:sp>
      <p:sp>
        <p:nvSpPr>
          <p:cNvPr id="16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539750" y="4365625"/>
            <a:ext cx="3384550" cy="2205038"/>
          </a:xfrm>
        </p:spPr>
        <p:txBody>
          <a:bodyPr/>
          <a:lstStyle/>
          <a:p>
            <a:pPr>
              <a:defRPr/>
            </a:pPr>
            <a:r>
              <a:rPr lang="ru-RU" sz="2400" b="1" dirty="0" smtClean="0">
                <a:solidFill>
                  <a:schemeClr val="tx1"/>
                </a:solidFill>
              </a:rPr>
              <a:t>Вице-премьер </a:t>
            </a:r>
            <a:r>
              <a:rPr lang="ru-RU" sz="2400" b="1" dirty="0" err="1" smtClean="0">
                <a:solidFill>
                  <a:schemeClr val="tx1"/>
                </a:solidFill>
              </a:rPr>
              <a:t>О.Ю.Голодец</a:t>
            </a:r>
            <a:r>
              <a:rPr lang="ru-RU" sz="2400" b="1" dirty="0" smtClean="0">
                <a:solidFill>
                  <a:schemeClr val="tx1"/>
                </a:solidFill>
              </a:rPr>
              <a:t>: «20 млн. россиян заняты в теневом секторе»</a:t>
            </a:r>
            <a:endParaRPr lang="ru-RU" sz="24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AD5CD1-0985-4D03-BC5B-D517A65F0E6A}" type="slidenum">
              <a:rPr lang="ru-RU" smtClean="0"/>
              <a:pPr>
                <a:defRPr/>
              </a:pPr>
              <a:t>39</a:t>
            </a:fld>
            <a:endParaRPr lang="ru-RU" dirty="0"/>
          </a:p>
        </p:txBody>
      </p:sp>
      <p:pic>
        <p:nvPicPr>
          <p:cNvPr id="2953218" name="Рисунок 3"/>
          <p:cNvPicPr>
            <a:picLocks noChangeAspect="1" noChangeArrowheads="1"/>
          </p:cNvPicPr>
          <p:nvPr/>
        </p:nvPicPr>
        <p:blipFill>
          <a:blip r:embed="rId2" cstate="print"/>
          <a:srcRect l="5696" t="12253" r="5855" b="6851"/>
          <a:stretch>
            <a:fillRect/>
          </a:stretch>
        </p:blipFill>
        <p:spPr bwMode="auto">
          <a:xfrm>
            <a:off x="468313" y="836613"/>
            <a:ext cx="8208962" cy="5697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/>
          <p:nvPr/>
        </p:nvSpPr>
        <p:spPr bwMode="auto">
          <a:xfrm>
            <a:off x="0" y="0"/>
            <a:ext cx="714375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" name="Овал 5"/>
          <p:cNvSpPr/>
          <p:nvPr/>
        </p:nvSpPr>
        <p:spPr bwMode="auto">
          <a:xfrm>
            <a:off x="322263" y="736600"/>
            <a:ext cx="785812" cy="7858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" name="Овал 6"/>
          <p:cNvSpPr/>
          <p:nvPr/>
        </p:nvSpPr>
        <p:spPr bwMode="auto">
          <a:xfrm>
            <a:off x="565150" y="1001713"/>
            <a:ext cx="276225" cy="276225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8" name="Полилиния 7"/>
          <p:cNvSpPr/>
          <p:nvPr/>
        </p:nvSpPr>
        <p:spPr bwMode="auto">
          <a:xfrm>
            <a:off x="749300" y="1006475"/>
            <a:ext cx="6680200" cy="190500"/>
          </a:xfrm>
          <a:custGeom>
            <a:avLst/>
            <a:gdLst>
              <a:gd name="connsiteX0" fmla="*/ 0 w 3136900"/>
              <a:gd name="connsiteY0" fmla="*/ 279400 h 279400"/>
              <a:gd name="connsiteX1" fmla="*/ 203200 w 3136900"/>
              <a:gd name="connsiteY1" fmla="*/ 0 h 279400"/>
              <a:gd name="connsiteX2" fmla="*/ 3136900 w 3136900"/>
              <a:gd name="connsiteY2" fmla="*/ 635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36900" h="279400">
                <a:moveTo>
                  <a:pt x="0" y="279400"/>
                </a:moveTo>
                <a:lnTo>
                  <a:pt x="203200" y="0"/>
                </a:lnTo>
                <a:lnTo>
                  <a:pt x="3136900" y="6350"/>
                </a:lnTo>
              </a:path>
            </a:pathLst>
          </a:cu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953223" name="Заголовок 1"/>
          <p:cNvSpPr txBox="1">
            <a:spLocks/>
          </p:cNvSpPr>
          <p:nvPr/>
        </p:nvSpPr>
        <p:spPr bwMode="auto">
          <a:xfrm>
            <a:off x="554038" y="-20638"/>
            <a:ext cx="8123237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/>
            <a:r>
              <a:rPr lang="ru-RU" sz="2800" b="1"/>
              <a:t>Основные составляющие ускоренного </a:t>
            </a:r>
          </a:p>
          <a:p>
            <a:pPr algn="ctr" eaLnBrk="0" hangingPunct="0"/>
            <a:r>
              <a:rPr lang="ru-RU" sz="2800" b="1"/>
              <a:t>развития МБ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09185" name="Группа 10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3" name="Овал 12"/>
            <p:cNvSpPr/>
            <p:nvPr/>
          </p:nvSpPr>
          <p:spPr>
            <a:xfrm>
              <a:off x="322263" y="500063"/>
              <a:ext cx="785812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714375" y="357188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Овал 14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Полилиния 15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2909186" name="Rectangle 2"/>
          <p:cNvSpPr>
            <a:spLocks noGrp="1"/>
          </p:cNvSpPr>
          <p:nvPr>
            <p:ph type="title" idx="4294967295"/>
          </p:nvPr>
        </p:nvSpPr>
        <p:spPr>
          <a:xfrm>
            <a:off x="468313" y="0"/>
            <a:ext cx="8229600" cy="649288"/>
          </a:xfrm>
        </p:spPr>
        <p:txBody>
          <a:bodyPr/>
          <a:lstStyle/>
          <a:p>
            <a:r>
              <a:rPr lang="ru-RU" sz="2800" b="1" smtClean="0">
                <a:latin typeface="Arial" charset="0"/>
                <a:cs typeface="Arial" charset="0"/>
              </a:rPr>
              <a:t>Малый бизнес в России и мире</a:t>
            </a:r>
          </a:p>
        </p:txBody>
      </p:sp>
      <p:sp>
        <p:nvSpPr>
          <p:cNvPr id="2909187" name="Rectangle 8"/>
          <p:cNvSpPr>
            <a:spLocks noChangeArrowheads="1"/>
          </p:cNvSpPr>
          <p:nvPr/>
        </p:nvSpPr>
        <p:spPr bwMode="auto">
          <a:xfrm>
            <a:off x="1835150" y="692150"/>
            <a:ext cx="1727200" cy="503238"/>
          </a:xfrm>
          <a:prstGeom prst="rect">
            <a:avLst/>
          </a:prstGeom>
          <a:solidFill>
            <a:srgbClr val="96969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>
                <a:solidFill>
                  <a:schemeClr val="bg1"/>
                </a:solidFill>
              </a:rPr>
              <a:t>Россия</a:t>
            </a:r>
          </a:p>
        </p:txBody>
      </p:sp>
      <p:sp>
        <p:nvSpPr>
          <p:cNvPr id="2909188" name="Rectangle 9"/>
          <p:cNvSpPr>
            <a:spLocks noChangeArrowheads="1"/>
          </p:cNvSpPr>
          <p:nvPr/>
        </p:nvSpPr>
        <p:spPr bwMode="auto">
          <a:xfrm>
            <a:off x="6084888" y="692150"/>
            <a:ext cx="2016125" cy="5032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>
                <a:solidFill>
                  <a:schemeClr val="bg1"/>
                </a:solidFill>
              </a:rPr>
              <a:t>Страны ЕС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003800" y="1989138"/>
            <a:ext cx="3167063" cy="1803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i="1">
                <a:latin typeface="Calibri" pitchFamily="34" charset="0"/>
              </a:rPr>
              <a:t>Количество субъектов  МП на 1000 чел.населения – 40</a:t>
            </a:r>
          </a:p>
          <a:p>
            <a:pPr>
              <a:defRPr/>
            </a:pPr>
            <a:endParaRPr lang="ru-RU" sz="1600" b="1" i="1">
              <a:latin typeface="Calibri" pitchFamily="34" charset="0"/>
            </a:endParaRPr>
          </a:p>
          <a:p>
            <a:pPr>
              <a:defRPr/>
            </a:pPr>
            <a:r>
              <a:rPr lang="ru-RU" sz="1600" b="1" i="1">
                <a:latin typeface="Calibri" pitchFamily="34" charset="0"/>
              </a:rPr>
              <a:t>Доля занятых в МБ –</a:t>
            </a:r>
          </a:p>
          <a:p>
            <a:pPr>
              <a:defRPr/>
            </a:pPr>
            <a:r>
              <a:rPr lang="ru-RU" sz="1600" b="1" i="1">
                <a:latin typeface="Calibri" pitchFamily="34" charset="0"/>
              </a:rPr>
              <a:t> </a:t>
            </a:r>
            <a:r>
              <a:rPr lang="ru-RU" sz="1600" b="1" i="1">
                <a:solidFill>
                  <a:srgbClr val="00B050"/>
                </a:solidFill>
                <a:latin typeface="Calibri" pitchFamily="34" charset="0"/>
              </a:rPr>
              <a:t>60-70 %</a:t>
            </a:r>
          </a:p>
          <a:p>
            <a:pPr>
              <a:defRPr/>
            </a:pPr>
            <a:endParaRPr lang="ru-RU" sz="1600" b="1" i="1">
              <a:solidFill>
                <a:srgbClr val="00B050"/>
              </a:solidFill>
              <a:latin typeface="Calibri" pitchFamily="34" charset="0"/>
            </a:endParaRPr>
          </a:p>
          <a:p>
            <a:pPr>
              <a:defRPr/>
            </a:pPr>
            <a:r>
              <a:rPr lang="ru-RU" sz="1600" b="1" i="1">
                <a:latin typeface="Calibri" pitchFamily="34" charset="0"/>
              </a:rPr>
              <a:t>Доля в ВВП – 50-60 %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403350" y="1268413"/>
            <a:ext cx="3098800" cy="27813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i="1"/>
              <a:t>Число занятых в МСП – 17,8 млн. чел.</a:t>
            </a:r>
          </a:p>
          <a:p>
            <a:pPr>
              <a:defRPr/>
            </a:pPr>
            <a:endParaRPr lang="ru-RU" sz="1600" b="1" i="1"/>
          </a:p>
          <a:p>
            <a:pPr>
              <a:defRPr/>
            </a:pPr>
            <a:r>
              <a:rPr lang="ru-RU" sz="1600" b="1" i="1">
                <a:latin typeface="Calibri" pitchFamily="34" charset="0"/>
              </a:rPr>
              <a:t>Количество субъектов  МП на 1000 чел.населения </a:t>
            </a:r>
          </a:p>
          <a:p>
            <a:pPr>
              <a:defRPr/>
            </a:pPr>
            <a:r>
              <a:rPr lang="ru-RU" sz="1600" b="1" i="1">
                <a:latin typeface="Calibri" pitchFamily="34" charset="0"/>
              </a:rPr>
              <a:t>(без ИП) – 12,5</a:t>
            </a:r>
          </a:p>
          <a:p>
            <a:pPr>
              <a:defRPr/>
            </a:pPr>
            <a:endParaRPr lang="ru-RU" sz="1600" b="1" i="1">
              <a:latin typeface="Calibri" pitchFamily="34" charset="0"/>
            </a:endParaRPr>
          </a:p>
          <a:p>
            <a:pPr>
              <a:defRPr/>
            </a:pPr>
            <a:r>
              <a:rPr lang="ru-RU" sz="1600" b="1" i="1">
                <a:latin typeface="Calibri" pitchFamily="34" charset="0"/>
              </a:rPr>
              <a:t>Доля занятых в МБ  - </a:t>
            </a:r>
            <a:r>
              <a:rPr lang="ru-RU" sz="1600" b="1" i="1">
                <a:solidFill>
                  <a:srgbClr val="FF0000"/>
                </a:solidFill>
                <a:latin typeface="Calibri" pitchFamily="34" charset="0"/>
              </a:rPr>
              <a:t>25 %</a:t>
            </a:r>
          </a:p>
          <a:p>
            <a:pPr>
              <a:defRPr/>
            </a:pPr>
            <a:endParaRPr lang="ru-RU" sz="1600" b="1" i="1">
              <a:latin typeface="Calibri" pitchFamily="34" charset="0"/>
            </a:endParaRPr>
          </a:p>
          <a:p>
            <a:pPr>
              <a:defRPr/>
            </a:pPr>
            <a:r>
              <a:rPr lang="ru-RU" sz="1600" b="1" i="1">
                <a:latin typeface="Calibri" pitchFamily="34" charset="0"/>
              </a:rPr>
              <a:t>Доля в ВВП – 21 %</a:t>
            </a:r>
          </a:p>
          <a:p>
            <a:pPr>
              <a:defRPr/>
            </a:pPr>
            <a:endParaRPr lang="ru-RU" sz="1600" b="1" i="1">
              <a:latin typeface="Calibri" pitchFamily="34" charset="0"/>
            </a:endParaRPr>
          </a:p>
        </p:txBody>
      </p:sp>
      <p:sp>
        <p:nvSpPr>
          <p:cNvPr id="2909191" name="TextBox 23"/>
          <p:cNvSpPr txBox="1">
            <a:spLocks noChangeArrowheads="1"/>
          </p:cNvSpPr>
          <p:nvPr/>
        </p:nvSpPr>
        <p:spPr bwMode="auto">
          <a:xfrm>
            <a:off x="1187450" y="4221163"/>
            <a:ext cx="74168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/>
              <a:t>Количество субъектов МБ на 1000 человек населения </a:t>
            </a:r>
          </a:p>
          <a:p>
            <a:pPr algn="ctr"/>
            <a:r>
              <a:rPr lang="ru-RU" b="1"/>
              <a:t>по странам </a:t>
            </a:r>
          </a:p>
        </p:txBody>
      </p:sp>
      <p:graphicFrame>
        <p:nvGraphicFramePr>
          <p:cNvPr id="2287661" name="Group 45"/>
          <p:cNvGraphicFramePr>
            <a:graphicFrameLocks noGrp="1"/>
          </p:cNvGraphicFramePr>
          <p:nvPr/>
        </p:nvGraphicFramePr>
        <p:xfrm>
          <a:off x="900113" y="4941888"/>
          <a:ext cx="7993062" cy="1171575"/>
        </p:xfrm>
        <a:graphic>
          <a:graphicData uri="http://schemas.openxmlformats.org/drawingml/2006/table">
            <a:tbl>
              <a:tblPr/>
              <a:tblGrid>
                <a:gridCol w="1150937"/>
                <a:gridCol w="720725"/>
                <a:gridCol w="1223963"/>
                <a:gridCol w="863600"/>
                <a:gridCol w="865187"/>
                <a:gridCol w="1008063"/>
                <a:gridCol w="1046162"/>
                <a:gridCol w="1114425"/>
              </a:tblGrid>
              <a:tr h="3937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1" u="sng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Страна</a:t>
                      </a:r>
                    </a:p>
                  </a:txBody>
                  <a:tcPr marT="45745" marB="4574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Чехия</a:t>
                      </a:r>
                    </a:p>
                  </a:txBody>
                  <a:tcPr marT="45745" marB="4574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Португалия</a:t>
                      </a:r>
                    </a:p>
                  </a:txBody>
                  <a:tcPr marT="45745" marB="4574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Греция</a:t>
                      </a:r>
                    </a:p>
                  </a:txBody>
                  <a:tcPr marT="45745" marB="4574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Италия</a:t>
                      </a:r>
                    </a:p>
                  </a:txBody>
                  <a:tcPr marT="45745" marB="4574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Япония</a:t>
                      </a:r>
                    </a:p>
                  </a:txBody>
                  <a:tcPr marT="45745" marB="4574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Словакия</a:t>
                      </a:r>
                    </a:p>
                  </a:txBody>
                  <a:tcPr marT="45745" marB="4574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Россия</a:t>
                      </a:r>
                    </a:p>
                  </a:txBody>
                  <a:tcPr marT="45745" marB="4574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7778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Субъекты МБ на 1000 чел.</a:t>
                      </a:r>
                    </a:p>
                  </a:txBody>
                  <a:tcPr marT="45745" marB="4574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sng" strike="noStrike" cap="none" normalizeH="0" baseline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86</a:t>
                      </a:r>
                    </a:p>
                  </a:txBody>
                  <a:tcPr marT="45745" marB="4574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80</a:t>
                      </a:r>
                    </a:p>
                  </a:txBody>
                  <a:tcPr marT="45745" marB="4574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73</a:t>
                      </a:r>
                    </a:p>
                  </a:txBody>
                  <a:tcPr marT="45745" marB="4574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65</a:t>
                      </a:r>
                    </a:p>
                  </a:txBody>
                  <a:tcPr marT="45745" marB="4574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44</a:t>
                      </a:r>
                    </a:p>
                  </a:txBody>
                  <a:tcPr marT="45745" marB="4574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3</a:t>
                      </a:r>
                    </a:p>
                  </a:txBody>
                  <a:tcPr marT="45745" marB="4574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sng" strike="noStrike" cap="none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2,5</a:t>
                      </a:r>
                    </a:p>
                  </a:txBody>
                  <a:tcPr marT="45745" marB="4574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005115F-33D9-4082-A4B5-6533E1F1EF6A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4E665A4-70E7-4BC9-922F-C2C83B195638}" type="slidenum">
              <a:rPr lang="ru-RU" smtClean="0"/>
              <a:pPr>
                <a:defRPr/>
              </a:pPr>
              <a:t>40</a:t>
            </a:fld>
            <a:endParaRPr lang="ru-RU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0" y="0"/>
            <a:ext cx="714375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" name="Овал 4"/>
          <p:cNvSpPr/>
          <p:nvPr/>
        </p:nvSpPr>
        <p:spPr bwMode="auto">
          <a:xfrm>
            <a:off x="322263" y="500063"/>
            <a:ext cx="785812" cy="78581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" name="Овал 5"/>
          <p:cNvSpPr/>
          <p:nvPr/>
        </p:nvSpPr>
        <p:spPr bwMode="auto">
          <a:xfrm>
            <a:off x="565150" y="765175"/>
            <a:ext cx="276225" cy="276225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" name="Полилиния 6"/>
          <p:cNvSpPr/>
          <p:nvPr/>
        </p:nvSpPr>
        <p:spPr bwMode="auto">
          <a:xfrm>
            <a:off x="749300" y="571500"/>
            <a:ext cx="6680200" cy="190500"/>
          </a:xfrm>
          <a:custGeom>
            <a:avLst/>
            <a:gdLst>
              <a:gd name="connsiteX0" fmla="*/ 0 w 3136900"/>
              <a:gd name="connsiteY0" fmla="*/ 279400 h 279400"/>
              <a:gd name="connsiteX1" fmla="*/ 203200 w 3136900"/>
              <a:gd name="connsiteY1" fmla="*/ 0 h 279400"/>
              <a:gd name="connsiteX2" fmla="*/ 3136900 w 3136900"/>
              <a:gd name="connsiteY2" fmla="*/ 635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36900" h="279400">
                <a:moveTo>
                  <a:pt x="0" y="279400"/>
                </a:moveTo>
                <a:lnTo>
                  <a:pt x="203200" y="0"/>
                </a:lnTo>
                <a:lnTo>
                  <a:pt x="3136900" y="6350"/>
                </a:lnTo>
              </a:path>
            </a:pathLst>
          </a:cu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954246" name="Рисунок 3"/>
          <p:cNvPicPr>
            <a:picLocks noChangeAspect="1" noChangeArrowheads="1"/>
          </p:cNvPicPr>
          <p:nvPr/>
        </p:nvPicPr>
        <p:blipFill>
          <a:blip r:embed="rId2" cstate="print"/>
          <a:srcRect l="6961" t="12856" r="5380" b="8696"/>
          <a:stretch>
            <a:fillRect/>
          </a:stretch>
        </p:blipFill>
        <p:spPr bwMode="auto">
          <a:xfrm>
            <a:off x="971550" y="1196975"/>
            <a:ext cx="7991475" cy="5472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54247" name="Заголовок 1"/>
          <p:cNvSpPr txBox="1">
            <a:spLocks/>
          </p:cNvSpPr>
          <p:nvPr/>
        </p:nvSpPr>
        <p:spPr bwMode="auto">
          <a:xfrm>
            <a:off x="766763" y="44450"/>
            <a:ext cx="8053387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/>
            <a:r>
              <a:rPr lang="ru-RU" sz="2800" b="1">
                <a:sym typeface="Helvetica" pitchFamily="34" charset="0"/>
              </a:rPr>
              <a:t>Тенденции и ориентиры в развитии МСП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0"/>
            <a:ext cx="714375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" name="Овал 5"/>
          <p:cNvSpPr/>
          <p:nvPr/>
        </p:nvSpPr>
        <p:spPr>
          <a:xfrm>
            <a:off x="322263" y="500063"/>
            <a:ext cx="785812" cy="78581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723900" y="357188"/>
            <a:ext cx="601663" cy="1143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565150" y="765175"/>
            <a:ext cx="276225" cy="276225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9" name="Полилиния 8"/>
          <p:cNvSpPr/>
          <p:nvPr/>
        </p:nvSpPr>
        <p:spPr>
          <a:xfrm>
            <a:off x="749300" y="571500"/>
            <a:ext cx="6680200" cy="190500"/>
          </a:xfrm>
          <a:custGeom>
            <a:avLst/>
            <a:gdLst>
              <a:gd name="connsiteX0" fmla="*/ 0 w 3136900"/>
              <a:gd name="connsiteY0" fmla="*/ 279400 h 279400"/>
              <a:gd name="connsiteX1" fmla="*/ 203200 w 3136900"/>
              <a:gd name="connsiteY1" fmla="*/ 0 h 279400"/>
              <a:gd name="connsiteX2" fmla="*/ 3136900 w 3136900"/>
              <a:gd name="connsiteY2" fmla="*/ 635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36900" h="279400">
                <a:moveTo>
                  <a:pt x="0" y="279400"/>
                </a:moveTo>
                <a:lnTo>
                  <a:pt x="203200" y="0"/>
                </a:lnTo>
                <a:lnTo>
                  <a:pt x="3136900" y="6350"/>
                </a:lnTo>
              </a:path>
            </a:pathLst>
          </a:cu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955270" name="TextBox 9"/>
          <p:cNvSpPr txBox="1">
            <a:spLocks noChangeArrowheads="1"/>
          </p:cNvSpPr>
          <p:nvPr/>
        </p:nvSpPr>
        <p:spPr bwMode="auto">
          <a:xfrm>
            <a:off x="1285875" y="144463"/>
            <a:ext cx="7286625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2500" b="1"/>
              <a:t>Развитие МСП к 2020 г.: что нужно сделать</a:t>
            </a:r>
          </a:p>
        </p:txBody>
      </p:sp>
      <p:pic>
        <p:nvPicPr>
          <p:cNvPr id="295527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16013" y="620713"/>
            <a:ext cx="1368425" cy="203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" name="Скругленная прямоугольная выноска 55"/>
          <p:cNvSpPr/>
          <p:nvPr/>
        </p:nvSpPr>
        <p:spPr>
          <a:xfrm>
            <a:off x="3059113" y="765175"/>
            <a:ext cx="5473700" cy="1871663"/>
          </a:xfrm>
          <a:prstGeom prst="wedgeRoundRectCallout">
            <a:avLst>
              <a:gd name="adj1" fmla="val -62218"/>
              <a:gd name="adj2" fmla="val -26237"/>
              <a:gd name="adj3" fmla="val 16667"/>
            </a:avLst>
          </a:prstGeom>
          <a:gradFill flip="none" rotWithShape="1">
            <a:gsLst>
              <a:gs pos="0">
                <a:schemeClr val="accent1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1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1">
                  <a:lumMod val="60000"/>
                  <a:lumOff val="40000"/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955273" name="TextBox 14"/>
          <p:cNvSpPr txBox="1">
            <a:spLocks noChangeArrowheads="1"/>
          </p:cNvSpPr>
          <p:nvPr/>
        </p:nvSpPr>
        <p:spPr bwMode="auto">
          <a:xfrm>
            <a:off x="3348038" y="765175"/>
            <a:ext cx="4683125" cy="1938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i="1">
                <a:latin typeface="Calibri" pitchFamily="34" charset="0"/>
              </a:rPr>
              <a:t>«</a:t>
            </a:r>
            <a:r>
              <a:rPr lang="ru-RU" sz="1400"/>
              <a:t>Новая экономика – это экономика, где малый бизнес представляет не менее половины рабочих мест в экономике. </a:t>
            </a:r>
          </a:p>
          <a:p>
            <a:r>
              <a:rPr lang="ru-RU" sz="1400"/>
              <a:t>При этом значительная часть малого бизнеса 2020 г. - это должны быть сектора интеллектуального и творческого труда, работающие в глобальном рынке, экспортирующие свои продукты и услуги.»</a:t>
            </a:r>
          </a:p>
          <a:p>
            <a:r>
              <a:rPr lang="ru-RU" i="1">
                <a:latin typeface="Calibri" pitchFamily="34" charset="0"/>
              </a:rPr>
              <a:t>Президент РФ Путин В.В. </a:t>
            </a:r>
          </a:p>
        </p:txBody>
      </p:sp>
      <p:sp>
        <p:nvSpPr>
          <p:cNvPr id="65" name="Прямоугольник с двумя скругленными соседними углами 64"/>
          <p:cNvSpPr/>
          <p:nvPr/>
        </p:nvSpPr>
        <p:spPr>
          <a:xfrm flipV="1">
            <a:off x="1258888" y="3429000"/>
            <a:ext cx="7127875" cy="792163"/>
          </a:xfrm>
          <a:prstGeom prst="round2Same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50000"/>
                </a:schemeClr>
              </a:gs>
              <a:gs pos="50000">
                <a:schemeClr val="accent1">
                  <a:tint val="44500"/>
                  <a:satMod val="160000"/>
                  <a:alpha val="49000"/>
                </a:schemeClr>
              </a:gs>
              <a:gs pos="100000">
                <a:schemeClr val="accent1">
                  <a:tint val="23500"/>
                  <a:satMod val="160000"/>
                  <a:alpha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955275" name="TextBox 39"/>
          <p:cNvSpPr txBox="1">
            <a:spLocks noChangeArrowheads="1"/>
          </p:cNvSpPr>
          <p:nvPr/>
        </p:nvSpPr>
        <p:spPr bwMode="auto">
          <a:xfrm>
            <a:off x="395288" y="3500438"/>
            <a:ext cx="7921625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>
                <a:solidFill>
                  <a:schemeClr val="accent2"/>
                </a:solidFill>
              </a:rPr>
              <a:t>Стимулирование муниципалитетов к развитию МСП </a:t>
            </a:r>
          </a:p>
          <a:p>
            <a:pPr algn="r"/>
            <a:r>
              <a:rPr lang="ru-RU">
                <a:solidFill>
                  <a:schemeClr val="accent2"/>
                </a:solidFill>
              </a:rPr>
              <a:t>(налоги на местный уровень)</a:t>
            </a:r>
          </a:p>
        </p:txBody>
      </p:sp>
      <p:sp>
        <p:nvSpPr>
          <p:cNvPr id="111" name="Прямоугольник с двумя скругленными соседними углами 110"/>
          <p:cNvSpPr/>
          <p:nvPr/>
        </p:nvSpPr>
        <p:spPr>
          <a:xfrm flipV="1">
            <a:off x="1187450" y="4221163"/>
            <a:ext cx="7200900" cy="792162"/>
          </a:xfrm>
          <a:prstGeom prst="round2Same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50000"/>
                </a:schemeClr>
              </a:gs>
              <a:gs pos="50000">
                <a:schemeClr val="accent1">
                  <a:tint val="44500"/>
                  <a:satMod val="160000"/>
                  <a:alpha val="49000"/>
                </a:schemeClr>
              </a:gs>
              <a:gs pos="100000">
                <a:schemeClr val="accent1">
                  <a:tint val="23500"/>
                  <a:satMod val="160000"/>
                  <a:alpha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955277" name="TextBox 46"/>
          <p:cNvSpPr txBox="1">
            <a:spLocks noChangeArrowheads="1"/>
          </p:cNvSpPr>
          <p:nvPr/>
        </p:nvSpPr>
        <p:spPr bwMode="auto">
          <a:xfrm>
            <a:off x="684213" y="4221163"/>
            <a:ext cx="7705725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>
                <a:solidFill>
                  <a:schemeClr val="accent2"/>
                </a:solidFill>
              </a:rPr>
              <a:t>Изменение подхода к программам поддержки малого бизнеса (критерий эффективности – новые МСП)</a:t>
            </a:r>
            <a:r>
              <a:rPr lang="ru-RU"/>
              <a:t> </a:t>
            </a:r>
          </a:p>
        </p:txBody>
      </p:sp>
      <p:sp>
        <p:nvSpPr>
          <p:cNvPr id="114" name="Прямоугольник с двумя скругленными соседними углами 113"/>
          <p:cNvSpPr/>
          <p:nvPr/>
        </p:nvSpPr>
        <p:spPr>
          <a:xfrm flipV="1">
            <a:off x="1116013" y="5013325"/>
            <a:ext cx="7272337" cy="792163"/>
          </a:xfrm>
          <a:prstGeom prst="round2Same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50000"/>
                </a:schemeClr>
              </a:gs>
              <a:gs pos="50000">
                <a:schemeClr val="accent1">
                  <a:tint val="44500"/>
                  <a:satMod val="160000"/>
                  <a:alpha val="49000"/>
                </a:schemeClr>
              </a:gs>
              <a:gs pos="100000">
                <a:schemeClr val="accent1">
                  <a:tint val="23500"/>
                  <a:satMod val="160000"/>
                  <a:alpha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955279" name="TextBox 98"/>
          <p:cNvSpPr txBox="1">
            <a:spLocks noChangeArrowheads="1"/>
          </p:cNvSpPr>
          <p:nvPr/>
        </p:nvSpPr>
        <p:spPr bwMode="auto">
          <a:xfrm>
            <a:off x="1042988" y="5084763"/>
            <a:ext cx="7345362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>
                <a:solidFill>
                  <a:schemeClr val="accent2"/>
                </a:solidFill>
              </a:rPr>
              <a:t>Развитие инфраструктуры для поддержки высокотехнологического инновационного малого бизнеса</a:t>
            </a:r>
            <a:r>
              <a:rPr lang="ru-RU"/>
              <a:t> </a:t>
            </a:r>
          </a:p>
        </p:txBody>
      </p:sp>
      <p:sp>
        <p:nvSpPr>
          <p:cNvPr id="117" name="Прямоугольник с двумя скругленными соседними углами 116"/>
          <p:cNvSpPr/>
          <p:nvPr/>
        </p:nvSpPr>
        <p:spPr>
          <a:xfrm flipV="1">
            <a:off x="1187450" y="5876925"/>
            <a:ext cx="7273925" cy="720725"/>
          </a:xfrm>
          <a:prstGeom prst="round2Same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50000"/>
                </a:schemeClr>
              </a:gs>
              <a:gs pos="50000">
                <a:schemeClr val="accent1">
                  <a:tint val="44500"/>
                  <a:satMod val="160000"/>
                  <a:alpha val="49000"/>
                </a:schemeClr>
              </a:gs>
              <a:gs pos="100000">
                <a:schemeClr val="accent1">
                  <a:tint val="23500"/>
                  <a:satMod val="160000"/>
                  <a:alpha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955281" name="TextBox 101"/>
          <p:cNvSpPr txBox="1">
            <a:spLocks noChangeArrowheads="1"/>
          </p:cNvSpPr>
          <p:nvPr/>
        </p:nvSpPr>
        <p:spPr bwMode="auto">
          <a:xfrm>
            <a:off x="1835150" y="5876925"/>
            <a:ext cx="6434138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>
                <a:solidFill>
                  <a:schemeClr val="accent2"/>
                </a:solidFill>
              </a:rPr>
              <a:t>Формирование и стимулирование спроса со стороны крупного бизнеса</a:t>
            </a:r>
          </a:p>
        </p:txBody>
      </p:sp>
      <p:sp>
        <p:nvSpPr>
          <p:cNvPr id="54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0134D9-DE8D-49B5-9CB1-01CCAE758552}" type="slidenum">
              <a:rPr lang="ru-RU" smtClean="0"/>
              <a:pPr>
                <a:defRPr/>
              </a:pPr>
              <a:t>41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8337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smtClean="0"/>
          </a:p>
        </p:txBody>
      </p:sp>
      <p:sp>
        <p:nvSpPr>
          <p:cNvPr id="2958338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mtClean="0"/>
          </a:p>
          <a:p>
            <a:pPr algn="ctr">
              <a:buFont typeface="Arial" charset="0"/>
              <a:buNone/>
            </a:pPr>
            <a:endParaRPr lang="ru-RU" sz="4000" b="1" smtClean="0">
              <a:solidFill>
                <a:srgbClr val="315683"/>
              </a:solidFill>
            </a:endParaRPr>
          </a:p>
          <a:p>
            <a:pPr algn="ctr">
              <a:buFont typeface="Arial" charset="0"/>
              <a:buNone/>
            </a:pPr>
            <a:r>
              <a:rPr lang="ru-RU" sz="4000" b="1" smtClean="0">
                <a:solidFill>
                  <a:srgbClr val="315683"/>
                </a:solidFill>
              </a:rPr>
              <a:t>СПАСИБО </a:t>
            </a:r>
          </a:p>
          <a:p>
            <a:pPr algn="ctr">
              <a:buFont typeface="Arial" charset="0"/>
              <a:buNone/>
            </a:pPr>
            <a:r>
              <a:rPr lang="ru-RU" sz="4000" b="1" smtClean="0">
                <a:solidFill>
                  <a:srgbClr val="315683"/>
                </a:solidFill>
              </a:rPr>
              <a:t>ЗА ВНИМАНИЕ!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0" y="0"/>
            <a:ext cx="714375" cy="6858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6" name="Группа 9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2" name="Овал 11"/>
            <p:cNvSpPr/>
            <p:nvPr/>
          </p:nvSpPr>
          <p:spPr>
            <a:xfrm>
              <a:off x="322263" y="500063"/>
              <a:ext cx="785812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723900" y="357188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Овал 13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Полилиния 14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2" name="TextBox 33"/>
          <p:cNvSpPr txBox="1">
            <a:spLocks noChangeArrowheads="1"/>
          </p:cNvSpPr>
          <p:nvPr/>
        </p:nvSpPr>
        <p:spPr bwMode="auto">
          <a:xfrm>
            <a:off x="1108075" y="44450"/>
            <a:ext cx="8643938" cy="52387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sz="2800" b="1" dirty="0">
                <a:ea typeface="+mj-ea"/>
              </a:rPr>
              <a:t>Развитие малого бизнеса в России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547813" y="549275"/>
            <a:ext cx="4429125" cy="4619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+mn-lt"/>
                <a:cs typeface="+mn-cs"/>
              </a:rPr>
              <a:t>Статистика:</a:t>
            </a:r>
          </a:p>
        </p:txBody>
      </p:sp>
      <p:graphicFrame>
        <p:nvGraphicFramePr>
          <p:cNvPr id="3075" name="Objec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3985280"/>
              </p:ext>
            </p:extLst>
          </p:nvPr>
        </p:nvGraphicFramePr>
        <p:xfrm>
          <a:off x="755650" y="981075"/>
          <a:ext cx="8205788" cy="441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Лист" r:id="rId3" imgW="8982159" imgH="4724417" progId="Excel.Sheet.8">
                  <p:embed/>
                </p:oleObj>
              </mc:Choice>
              <mc:Fallback>
                <p:oleObj name="Лист" r:id="rId3" imgW="8982159" imgH="4724417" progId="Excel.Sheet.8">
                  <p:embed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5650" y="981075"/>
                        <a:ext cx="8205788" cy="44196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9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80063" y="4797425"/>
            <a:ext cx="3238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80" name="Text Box 15"/>
          <p:cNvSpPr txBox="1">
            <a:spLocks noChangeArrowheads="1"/>
          </p:cNvSpPr>
          <p:nvPr/>
        </p:nvSpPr>
        <p:spPr bwMode="auto">
          <a:xfrm>
            <a:off x="863600" y="5421313"/>
            <a:ext cx="8280400" cy="1277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dirty="0"/>
              <a:t>В период с 1 декабря 2012 г. по 1 марта 2014 г</a:t>
            </a:r>
            <a:r>
              <a:rPr lang="ru-RU" sz="1400" dirty="0" smtClean="0"/>
              <a:t>.:           </a:t>
            </a:r>
            <a:r>
              <a:rPr lang="ru-RU" sz="1400" b="1" dirty="0" smtClean="0"/>
              <a:t>В 2013 г.  </a:t>
            </a:r>
            <a:endParaRPr lang="ru-RU" sz="1400" b="1" dirty="0"/>
          </a:p>
          <a:p>
            <a:pPr>
              <a:spcBef>
                <a:spcPct val="50000"/>
              </a:spcBef>
              <a:buFontTx/>
              <a:buChar char="•"/>
            </a:pPr>
            <a:r>
              <a:rPr lang="ru-RU" sz="1400" dirty="0"/>
              <a:t>снялось с регистрации  1,2 млн. ИП</a:t>
            </a:r>
            <a:r>
              <a:rPr lang="ru-RU" sz="1400" dirty="0" smtClean="0"/>
              <a:t>;                            ИП сократилось на 13 % </a:t>
            </a:r>
          </a:p>
          <a:p>
            <a:pPr>
              <a:spcBef>
                <a:spcPct val="50000"/>
              </a:spcBef>
              <a:buFontTx/>
              <a:buChar char="•"/>
            </a:pPr>
            <a:r>
              <a:rPr lang="ru-RU" sz="1400" dirty="0" smtClean="0"/>
              <a:t>зарегистрировалось 600 тыс. ИП.                                 Малых предприятий на 3,5 %</a:t>
            </a:r>
          </a:p>
          <a:p>
            <a:pPr>
              <a:spcBef>
                <a:spcPct val="50000"/>
              </a:spcBef>
            </a:pPr>
            <a:r>
              <a:rPr lang="ru-RU" sz="1400" dirty="0" smtClean="0"/>
              <a:t>Итого</a:t>
            </a:r>
            <a:r>
              <a:rPr lang="ru-RU" sz="1400" dirty="0"/>
              <a:t>: число ИП сократилось на 600 тыс.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804025" y="6381750"/>
            <a:ext cx="2133600" cy="365125"/>
          </a:xfrm>
        </p:spPr>
        <p:txBody>
          <a:bodyPr/>
          <a:lstStyle/>
          <a:p>
            <a:pPr>
              <a:defRPr/>
            </a:pPr>
            <a:fld id="{60EE1EF2-8061-4A5D-8A71-7E29A40FCD1D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12257" name="Группа 10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3" name="Овал 12"/>
            <p:cNvSpPr/>
            <p:nvPr/>
          </p:nvSpPr>
          <p:spPr>
            <a:xfrm>
              <a:off x="322263" y="500063"/>
              <a:ext cx="785812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714375" y="357188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Овал 14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Полилиния 15"/>
            <p:cNvSpPr/>
            <p:nvPr/>
          </p:nvSpPr>
          <p:spPr>
            <a:xfrm>
              <a:off x="749300" y="71755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2912258" name="Rectangle 2"/>
          <p:cNvSpPr>
            <a:spLocks noGrp="1"/>
          </p:cNvSpPr>
          <p:nvPr>
            <p:ph type="title"/>
          </p:nvPr>
        </p:nvSpPr>
        <p:spPr>
          <a:xfrm>
            <a:off x="468313" y="0"/>
            <a:ext cx="8229600" cy="404813"/>
          </a:xfrm>
        </p:spPr>
        <p:txBody>
          <a:bodyPr/>
          <a:lstStyle/>
          <a:p>
            <a:r>
              <a:rPr lang="ru-RU" sz="2400" smtClean="0"/>
              <a:t/>
            </a:r>
            <a:br>
              <a:rPr lang="ru-RU" sz="2400" smtClean="0"/>
            </a:br>
            <a:r>
              <a:rPr lang="ru-RU" sz="2000" b="1" smtClean="0">
                <a:latin typeface="Arial" charset="0"/>
                <a:cs typeface="Arial" charset="0"/>
              </a:rPr>
              <a:t>Основные НПА, регулирующие сферу малого и среднего предпринимательства</a:t>
            </a:r>
            <a:r>
              <a:rPr lang="ru-RU" sz="2400" b="1" smtClean="0"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2912259" name="Rectangle 4"/>
          <p:cNvSpPr>
            <a:spLocks noGrp="1"/>
          </p:cNvSpPr>
          <p:nvPr>
            <p:ph type="body" sz="half" idx="2"/>
          </p:nvPr>
        </p:nvSpPr>
        <p:spPr>
          <a:xfrm>
            <a:off x="1187450" y="2060575"/>
            <a:ext cx="7345363" cy="1512888"/>
          </a:xfrm>
        </p:spPr>
        <p:txBody>
          <a:bodyPr/>
          <a:lstStyle/>
          <a:p>
            <a:pPr>
              <a:lnSpc>
                <a:spcPct val="80000"/>
              </a:lnSpc>
            </a:pPr>
            <a:endParaRPr lang="ru-RU" sz="2000" smtClean="0"/>
          </a:p>
          <a:p>
            <a:pPr>
              <a:lnSpc>
                <a:spcPct val="80000"/>
              </a:lnSpc>
            </a:pPr>
            <a:endParaRPr lang="ru-RU" sz="2000" smtClean="0"/>
          </a:p>
          <a:p>
            <a:pPr>
              <a:lnSpc>
                <a:spcPct val="80000"/>
              </a:lnSpc>
            </a:pPr>
            <a:endParaRPr lang="ru-RU" sz="2000" smtClean="0"/>
          </a:p>
        </p:txBody>
      </p:sp>
      <p:sp>
        <p:nvSpPr>
          <p:cNvPr id="2912260" name="TextBox 18"/>
          <p:cNvSpPr txBox="1">
            <a:spLocks noChangeArrowheads="1"/>
          </p:cNvSpPr>
          <p:nvPr/>
        </p:nvSpPr>
        <p:spPr bwMode="auto">
          <a:xfrm>
            <a:off x="1006475" y="765175"/>
            <a:ext cx="8137525" cy="791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500" b="1"/>
              <a:t>1988 год.</a:t>
            </a:r>
          </a:p>
          <a:p>
            <a:pPr>
              <a:buFont typeface="Arial" charset="0"/>
              <a:buChar char="•"/>
            </a:pPr>
            <a:r>
              <a:rPr lang="ru-RU" sz="1500" i="1" u="sng"/>
              <a:t>Закон СССР от 26.05.1988 №</a:t>
            </a:r>
            <a:r>
              <a:rPr lang="en-US" sz="1500" i="1" u="sng"/>
              <a:t> 8998-XI</a:t>
            </a:r>
            <a:r>
              <a:rPr lang="ru-RU" sz="1500" i="1" u="sng"/>
              <a:t> </a:t>
            </a:r>
            <a:r>
              <a:rPr lang="ru-RU" sz="1500"/>
              <a:t>«О кооперации в СССР»</a:t>
            </a:r>
          </a:p>
          <a:p>
            <a:pPr>
              <a:buFont typeface="Arial" charset="0"/>
              <a:buChar char="•"/>
            </a:pPr>
            <a:endParaRPr lang="ru-RU" sz="800"/>
          </a:p>
          <a:p>
            <a:r>
              <a:rPr lang="ru-RU" sz="1500" b="1"/>
              <a:t>1992 год.</a:t>
            </a:r>
          </a:p>
          <a:p>
            <a:pPr>
              <a:buFont typeface="Arial" charset="0"/>
              <a:buChar char="•"/>
            </a:pPr>
            <a:r>
              <a:rPr lang="ru-RU" sz="1500" i="1" u="sng"/>
              <a:t>Указ Президента РФ от 29.01.1992 №</a:t>
            </a:r>
            <a:r>
              <a:rPr lang="en-US" sz="1500" i="1" u="sng"/>
              <a:t> 65</a:t>
            </a:r>
            <a:r>
              <a:rPr lang="ru-RU" sz="1500" i="1" u="sng"/>
              <a:t> </a:t>
            </a:r>
            <a:r>
              <a:rPr lang="ru-RU" sz="1500"/>
              <a:t>«О свободе торговли»</a:t>
            </a:r>
            <a:endParaRPr lang="en-US" sz="1500"/>
          </a:p>
          <a:p>
            <a:endParaRPr lang="ru-RU" sz="1500"/>
          </a:p>
          <a:p>
            <a:r>
              <a:rPr lang="ru-RU" sz="1500" b="1"/>
              <a:t>1995 год.</a:t>
            </a:r>
          </a:p>
          <a:p>
            <a:pPr>
              <a:buFontTx/>
              <a:buChar char="•"/>
            </a:pPr>
            <a:r>
              <a:rPr lang="ru-RU" sz="1500" i="1" u="sng"/>
              <a:t>Федеральный закон от 14.06.1995 № 88-ФЗ</a:t>
            </a:r>
            <a:r>
              <a:rPr lang="ru-RU" sz="1500"/>
              <a:t> «О государственной поддержке малого предпринимательства в Российской Федерации»</a:t>
            </a:r>
          </a:p>
          <a:p>
            <a:pPr algn="just"/>
            <a:endParaRPr lang="ru-RU" sz="1500" b="1"/>
          </a:p>
          <a:p>
            <a:pPr algn="just"/>
            <a:r>
              <a:rPr lang="ru-RU" sz="1600" b="1"/>
              <a:t>2007 год.</a:t>
            </a:r>
          </a:p>
          <a:p>
            <a:pPr algn="just">
              <a:buFont typeface="Arial" charset="0"/>
              <a:buChar char="•"/>
            </a:pPr>
            <a:r>
              <a:rPr lang="ru-RU" sz="1600"/>
              <a:t>  </a:t>
            </a:r>
            <a:r>
              <a:rPr lang="ru-RU" sz="1500" i="1" u="sng"/>
              <a:t>Федеральный закон от 24.07.2007 № 209-ФЗ </a:t>
            </a:r>
            <a:r>
              <a:rPr lang="ru-RU" sz="1500"/>
              <a:t>«О развитии малого и среднего предпринимательства в Российской Федерации»</a:t>
            </a:r>
          </a:p>
          <a:p>
            <a:pPr algn="just"/>
            <a:endParaRPr lang="ru-RU" sz="1600"/>
          </a:p>
          <a:p>
            <a:pPr algn="just"/>
            <a:r>
              <a:rPr lang="ru-RU" sz="1600" b="1"/>
              <a:t>2008 год.</a:t>
            </a:r>
          </a:p>
          <a:p>
            <a:pPr algn="just">
              <a:buFont typeface="Arial" charset="0"/>
              <a:buChar char="•"/>
            </a:pPr>
            <a:r>
              <a:rPr lang="ru-RU" sz="1500"/>
              <a:t>  </a:t>
            </a:r>
            <a:r>
              <a:rPr lang="ru-RU" sz="1500" i="1" u="sng"/>
              <a:t>Федеральный закон от 26.12.2008 № 294-ФЗ </a:t>
            </a:r>
            <a:r>
              <a:rPr lang="ru-RU" sz="1500"/>
              <a:t>«О защите прав юридических лиц и индивидуальных предпринимателей при осуществлении гос.контроля (надзора) и муниципального контроля»</a:t>
            </a:r>
          </a:p>
          <a:p>
            <a:pPr algn="just">
              <a:buFont typeface="Arial" charset="0"/>
              <a:buChar char="•"/>
            </a:pPr>
            <a:endParaRPr lang="ru-RU" sz="1600"/>
          </a:p>
          <a:p>
            <a:pPr algn="just"/>
            <a:r>
              <a:rPr lang="ru-RU" sz="1600" b="1"/>
              <a:t>2009 год.</a:t>
            </a:r>
          </a:p>
          <a:p>
            <a:pPr algn="just">
              <a:buFont typeface="Arial" charset="0"/>
              <a:buChar char="•"/>
            </a:pPr>
            <a:r>
              <a:rPr lang="ru-RU" sz="1500"/>
              <a:t>  </a:t>
            </a:r>
            <a:r>
              <a:rPr lang="ru-RU" sz="1500" i="1" u="sng"/>
              <a:t>Федеральный закон от 02.08.2009 № 217-ФЗ </a:t>
            </a:r>
            <a:r>
              <a:rPr lang="ru-RU" sz="1500"/>
              <a:t>об инновационных предприятиях при ВУЗах.</a:t>
            </a:r>
          </a:p>
          <a:p>
            <a:pPr algn="just"/>
            <a:r>
              <a:rPr lang="ru-RU" sz="1500" i="1"/>
              <a:t>           Закон направлен на создание условий для введения результатов интеллектуальной деятельности в гражданский оборот и имеет существенное значение для российской экономики.</a:t>
            </a:r>
          </a:p>
          <a:p>
            <a:pPr algn="just"/>
            <a:r>
              <a:rPr lang="ru-RU" sz="1500" i="1"/>
              <a:t>           На сегодняшний день при ВУЗах создано более </a:t>
            </a:r>
            <a:r>
              <a:rPr lang="ru-RU" sz="1500" b="1" i="1" u="sng"/>
              <a:t>1800 компаний.</a:t>
            </a:r>
          </a:p>
          <a:p>
            <a:endParaRPr lang="ru-RU" sz="1600"/>
          </a:p>
          <a:p>
            <a:pPr>
              <a:buFont typeface="Arial" charset="0"/>
              <a:buChar char="•"/>
            </a:pPr>
            <a:endParaRPr lang="ru-RU"/>
          </a:p>
          <a:p>
            <a:pPr>
              <a:buFont typeface="Arial" charset="0"/>
              <a:buChar char="•"/>
            </a:pPr>
            <a:endParaRPr lang="ru-RU"/>
          </a:p>
          <a:p>
            <a:pPr>
              <a:buFont typeface="Arial" charset="0"/>
              <a:buChar char="•"/>
            </a:pPr>
            <a:endParaRPr lang="ru-RU"/>
          </a:p>
          <a:p>
            <a:pPr>
              <a:buFont typeface="Arial" charset="0"/>
              <a:buChar char="•"/>
            </a:pPr>
            <a:endParaRPr lang="ru-RU"/>
          </a:p>
          <a:p>
            <a:endParaRPr lang="ru-RU"/>
          </a:p>
          <a:p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671FBE7-73FF-4B42-B2D0-DC606AB30DCA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08" name="Группа 17"/>
          <p:cNvGrpSpPr>
            <a:grpSpLocks/>
          </p:cNvGrpSpPr>
          <p:nvPr/>
        </p:nvGrpSpPr>
        <p:grpSpPr bwMode="auto">
          <a:xfrm>
            <a:off x="0" y="0"/>
            <a:ext cx="7429500" cy="6858000"/>
            <a:chOff x="0" y="0"/>
            <a:chExt cx="7429500" cy="6858000"/>
          </a:xfrm>
        </p:grpSpPr>
        <p:sp>
          <p:nvSpPr>
            <p:cNvPr id="19" name="Прямоугольник 18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0" name="Овал 19"/>
            <p:cNvSpPr/>
            <p:nvPr/>
          </p:nvSpPr>
          <p:spPr>
            <a:xfrm>
              <a:off x="322263" y="500063"/>
              <a:ext cx="785812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723900" y="414338"/>
              <a:ext cx="601663" cy="87153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2" name="Овал 21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23" name="Полилиния 22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62" name="Прямоугольник 61"/>
          <p:cNvSpPr/>
          <p:nvPr/>
        </p:nvSpPr>
        <p:spPr>
          <a:xfrm>
            <a:off x="2484438" y="2420938"/>
            <a:ext cx="2087562" cy="4318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1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1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105" name="TextBox 33"/>
          <p:cNvSpPr txBox="1">
            <a:spLocks noChangeArrowheads="1"/>
          </p:cNvSpPr>
          <p:nvPr/>
        </p:nvSpPr>
        <p:spPr bwMode="auto">
          <a:xfrm>
            <a:off x="900113" y="44450"/>
            <a:ext cx="8643937" cy="52387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sz="2800" b="1" dirty="0" smtClean="0">
                <a:ea typeface="+mj-ea"/>
              </a:rPr>
              <a:t>Что такое малый и средний бизнес?</a:t>
            </a:r>
          </a:p>
        </p:txBody>
      </p:sp>
      <p:sp>
        <p:nvSpPr>
          <p:cNvPr id="4111" name="TextBox 34"/>
          <p:cNvSpPr txBox="1">
            <a:spLocks noChangeArrowheads="1"/>
          </p:cNvSpPr>
          <p:nvPr/>
        </p:nvSpPr>
        <p:spPr bwMode="auto">
          <a:xfrm>
            <a:off x="1727200" y="692150"/>
            <a:ext cx="74168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200">
                <a:solidFill>
                  <a:srgbClr val="376092"/>
                </a:solidFill>
              </a:rPr>
              <a:t>Базовый закон</a:t>
            </a:r>
            <a:r>
              <a:rPr lang="ru-RU" sz="2400">
                <a:solidFill>
                  <a:srgbClr val="376092"/>
                </a:solidFill>
              </a:rPr>
              <a:t> - </a:t>
            </a:r>
            <a:r>
              <a:rPr lang="ru-RU" sz="1600">
                <a:solidFill>
                  <a:schemeClr val="tx2"/>
                </a:solidFill>
              </a:rPr>
              <a:t>Федеральный закон от 24.07.2007 № 209-ФЗ </a:t>
            </a:r>
          </a:p>
          <a:p>
            <a:r>
              <a:rPr lang="ru-RU" sz="1500">
                <a:solidFill>
                  <a:schemeClr val="tx2"/>
                </a:solidFill>
              </a:rPr>
              <a:t>"О развитии малого и среднего предпринимательства в Российской Федерации"</a:t>
            </a:r>
            <a:endParaRPr lang="ru-RU" sz="2400">
              <a:solidFill>
                <a:srgbClr val="376092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2484438" y="1484313"/>
            <a:ext cx="2087562" cy="3603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4572000" y="1484313"/>
            <a:ext cx="2232025" cy="3603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9" name="Прямоугольник 38"/>
          <p:cNvSpPr/>
          <p:nvPr/>
        </p:nvSpPr>
        <p:spPr>
          <a:xfrm>
            <a:off x="755650" y="1916113"/>
            <a:ext cx="1584325" cy="3603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755650" y="2420938"/>
            <a:ext cx="1655763" cy="4318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2484438" y="1916113"/>
            <a:ext cx="2087562" cy="3603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1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1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117" name="TextBox 48"/>
          <p:cNvSpPr txBox="1">
            <a:spLocks noChangeArrowheads="1"/>
          </p:cNvSpPr>
          <p:nvPr/>
        </p:nvSpPr>
        <p:spPr bwMode="auto">
          <a:xfrm>
            <a:off x="2484438" y="1484313"/>
            <a:ext cx="220503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 b="1"/>
              <a:t>Микробизнес</a:t>
            </a:r>
          </a:p>
        </p:txBody>
      </p:sp>
      <p:sp>
        <p:nvSpPr>
          <p:cNvPr id="4118" name="TextBox 49"/>
          <p:cNvSpPr txBox="1">
            <a:spLocks noChangeArrowheads="1"/>
          </p:cNvSpPr>
          <p:nvPr/>
        </p:nvSpPr>
        <p:spPr bwMode="auto">
          <a:xfrm>
            <a:off x="4787900" y="1484313"/>
            <a:ext cx="1928813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 b="1">
                <a:latin typeface="Calibri" pitchFamily="34" charset="0"/>
              </a:rPr>
              <a:t>Малый бизнес</a:t>
            </a:r>
          </a:p>
        </p:txBody>
      </p:sp>
      <p:sp>
        <p:nvSpPr>
          <p:cNvPr id="4119" name="TextBox 50"/>
          <p:cNvSpPr txBox="1">
            <a:spLocks noChangeArrowheads="1"/>
          </p:cNvSpPr>
          <p:nvPr/>
        </p:nvSpPr>
        <p:spPr bwMode="auto">
          <a:xfrm>
            <a:off x="611188" y="1916113"/>
            <a:ext cx="1928812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 b="1">
                <a:latin typeface="Calibri" pitchFamily="34" charset="0"/>
              </a:rPr>
              <a:t>Численность</a:t>
            </a:r>
          </a:p>
        </p:txBody>
      </p:sp>
      <p:sp>
        <p:nvSpPr>
          <p:cNvPr id="4120" name="TextBox 51"/>
          <p:cNvSpPr txBox="1">
            <a:spLocks noChangeArrowheads="1"/>
          </p:cNvSpPr>
          <p:nvPr/>
        </p:nvSpPr>
        <p:spPr bwMode="auto">
          <a:xfrm>
            <a:off x="611188" y="2420938"/>
            <a:ext cx="200025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 b="1">
                <a:latin typeface="Calibri" pitchFamily="34" charset="0"/>
              </a:rPr>
              <a:t>Ежегодный оборот</a:t>
            </a:r>
          </a:p>
        </p:txBody>
      </p:sp>
      <p:sp>
        <p:nvSpPr>
          <p:cNvPr id="4121" name="TextBox 53"/>
          <p:cNvSpPr txBox="1">
            <a:spLocks noChangeArrowheads="1"/>
          </p:cNvSpPr>
          <p:nvPr/>
        </p:nvSpPr>
        <p:spPr bwMode="auto">
          <a:xfrm>
            <a:off x="2484438" y="1916113"/>
            <a:ext cx="207168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>
                <a:latin typeface="Calibri" pitchFamily="34" charset="0"/>
              </a:rPr>
              <a:t>1-15</a:t>
            </a:r>
          </a:p>
        </p:txBody>
      </p:sp>
      <p:sp>
        <p:nvSpPr>
          <p:cNvPr id="4122" name="TextBox 55"/>
          <p:cNvSpPr txBox="1">
            <a:spLocks noChangeArrowheads="1"/>
          </p:cNvSpPr>
          <p:nvPr/>
        </p:nvSpPr>
        <p:spPr bwMode="auto">
          <a:xfrm>
            <a:off x="2843213" y="2420938"/>
            <a:ext cx="1584325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500" i="1">
                <a:latin typeface="Calibri" pitchFamily="34" charset="0"/>
              </a:rPr>
              <a:t>до 60 млн.руб.</a:t>
            </a:r>
          </a:p>
        </p:txBody>
      </p:sp>
      <p:sp>
        <p:nvSpPr>
          <p:cNvPr id="2" name="Прямоугольник 37"/>
          <p:cNvSpPr/>
          <p:nvPr/>
        </p:nvSpPr>
        <p:spPr>
          <a:xfrm>
            <a:off x="6804025" y="1484313"/>
            <a:ext cx="2125663" cy="3603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124" name="TextBox 49"/>
          <p:cNvSpPr txBox="1">
            <a:spLocks noChangeArrowheads="1"/>
          </p:cNvSpPr>
          <p:nvPr/>
        </p:nvSpPr>
        <p:spPr bwMode="auto">
          <a:xfrm>
            <a:off x="6875463" y="1484313"/>
            <a:ext cx="19304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 b="1">
                <a:latin typeface="Calibri" pitchFamily="34" charset="0"/>
              </a:rPr>
              <a:t>Средний бизнес</a:t>
            </a:r>
          </a:p>
        </p:txBody>
      </p:sp>
      <p:sp>
        <p:nvSpPr>
          <p:cNvPr id="3" name="Прямоугольник 61"/>
          <p:cNvSpPr/>
          <p:nvPr/>
        </p:nvSpPr>
        <p:spPr>
          <a:xfrm>
            <a:off x="4572000" y="2420938"/>
            <a:ext cx="2232025" cy="4318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1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1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" name="Прямоугольник 42"/>
          <p:cNvSpPr/>
          <p:nvPr/>
        </p:nvSpPr>
        <p:spPr>
          <a:xfrm>
            <a:off x="4572000" y="1916113"/>
            <a:ext cx="2232025" cy="3603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1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1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127" name="TextBox 53"/>
          <p:cNvSpPr txBox="1">
            <a:spLocks noChangeArrowheads="1"/>
          </p:cNvSpPr>
          <p:nvPr/>
        </p:nvSpPr>
        <p:spPr bwMode="auto">
          <a:xfrm>
            <a:off x="4643438" y="1916113"/>
            <a:ext cx="207168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>
                <a:latin typeface="Calibri" pitchFamily="34" charset="0"/>
              </a:rPr>
              <a:t>16-100</a:t>
            </a:r>
          </a:p>
        </p:txBody>
      </p:sp>
      <p:sp>
        <p:nvSpPr>
          <p:cNvPr id="4128" name="TextBox 55"/>
          <p:cNvSpPr txBox="1">
            <a:spLocks noChangeArrowheads="1"/>
          </p:cNvSpPr>
          <p:nvPr/>
        </p:nvSpPr>
        <p:spPr bwMode="auto">
          <a:xfrm>
            <a:off x="5076825" y="2420938"/>
            <a:ext cx="1584325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500" i="1">
                <a:latin typeface="Calibri" pitchFamily="34" charset="0"/>
              </a:rPr>
              <a:t>до 400 млн.руб.</a:t>
            </a:r>
          </a:p>
        </p:txBody>
      </p:sp>
      <p:sp>
        <p:nvSpPr>
          <p:cNvPr id="5" name="Прямоугольник 61"/>
          <p:cNvSpPr/>
          <p:nvPr/>
        </p:nvSpPr>
        <p:spPr>
          <a:xfrm>
            <a:off x="6804025" y="2420938"/>
            <a:ext cx="2232025" cy="4318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1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1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" name="Прямоугольник 42"/>
          <p:cNvSpPr/>
          <p:nvPr/>
        </p:nvSpPr>
        <p:spPr>
          <a:xfrm>
            <a:off x="6732588" y="1916113"/>
            <a:ext cx="2232025" cy="3603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1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1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131" name="TextBox 53"/>
          <p:cNvSpPr txBox="1">
            <a:spLocks noChangeArrowheads="1"/>
          </p:cNvSpPr>
          <p:nvPr/>
        </p:nvSpPr>
        <p:spPr bwMode="auto">
          <a:xfrm>
            <a:off x="6804025" y="1916113"/>
            <a:ext cx="207168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>
                <a:latin typeface="Calibri" pitchFamily="34" charset="0"/>
              </a:rPr>
              <a:t>101-250</a:t>
            </a:r>
          </a:p>
        </p:txBody>
      </p:sp>
      <p:sp>
        <p:nvSpPr>
          <p:cNvPr id="4132" name="TextBox 55"/>
          <p:cNvSpPr txBox="1">
            <a:spLocks noChangeArrowheads="1"/>
          </p:cNvSpPr>
          <p:nvPr/>
        </p:nvSpPr>
        <p:spPr bwMode="auto">
          <a:xfrm>
            <a:off x="7164388" y="2420938"/>
            <a:ext cx="1584325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500" i="1">
                <a:latin typeface="Calibri" pitchFamily="34" charset="0"/>
              </a:rPr>
              <a:t>до 1 млрд. руб.</a:t>
            </a:r>
          </a:p>
        </p:txBody>
      </p:sp>
      <p:graphicFrame>
        <p:nvGraphicFramePr>
          <p:cNvPr id="4103" name="Object 7"/>
          <p:cNvGraphicFramePr>
            <a:graphicFrameLocks noChangeAspect="1"/>
          </p:cNvGraphicFramePr>
          <p:nvPr/>
        </p:nvGraphicFramePr>
        <p:xfrm>
          <a:off x="8366125" y="4076700"/>
          <a:ext cx="777875" cy="7604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" r:id="rId3" imgW="1244006" imgH="1219048" progId="">
                  <p:embed/>
                </p:oleObj>
              </mc:Choice>
              <mc:Fallback>
                <p:oleObj r:id="rId3" imgW="1244006" imgH="1219048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66125" y="4076700"/>
                        <a:ext cx="777875" cy="7604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104" name="Object 8"/>
          <p:cNvGraphicFramePr>
            <a:graphicFrameLocks/>
          </p:cNvGraphicFramePr>
          <p:nvPr/>
        </p:nvGraphicFramePr>
        <p:xfrm>
          <a:off x="2700338" y="3429000"/>
          <a:ext cx="5172075" cy="32686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Лист" r:id="rId5" imgW="5172143" imgH="3266985" progId="Excel.Sheet.8">
                  <p:embed/>
                </p:oleObj>
              </mc:Choice>
              <mc:Fallback>
                <p:oleObj name="Лист" r:id="rId5" imgW="5172143" imgH="3266985" progId="Excel.Sheet.8">
                  <p:embed/>
                  <p:pic>
                    <p:nvPicPr>
                      <p:cNvPr id="0" name="Picture 13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00338" y="3429000"/>
                        <a:ext cx="5172075" cy="32686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9"/>
          <p:cNvGraphicFramePr>
            <a:graphicFrameLocks noChangeAspect="1"/>
          </p:cNvGraphicFramePr>
          <p:nvPr/>
        </p:nvGraphicFramePr>
        <p:xfrm>
          <a:off x="7645400" y="5429250"/>
          <a:ext cx="784225" cy="768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r:id="rId7" imgW="1244006" imgH="1219048" progId="">
                  <p:embed/>
                </p:oleObj>
              </mc:Choice>
              <mc:Fallback>
                <p:oleObj r:id="rId7" imgW="1244006" imgH="1219048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45400" y="5429250"/>
                        <a:ext cx="784225" cy="7683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106" name="Object 10"/>
          <p:cNvGraphicFramePr>
            <a:graphicFrameLocks noChangeAspect="1"/>
          </p:cNvGraphicFramePr>
          <p:nvPr/>
        </p:nvGraphicFramePr>
        <p:xfrm>
          <a:off x="3995738" y="2852738"/>
          <a:ext cx="687387" cy="673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" r:id="rId9" imgW="1244006" imgH="1219048" progId="">
                  <p:embed/>
                </p:oleObj>
              </mc:Choice>
              <mc:Fallback>
                <p:oleObj r:id="rId9" imgW="1244006" imgH="1219048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95738" y="2852738"/>
                        <a:ext cx="687387" cy="673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107" name="Object 11"/>
          <p:cNvGraphicFramePr>
            <a:graphicFrameLocks noChangeAspect="1"/>
          </p:cNvGraphicFramePr>
          <p:nvPr/>
        </p:nvGraphicFramePr>
        <p:xfrm>
          <a:off x="8243888" y="2924175"/>
          <a:ext cx="757237" cy="7413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" r:id="rId11" imgW="1244006" imgH="1219048" progId="">
                  <p:embed/>
                </p:oleObj>
              </mc:Choice>
              <mc:Fallback>
                <p:oleObj r:id="rId11" imgW="1244006" imgH="1219048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243888" y="2924175"/>
                        <a:ext cx="757237" cy="7413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8" name="Прямая со стрелкой 47"/>
          <p:cNvCxnSpPr/>
          <p:nvPr/>
        </p:nvCxnSpPr>
        <p:spPr>
          <a:xfrm>
            <a:off x="3203575" y="3573463"/>
            <a:ext cx="468313" cy="215900"/>
          </a:xfrm>
          <a:prstGeom prst="straightConnector1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34" name="TextBox 55"/>
          <p:cNvSpPr txBox="1">
            <a:spLocks noChangeArrowheads="1"/>
          </p:cNvSpPr>
          <p:nvPr/>
        </p:nvSpPr>
        <p:spPr bwMode="auto">
          <a:xfrm>
            <a:off x="2124075" y="3213100"/>
            <a:ext cx="19288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>
                <a:solidFill>
                  <a:srgbClr val="0D0D0D"/>
                </a:solidFill>
                <a:latin typeface="Verdana" pitchFamily="34" charset="0"/>
              </a:rPr>
              <a:t>Другое – 31,3 %</a:t>
            </a:r>
          </a:p>
        </p:txBody>
      </p:sp>
      <p:cxnSp>
        <p:nvCxnSpPr>
          <p:cNvPr id="50" name="Прямая со стрелкой 49"/>
          <p:cNvCxnSpPr/>
          <p:nvPr/>
        </p:nvCxnSpPr>
        <p:spPr>
          <a:xfrm rot="16200000" flipH="1">
            <a:off x="5519737" y="3338513"/>
            <a:ext cx="430213" cy="39688"/>
          </a:xfrm>
          <a:prstGeom prst="straightConnector1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36" name="TextBox 58"/>
          <p:cNvSpPr txBox="1">
            <a:spLocks noChangeArrowheads="1"/>
          </p:cNvSpPr>
          <p:nvPr/>
        </p:nvSpPr>
        <p:spPr bwMode="auto">
          <a:xfrm>
            <a:off x="4643438" y="2835275"/>
            <a:ext cx="192881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>
                <a:solidFill>
                  <a:srgbClr val="0D0D0D"/>
                </a:solidFill>
                <a:latin typeface="Verdana" pitchFamily="34" charset="0"/>
              </a:rPr>
              <a:t>Транспорт – 6,1 %</a:t>
            </a:r>
          </a:p>
        </p:txBody>
      </p:sp>
      <p:cxnSp>
        <p:nvCxnSpPr>
          <p:cNvPr id="52" name="Прямая со стрелкой 51"/>
          <p:cNvCxnSpPr/>
          <p:nvPr/>
        </p:nvCxnSpPr>
        <p:spPr>
          <a:xfrm rot="5400000">
            <a:off x="6611938" y="3603625"/>
            <a:ext cx="381000" cy="31750"/>
          </a:xfrm>
          <a:prstGeom prst="straightConnector1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38" name="TextBox 60"/>
          <p:cNvSpPr txBox="1">
            <a:spLocks noChangeArrowheads="1"/>
          </p:cNvSpPr>
          <p:nvPr/>
        </p:nvSpPr>
        <p:spPr bwMode="auto">
          <a:xfrm>
            <a:off x="6456363" y="3092450"/>
            <a:ext cx="1928812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>
                <a:solidFill>
                  <a:srgbClr val="0D0D0D"/>
                </a:solidFill>
                <a:latin typeface="Verdana" pitchFamily="34" charset="0"/>
              </a:rPr>
              <a:t>Производство – 10,7 %</a:t>
            </a:r>
          </a:p>
        </p:txBody>
      </p:sp>
      <p:cxnSp>
        <p:nvCxnSpPr>
          <p:cNvPr id="54" name="Прямая со стрелкой 53"/>
          <p:cNvCxnSpPr/>
          <p:nvPr/>
        </p:nvCxnSpPr>
        <p:spPr>
          <a:xfrm rot="10800000" flipV="1">
            <a:off x="7786688" y="4429125"/>
            <a:ext cx="384175" cy="71438"/>
          </a:xfrm>
          <a:prstGeom prst="straightConnector1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 стрелкой 54"/>
          <p:cNvCxnSpPr/>
          <p:nvPr/>
        </p:nvCxnSpPr>
        <p:spPr>
          <a:xfrm flipH="1" flipV="1">
            <a:off x="6372225" y="6237288"/>
            <a:ext cx="446088" cy="120650"/>
          </a:xfrm>
          <a:prstGeom prst="straightConnector1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41" name="TextBox 66"/>
          <p:cNvSpPr txBox="1">
            <a:spLocks noChangeArrowheads="1"/>
          </p:cNvSpPr>
          <p:nvPr/>
        </p:nvSpPr>
        <p:spPr bwMode="auto">
          <a:xfrm>
            <a:off x="6948488" y="6165850"/>
            <a:ext cx="192881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>
                <a:solidFill>
                  <a:srgbClr val="0D0D0D"/>
                </a:solidFill>
                <a:latin typeface="Verdana" pitchFamily="34" charset="0"/>
              </a:rPr>
              <a:t>Торговля – 38,3 %</a:t>
            </a:r>
          </a:p>
        </p:txBody>
      </p:sp>
      <p:sp>
        <p:nvSpPr>
          <p:cNvPr id="4142" name="Text Box 18"/>
          <p:cNvSpPr txBox="1">
            <a:spLocks noChangeArrowheads="1"/>
          </p:cNvSpPr>
          <p:nvPr/>
        </p:nvSpPr>
        <p:spPr bwMode="auto">
          <a:xfrm>
            <a:off x="971550" y="5373688"/>
            <a:ext cx="1785938" cy="954087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>
                <a:latin typeface="Verdana" pitchFamily="34" charset="0"/>
              </a:rPr>
              <a:t>Инновационный малый бизнес</a:t>
            </a:r>
          </a:p>
          <a:p>
            <a:pPr algn="ctr"/>
            <a:r>
              <a:rPr lang="ru-RU" sz="1400">
                <a:solidFill>
                  <a:srgbClr val="C00000"/>
                </a:solidFill>
                <a:latin typeface="Verdana" pitchFamily="34" charset="0"/>
              </a:rPr>
              <a:t>1,5 % </a:t>
            </a:r>
            <a:r>
              <a:rPr lang="ru-RU" sz="1400">
                <a:latin typeface="Verdana" pitchFamily="34" charset="0"/>
              </a:rPr>
              <a:t>от общего числа МСП</a:t>
            </a:r>
          </a:p>
        </p:txBody>
      </p:sp>
      <p:sp>
        <p:nvSpPr>
          <p:cNvPr id="4143" name="Line 30"/>
          <p:cNvSpPr>
            <a:spLocks noChangeShapeType="1"/>
          </p:cNvSpPr>
          <p:nvPr/>
        </p:nvSpPr>
        <p:spPr bwMode="auto">
          <a:xfrm flipH="1" flipV="1">
            <a:off x="2771775" y="5589588"/>
            <a:ext cx="431800" cy="0"/>
          </a:xfrm>
          <a:prstGeom prst="line">
            <a:avLst/>
          </a:prstGeom>
          <a:noFill/>
          <a:ln w="28575">
            <a:solidFill>
              <a:srgbClr val="FF0000"/>
            </a:solidFill>
            <a:prstDash val="sysDash"/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ru-RU"/>
          </a:p>
        </p:txBody>
      </p:sp>
      <p:pic>
        <p:nvPicPr>
          <p:cNvPr id="4144" name="Picture 50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524750" y="4868863"/>
            <a:ext cx="1944688" cy="50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Номер слайда 2"/>
          <p:cNvSpPr txBox="1">
            <a:spLocks noGrp="1"/>
          </p:cNvSpPr>
          <p:nvPr/>
        </p:nvSpPr>
        <p:spPr>
          <a:xfrm>
            <a:off x="8459788" y="6356350"/>
            <a:ext cx="227012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3D44E664-89F1-4B62-BFB7-F3D3A97C5837}" type="slidenum">
              <a:rPr lang="ru-RU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7</a:t>
            </a:fld>
            <a:endParaRPr lang="ru-RU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146" name="TextBox 58"/>
          <p:cNvSpPr txBox="1">
            <a:spLocks noChangeArrowheads="1"/>
          </p:cNvSpPr>
          <p:nvPr/>
        </p:nvSpPr>
        <p:spPr bwMode="auto">
          <a:xfrm>
            <a:off x="827088" y="4652963"/>
            <a:ext cx="1928812" cy="73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>
                <a:solidFill>
                  <a:srgbClr val="0D0D0D"/>
                </a:solidFill>
                <a:latin typeface="Verdana" pitchFamily="34" charset="0"/>
              </a:rPr>
              <a:t>Здравоохранение и социальные услуги – 1,7 %</a:t>
            </a:r>
          </a:p>
        </p:txBody>
      </p:sp>
      <p:cxnSp>
        <p:nvCxnSpPr>
          <p:cNvPr id="53" name="Прямая со стрелкой 52"/>
          <p:cNvCxnSpPr/>
          <p:nvPr/>
        </p:nvCxnSpPr>
        <p:spPr>
          <a:xfrm>
            <a:off x="2627313" y="4941888"/>
            <a:ext cx="468312" cy="215900"/>
          </a:xfrm>
          <a:prstGeom prst="straightConnector1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15329" name="Группа 13"/>
          <p:cNvGrpSpPr>
            <a:grpSpLocks/>
          </p:cNvGrpSpPr>
          <p:nvPr/>
        </p:nvGrpSpPr>
        <p:grpSpPr bwMode="auto">
          <a:xfrm>
            <a:off x="-396875" y="0"/>
            <a:ext cx="7881938" cy="6858000"/>
            <a:chOff x="0" y="0"/>
            <a:chExt cx="7429500" cy="6858000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0" y="0"/>
              <a:ext cx="713771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6" name="Овал 15"/>
            <p:cNvSpPr/>
            <p:nvPr/>
          </p:nvSpPr>
          <p:spPr>
            <a:xfrm>
              <a:off x="321720" y="500063"/>
              <a:ext cx="787094" cy="78581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713771" y="357188"/>
              <a:ext cx="60154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8" name="Овал 17"/>
            <p:cNvSpPr/>
            <p:nvPr/>
          </p:nvSpPr>
          <p:spPr>
            <a:xfrm>
              <a:off x="565630" y="765175"/>
              <a:ext cx="275333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9" name="Полилиния 18"/>
            <p:cNvSpPr/>
            <p:nvPr/>
          </p:nvSpPr>
          <p:spPr>
            <a:xfrm>
              <a:off x="749684" y="571500"/>
              <a:ext cx="6679816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2915330" name="Text Box 26"/>
          <p:cNvSpPr txBox="1">
            <a:spLocks noChangeArrowheads="1"/>
          </p:cNvSpPr>
          <p:nvPr/>
        </p:nvSpPr>
        <p:spPr bwMode="auto">
          <a:xfrm>
            <a:off x="6877050" y="4797425"/>
            <a:ext cx="1944688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400" b="1">
                <a:solidFill>
                  <a:srgbClr val="000000"/>
                </a:solidFill>
              </a:rPr>
              <a:t> </a:t>
            </a:r>
            <a:endParaRPr lang="en-US" sz="2800" b="1">
              <a:solidFill>
                <a:srgbClr val="000000"/>
              </a:solidFill>
            </a:endParaRPr>
          </a:p>
          <a:p>
            <a:pPr algn="ctr"/>
            <a:r>
              <a:rPr lang="en-US" sz="2400" b="1">
                <a:solidFill>
                  <a:srgbClr val="000000"/>
                </a:solidFill>
              </a:rPr>
              <a:t> </a:t>
            </a:r>
            <a:endParaRPr lang="ru-RU" sz="2400" b="1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9701" name="TextBox 5"/>
          <p:cNvSpPr txBox="1">
            <a:spLocks noChangeArrowheads="1"/>
          </p:cNvSpPr>
          <p:nvPr/>
        </p:nvSpPr>
        <p:spPr bwMode="auto">
          <a:xfrm>
            <a:off x="539750" y="0"/>
            <a:ext cx="8604250" cy="4619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sz="2400" b="1" dirty="0" smtClean="0">
                <a:ea typeface="+mj-ea"/>
              </a:rPr>
              <a:t>Государственные структуры, поддерживающие МСП</a:t>
            </a:r>
          </a:p>
        </p:txBody>
      </p:sp>
      <p:sp>
        <p:nvSpPr>
          <p:cNvPr id="3" name="Номер слайда 2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FB730686-AA5D-4CBC-9448-86DFF9A2C2B0}" type="slidenum">
              <a:rPr lang="ru-RU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8</a:t>
            </a:fld>
            <a:endParaRPr lang="ru-RU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915333" name="Text Box 15"/>
          <p:cNvSpPr txBox="1">
            <a:spLocks noChangeArrowheads="1"/>
          </p:cNvSpPr>
          <p:nvPr/>
        </p:nvSpPr>
        <p:spPr bwMode="auto">
          <a:xfrm>
            <a:off x="5940425" y="3835400"/>
            <a:ext cx="13128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000">
                <a:solidFill>
                  <a:schemeClr val="bg1"/>
                </a:solidFill>
              </a:rPr>
              <a:t>, всего 24</a:t>
            </a:r>
          </a:p>
        </p:txBody>
      </p:sp>
      <p:pic>
        <p:nvPicPr>
          <p:cNvPr id="2915334" name="Picture 2" descr="C:\Users\gorina\AppData\Local\Microsoft\Windows\Temporary Internet Files\Content.Outlook\2RBJD9Q3\slide (3)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188" y="1125538"/>
            <a:ext cx="80645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16353" name="Группа 10"/>
          <p:cNvGrpSpPr>
            <a:grpSpLocks/>
          </p:cNvGrpSpPr>
          <p:nvPr/>
        </p:nvGrpSpPr>
        <p:grpSpPr bwMode="auto">
          <a:xfrm>
            <a:off x="0" y="188913"/>
            <a:ext cx="7429500" cy="6858000"/>
            <a:chOff x="0" y="0"/>
            <a:chExt cx="7429500" cy="6858000"/>
          </a:xfrm>
        </p:grpSpPr>
        <p:sp>
          <p:nvSpPr>
            <p:cNvPr id="2" name="Прямоугольник 11"/>
            <p:cNvSpPr/>
            <p:nvPr/>
          </p:nvSpPr>
          <p:spPr>
            <a:xfrm>
              <a:off x="0" y="0"/>
              <a:ext cx="714375" cy="6858000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3" name="Овал 12"/>
            <p:cNvSpPr/>
            <p:nvPr/>
          </p:nvSpPr>
          <p:spPr>
            <a:xfrm>
              <a:off x="322263" y="500062"/>
              <a:ext cx="785812" cy="78581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714375" y="357187"/>
              <a:ext cx="601663" cy="1143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5" name="Овал 14"/>
            <p:cNvSpPr/>
            <p:nvPr/>
          </p:nvSpPr>
          <p:spPr>
            <a:xfrm>
              <a:off x="565150" y="765175"/>
              <a:ext cx="276225" cy="276225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Полилиния 15"/>
            <p:cNvSpPr/>
            <p:nvPr/>
          </p:nvSpPr>
          <p:spPr>
            <a:xfrm>
              <a:off x="749300" y="571500"/>
              <a:ext cx="6680200" cy="190500"/>
            </a:xfrm>
            <a:custGeom>
              <a:avLst/>
              <a:gdLst>
                <a:gd name="connsiteX0" fmla="*/ 0 w 3136900"/>
                <a:gd name="connsiteY0" fmla="*/ 279400 h 279400"/>
                <a:gd name="connsiteX1" fmla="*/ 203200 w 3136900"/>
                <a:gd name="connsiteY1" fmla="*/ 0 h 279400"/>
                <a:gd name="connsiteX2" fmla="*/ 3136900 w 3136900"/>
                <a:gd name="connsiteY2" fmla="*/ 6350 h 27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36900" h="279400">
                  <a:moveTo>
                    <a:pt x="0" y="279400"/>
                  </a:moveTo>
                  <a:lnTo>
                    <a:pt x="203200" y="0"/>
                  </a:lnTo>
                  <a:lnTo>
                    <a:pt x="3136900" y="6350"/>
                  </a:lnTo>
                </a:path>
              </a:pathLst>
            </a:cu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2916354" name="Rectangle 2"/>
          <p:cNvSpPr>
            <a:spLocks noGrp="1"/>
          </p:cNvSpPr>
          <p:nvPr>
            <p:ph type="title"/>
          </p:nvPr>
        </p:nvSpPr>
        <p:spPr>
          <a:xfrm>
            <a:off x="535434" y="39687"/>
            <a:ext cx="8229600" cy="649288"/>
          </a:xfrm>
        </p:spPr>
        <p:txBody>
          <a:bodyPr/>
          <a:lstStyle/>
          <a:p>
            <a:r>
              <a:rPr lang="ru-RU" sz="2700" b="1" dirty="0" smtClean="0">
                <a:latin typeface="Arial" charset="0"/>
                <a:cs typeface="Arial" charset="0"/>
              </a:rPr>
              <a:t>Факторы, влияющие на инвестиционную привлекательность МСП</a:t>
            </a:r>
          </a:p>
        </p:txBody>
      </p:sp>
      <p:sp>
        <p:nvSpPr>
          <p:cNvPr id="2916355" name="TextBox 23"/>
          <p:cNvSpPr txBox="1">
            <a:spLocks noChangeArrowheads="1"/>
          </p:cNvSpPr>
          <p:nvPr/>
        </p:nvSpPr>
        <p:spPr bwMode="auto">
          <a:xfrm>
            <a:off x="1727200" y="908050"/>
            <a:ext cx="7416800" cy="5816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Tx/>
              <a:buChar char="•"/>
            </a:pPr>
            <a:endParaRPr lang="ru-RU" sz="2000" dirty="0"/>
          </a:p>
          <a:p>
            <a:pPr>
              <a:buFontTx/>
              <a:buChar char="•"/>
            </a:pPr>
            <a:r>
              <a:rPr lang="en-US" sz="2400" dirty="0" smtClean="0"/>
              <a:t> </a:t>
            </a:r>
            <a:r>
              <a:rPr lang="ru-RU" sz="2400" dirty="0" smtClean="0"/>
              <a:t>условия </a:t>
            </a:r>
            <a:r>
              <a:rPr lang="ru-RU" sz="2400" dirty="0"/>
              <a:t>спроса в регионе</a:t>
            </a:r>
            <a:r>
              <a:rPr lang="ru-RU" sz="2400" dirty="0">
                <a:solidFill>
                  <a:schemeClr val="tx2"/>
                </a:solidFill>
              </a:rPr>
              <a:t>;</a:t>
            </a:r>
          </a:p>
          <a:p>
            <a:pPr>
              <a:buFontTx/>
              <a:buChar char="•"/>
            </a:pPr>
            <a:r>
              <a:rPr lang="en-US" sz="2400" dirty="0" smtClean="0"/>
              <a:t> </a:t>
            </a:r>
            <a:r>
              <a:rPr lang="ru-RU" sz="2400" dirty="0" smtClean="0"/>
              <a:t>специфика </a:t>
            </a:r>
            <a:r>
              <a:rPr lang="ru-RU" sz="2400" dirty="0"/>
              <a:t>отраслевой структуры экономики региона</a:t>
            </a:r>
            <a:r>
              <a:rPr lang="ru-RU" sz="2400" dirty="0">
                <a:solidFill>
                  <a:schemeClr val="tx2"/>
                </a:solidFill>
              </a:rPr>
              <a:t>;</a:t>
            </a:r>
          </a:p>
          <a:p>
            <a:pPr>
              <a:buFontTx/>
              <a:buChar char="•"/>
            </a:pPr>
            <a:endParaRPr lang="ru-RU" sz="800" dirty="0">
              <a:solidFill>
                <a:schemeClr val="tx2"/>
              </a:solidFill>
            </a:endParaRPr>
          </a:p>
          <a:p>
            <a:pPr>
              <a:buFontTx/>
              <a:buChar char="•"/>
            </a:pPr>
            <a:r>
              <a:rPr lang="en-US" sz="2400" dirty="0" smtClean="0"/>
              <a:t> </a:t>
            </a:r>
            <a:r>
              <a:rPr lang="ru-RU" sz="2400" dirty="0" smtClean="0"/>
              <a:t>региональный </a:t>
            </a:r>
            <a:r>
              <a:rPr lang="ru-RU" sz="2400" dirty="0"/>
              <a:t>бизнес-климат</a:t>
            </a:r>
            <a:r>
              <a:rPr lang="ru-RU" sz="2400" dirty="0">
                <a:solidFill>
                  <a:schemeClr val="tx2"/>
                </a:solidFill>
              </a:rPr>
              <a:t>.</a:t>
            </a:r>
          </a:p>
          <a:p>
            <a:pPr>
              <a:buFontTx/>
              <a:buChar char="•"/>
            </a:pPr>
            <a:endParaRPr lang="ru-RU" sz="2400" dirty="0">
              <a:solidFill>
                <a:schemeClr val="tx2"/>
              </a:solidFill>
            </a:endParaRPr>
          </a:p>
          <a:p>
            <a:r>
              <a:rPr lang="ru-RU" sz="2200" dirty="0"/>
              <a:t>Хороший региональный бизнес-климат – это:</a:t>
            </a:r>
          </a:p>
          <a:p>
            <a:endParaRPr lang="ru-RU" sz="2200" dirty="0"/>
          </a:p>
          <a:p>
            <a:pPr>
              <a:buFont typeface="Arial" charset="0"/>
              <a:buChar char="•"/>
            </a:pPr>
            <a:r>
              <a:rPr lang="en-US" sz="2200" dirty="0" smtClean="0"/>
              <a:t> </a:t>
            </a:r>
            <a:r>
              <a:rPr lang="ru-RU" sz="2200" dirty="0" smtClean="0"/>
              <a:t>региональная  </a:t>
            </a:r>
            <a:r>
              <a:rPr lang="ru-RU" sz="2200" dirty="0"/>
              <a:t>часть налога на прибыть – 0;</a:t>
            </a:r>
          </a:p>
          <a:p>
            <a:pPr>
              <a:buFont typeface="Arial" charset="0"/>
              <a:buChar char="•"/>
            </a:pPr>
            <a:r>
              <a:rPr lang="en-US" sz="2200" dirty="0" smtClean="0"/>
              <a:t> </a:t>
            </a:r>
            <a:r>
              <a:rPr lang="ru-RU" sz="2200" dirty="0" smtClean="0"/>
              <a:t>проценты  </a:t>
            </a:r>
            <a:r>
              <a:rPr lang="ru-RU" sz="2200" dirty="0"/>
              <a:t>за кредит – </a:t>
            </a:r>
            <a:r>
              <a:rPr lang="en-US" sz="2200" dirty="0" smtClean="0"/>
              <a:t>min</a:t>
            </a:r>
            <a:r>
              <a:rPr lang="ru-RU" sz="2200" dirty="0" smtClean="0"/>
              <a:t>;</a:t>
            </a:r>
            <a:endParaRPr lang="ru-RU" sz="2200" dirty="0"/>
          </a:p>
          <a:p>
            <a:pPr>
              <a:buFont typeface="Arial" charset="0"/>
              <a:buChar char="•"/>
            </a:pPr>
            <a:r>
              <a:rPr lang="en-US" sz="2200" dirty="0" smtClean="0"/>
              <a:t> </a:t>
            </a:r>
            <a:r>
              <a:rPr lang="ru-RU" sz="2200" dirty="0" smtClean="0"/>
              <a:t>подключение </a:t>
            </a:r>
            <a:r>
              <a:rPr lang="ru-RU" sz="2200" dirty="0"/>
              <a:t>к инженерной инфраструктуре – </a:t>
            </a:r>
            <a:r>
              <a:rPr lang="en-US" sz="2200" dirty="0"/>
              <a:t>min</a:t>
            </a:r>
            <a:r>
              <a:rPr lang="ru-RU" sz="2200" dirty="0" smtClean="0"/>
              <a:t>;</a:t>
            </a:r>
            <a:endParaRPr lang="ru-RU" sz="2200" dirty="0"/>
          </a:p>
          <a:p>
            <a:pPr>
              <a:buFont typeface="Arial" charset="0"/>
              <a:buChar char="•"/>
            </a:pPr>
            <a:r>
              <a:rPr lang="en-US" sz="2200" dirty="0" smtClean="0"/>
              <a:t> </a:t>
            </a:r>
            <a:r>
              <a:rPr lang="ru-RU" sz="2200" dirty="0" smtClean="0"/>
              <a:t>аренда </a:t>
            </a:r>
            <a:r>
              <a:rPr lang="ru-RU" sz="2200" dirty="0"/>
              <a:t>помещения – </a:t>
            </a:r>
            <a:r>
              <a:rPr lang="en-US" sz="2200" dirty="0"/>
              <a:t>min</a:t>
            </a:r>
            <a:r>
              <a:rPr lang="ru-RU" sz="2200" dirty="0" smtClean="0"/>
              <a:t>.</a:t>
            </a:r>
            <a:endParaRPr lang="ru-RU" sz="2200" dirty="0"/>
          </a:p>
          <a:p>
            <a:endParaRPr lang="ru-RU" sz="2400" dirty="0">
              <a:solidFill>
                <a:schemeClr val="tx2"/>
              </a:solidFill>
            </a:endParaRPr>
          </a:p>
          <a:p>
            <a:endParaRPr lang="ru-RU" sz="2400" dirty="0">
              <a:solidFill>
                <a:schemeClr val="tx2"/>
              </a:solidFill>
            </a:endParaRPr>
          </a:p>
          <a:p>
            <a:endParaRPr lang="ru-RU" sz="2400" dirty="0">
              <a:solidFill>
                <a:schemeClr val="tx2"/>
              </a:solidFill>
            </a:endParaRPr>
          </a:p>
          <a:p>
            <a:endParaRPr lang="ru-RU" sz="2000" dirty="0">
              <a:solidFill>
                <a:schemeClr val="tx2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827088" y="1196975"/>
            <a:ext cx="619125" cy="417513"/>
          </a:xfrm>
          <a:prstGeom prst="roundRect">
            <a:avLst>
              <a:gd name="adj" fmla="val 10000"/>
            </a:avLst>
          </a:prstGeom>
          <a:blipFill rotWithShape="0">
            <a:blip r:embed="rId2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Скругленный прямоугольник 11"/>
          <p:cNvSpPr/>
          <p:nvPr/>
        </p:nvSpPr>
        <p:spPr>
          <a:xfrm>
            <a:off x="827088" y="1773238"/>
            <a:ext cx="619125" cy="417512"/>
          </a:xfrm>
          <a:prstGeom prst="roundRect">
            <a:avLst>
              <a:gd name="adj" fmla="val 10000"/>
            </a:avLst>
          </a:prstGeom>
          <a:blipFill rotWithShape="0">
            <a:blip r:embed="rId2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" name="Скругленный прямоугольник 11"/>
          <p:cNvSpPr/>
          <p:nvPr/>
        </p:nvSpPr>
        <p:spPr>
          <a:xfrm>
            <a:off x="827088" y="2420938"/>
            <a:ext cx="619125" cy="417512"/>
          </a:xfrm>
          <a:prstGeom prst="roundRect">
            <a:avLst>
              <a:gd name="adj" fmla="val 10000"/>
            </a:avLst>
          </a:prstGeom>
          <a:blipFill rotWithShape="0">
            <a:blip r:embed="rId2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C8784CC-6C26-4DCF-B34E-9106FA0ECBD8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hZPQuPQkaTUMxW67pm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U05K70tEmacXn73uvs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q1dHhKWUSdrbDhQ5Dt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hZPQuPQkaTUMxW67pm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U05K70tEmacXn73uvs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q1dHhKWUSdrbDhQ5Dt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OWOHjl4UeXZnYIZi3zxA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eg"/></Relationships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Сбербанк">
  <a:themeElements>
    <a:clrScheme name="Сбербанк">
      <a:dk1>
        <a:srgbClr val="333333"/>
      </a:dk1>
      <a:lt1>
        <a:srgbClr val="FFFFFF"/>
      </a:lt1>
      <a:dk2>
        <a:srgbClr val="FFFFFF"/>
      </a:dk2>
      <a:lt2>
        <a:srgbClr val="00703C"/>
      </a:lt2>
      <a:accent1>
        <a:srgbClr val="FFC100"/>
      </a:accent1>
      <a:accent2>
        <a:srgbClr val="FA8300"/>
      </a:accent2>
      <a:accent3>
        <a:srgbClr val="439639"/>
      </a:accent3>
      <a:accent4>
        <a:srgbClr val="7DC244"/>
      </a:accent4>
      <a:accent5>
        <a:srgbClr val="B3D88C"/>
      </a:accent5>
      <a:accent6>
        <a:srgbClr val="D6E03E"/>
      </a:accent6>
      <a:hlink>
        <a:srgbClr val="3181B7"/>
      </a:hlink>
      <a:folHlink>
        <a:srgbClr val="666666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entury Gothic" pitchFamily="34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>
    <a:extraClrScheme>
      <a:clrScheme name="1_Раздел 1 1">
        <a:dk1>
          <a:srgbClr val="333333"/>
        </a:dk1>
        <a:lt1>
          <a:srgbClr val="FFFFFF"/>
        </a:lt1>
        <a:dk2>
          <a:srgbClr val="FFFFFF"/>
        </a:dk2>
        <a:lt2>
          <a:srgbClr val="009900"/>
        </a:lt2>
        <a:accent1>
          <a:srgbClr val="FFC100"/>
        </a:accent1>
        <a:accent2>
          <a:srgbClr val="FF6C01"/>
        </a:accent2>
        <a:accent3>
          <a:srgbClr val="FFFFFF"/>
        </a:accent3>
        <a:accent4>
          <a:srgbClr val="2A2A2A"/>
        </a:accent4>
        <a:accent5>
          <a:srgbClr val="FFDDAA"/>
        </a:accent5>
        <a:accent6>
          <a:srgbClr val="E76101"/>
        </a:accent6>
        <a:hlink>
          <a:srgbClr val="3181B7"/>
        </a:hlink>
        <a:folHlink>
          <a:srgbClr val="6666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Сбербанк 2">
  <a:themeElements>
    <a:clrScheme name="">
      <a:dk1>
        <a:srgbClr val="10A1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333399"/>
      </a:accent2>
      <a:accent3>
        <a:srgbClr val="FFFFFF"/>
      </a:accent3>
      <a:accent4>
        <a:srgbClr val="0C8900"/>
      </a:accent4>
      <a:accent5>
        <a:srgbClr val="FFFFFF"/>
      </a:accent5>
      <a:accent6>
        <a:srgbClr val="2D2D8A"/>
      </a:accent6>
      <a:hlink>
        <a:srgbClr val="009999"/>
      </a:hlink>
      <a:folHlink>
        <a:srgbClr val="99CC00"/>
      </a:folHlink>
    </a:clrScheme>
    <a:fontScheme name="Title &amp; Bullets">
      <a:majorFont>
        <a:latin typeface="Helvetica"/>
        <a:ea typeface="ヒラギノ角ゴ ProN W3"/>
        <a:cs typeface="ヒラギノ角ゴ ProN W3"/>
      </a:majorFont>
      <a:minorFont>
        <a:latin typeface="Helvetica"/>
        <a:ea typeface="ヒラギノ角ゴ ProN W3"/>
        <a:cs typeface="ヒラギノ角ゴ ProN W3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200" b="0" i="0" u="none" strike="noStrike" cap="none" normalizeH="0" baseline="0">
            <a:ln>
              <a:noFill/>
            </a:ln>
            <a:solidFill>
              <a:srgbClr val="10A100"/>
            </a:solidFill>
            <a:effectLst/>
            <a:latin typeface="Helvetica" charset="0"/>
            <a:ea typeface="ヒラギノ角ゴ ProN W3" charset="0"/>
            <a:cs typeface="ヒラギノ角ゴ ProN W3" charset="0"/>
            <a:sym typeface="Helvetic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200" b="0" i="0" u="none" strike="noStrike" cap="none" normalizeH="0" baseline="0">
            <a:ln>
              <a:noFill/>
            </a:ln>
            <a:solidFill>
              <a:srgbClr val="10A100"/>
            </a:solidFill>
            <a:effectLst/>
            <a:latin typeface="Helvetica" charset="0"/>
            <a:ea typeface="ヒラギノ角ゴ ProN W3" charset="0"/>
            <a:cs typeface="ヒラギノ角ゴ ProN W3" charset="0"/>
            <a:sym typeface="Helvetica" charset="0"/>
          </a:defRPr>
        </a:defPPr>
      </a:lstStyle>
    </a:lnDef>
  </a:objectDefaults>
  <a:extraClrSchemeLst>
    <a:extraClrScheme>
      <a:clrScheme name="Title &amp;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d1_inner1">
  <a:themeElements>
    <a:clrScheme name="Сбербанк">
      <a:dk1>
        <a:srgbClr val="333333"/>
      </a:dk1>
      <a:lt1>
        <a:srgbClr val="FFFFFF"/>
      </a:lt1>
      <a:dk2>
        <a:srgbClr val="FFFFFF"/>
      </a:dk2>
      <a:lt2>
        <a:srgbClr val="00703C"/>
      </a:lt2>
      <a:accent1>
        <a:srgbClr val="FFC100"/>
      </a:accent1>
      <a:accent2>
        <a:srgbClr val="FA8300"/>
      </a:accent2>
      <a:accent3>
        <a:srgbClr val="439639"/>
      </a:accent3>
      <a:accent4>
        <a:srgbClr val="7DC244"/>
      </a:accent4>
      <a:accent5>
        <a:srgbClr val="B3D88C"/>
      </a:accent5>
      <a:accent6>
        <a:srgbClr val="D6E03E"/>
      </a:accent6>
      <a:hlink>
        <a:srgbClr val="3181B7"/>
      </a:hlink>
      <a:folHlink>
        <a:srgbClr val="666666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0" tIns="0" rIns="0" bIns="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entury Gothic" pitchFamily="34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>
    <a:extraClrScheme>
      <a:clrScheme name="1_Раздел 1 1">
        <a:dk1>
          <a:srgbClr val="333333"/>
        </a:dk1>
        <a:lt1>
          <a:srgbClr val="FFFFFF"/>
        </a:lt1>
        <a:dk2>
          <a:srgbClr val="FFFFFF"/>
        </a:dk2>
        <a:lt2>
          <a:srgbClr val="009900"/>
        </a:lt2>
        <a:accent1>
          <a:srgbClr val="FFC100"/>
        </a:accent1>
        <a:accent2>
          <a:srgbClr val="FF6C01"/>
        </a:accent2>
        <a:accent3>
          <a:srgbClr val="FFFFFF"/>
        </a:accent3>
        <a:accent4>
          <a:srgbClr val="2A2A2A"/>
        </a:accent4>
        <a:accent5>
          <a:srgbClr val="FFDDAA"/>
        </a:accent5>
        <a:accent6>
          <a:srgbClr val="E76101"/>
        </a:accent6>
        <a:hlink>
          <a:srgbClr val="3181B7"/>
        </a:hlink>
        <a:folHlink>
          <a:srgbClr val="6666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Сбербанк</Template>
  <TotalTime>3568</TotalTime>
  <Words>2325</Words>
  <Application>Microsoft Office PowerPoint</Application>
  <PresentationFormat>Экран (4:3)</PresentationFormat>
  <Paragraphs>585</Paragraphs>
  <Slides>42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42</vt:i4>
      </vt:variant>
    </vt:vector>
  </HeadingPairs>
  <TitlesOfParts>
    <vt:vector size="52" baseType="lpstr">
      <vt:lpstr>Тема Office</vt:lpstr>
      <vt:lpstr>Сбербанк</vt:lpstr>
      <vt:lpstr>1_Тема Office</vt:lpstr>
      <vt:lpstr>Сбербанк 2</vt:lpstr>
      <vt:lpstr>1_d1_inner1</vt:lpstr>
      <vt:lpstr>2_Тема Office</vt:lpstr>
      <vt:lpstr>3_Тема Office</vt:lpstr>
      <vt:lpstr>think-cell Slide</vt:lpstr>
      <vt:lpstr>Microsoft Excel 97-2003 Worksheet</vt:lpstr>
      <vt:lpstr>Лист</vt:lpstr>
      <vt:lpstr>Презентация PowerPoint</vt:lpstr>
      <vt:lpstr>Малый бизнес в России и в мире</vt:lpstr>
      <vt:lpstr>Малый бизнес в России</vt:lpstr>
      <vt:lpstr>Малый бизнес в России и мире</vt:lpstr>
      <vt:lpstr>Презентация PowerPoint</vt:lpstr>
      <vt:lpstr> Основные НПА, регулирующие сферу малого и среднего предпринимательства </vt:lpstr>
      <vt:lpstr>Презентация PowerPoint</vt:lpstr>
      <vt:lpstr>Презентация PowerPoint</vt:lpstr>
      <vt:lpstr>Факторы, влияющие на инвестиционную привлекательность МСП</vt:lpstr>
      <vt:lpstr>Возможности регионов и муниципалитетов по повышению инвестиционной привлекательности МСП</vt:lpstr>
      <vt:lpstr>Презентация PowerPoint</vt:lpstr>
      <vt:lpstr>Налогообложение субъектов МСП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алые предприятия в промышленности сегодня </vt:lpstr>
      <vt:lpstr> Кластерный подход</vt:lpstr>
      <vt:lpstr>Презентация PowerPoint</vt:lpstr>
      <vt:lpstr>Презентация PowerPoint</vt:lpstr>
      <vt:lpstr>ПОТЕНЦИАЛЬНЫЕ КЛАСТЕРЫ</vt:lpstr>
      <vt:lpstr>Презентация PowerPoint</vt:lpstr>
      <vt:lpstr>Презентация PowerPoint</vt:lpstr>
      <vt:lpstr>Презентация PowerPoint</vt:lpstr>
      <vt:lpstr>Возможности вузов в сфере подготовки  кадров для МСП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оциальные платежи субъектов МСП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SweetHome</dc:creator>
  <cp:lastModifiedBy>Карпова Полина</cp:lastModifiedBy>
  <cp:revision>392</cp:revision>
  <cp:lastPrinted>2014-04-09T10:51:57Z</cp:lastPrinted>
  <dcterms:created xsi:type="dcterms:W3CDTF">2011-05-03T07:39:53Z</dcterms:created>
  <dcterms:modified xsi:type="dcterms:W3CDTF">2014-04-09T10:52:27Z</dcterms:modified>
</cp:coreProperties>
</file>